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</p:sldMasterIdLst>
  <p:notesMasterIdLst>
    <p:notesMasterId r:id="rId41"/>
  </p:notesMasterIdLst>
  <p:sldIdLst>
    <p:sldId id="256" r:id="rId5"/>
    <p:sldId id="301" r:id="rId6"/>
    <p:sldId id="257" r:id="rId7"/>
    <p:sldId id="260" r:id="rId8"/>
    <p:sldId id="261" r:id="rId9"/>
    <p:sldId id="262" r:id="rId10"/>
    <p:sldId id="281" r:id="rId11"/>
    <p:sldId id="270" r:id="rId12"/>
    <p:sldId id="263" r:id="rId13"/>
    <p:sldId id="264" r:id="rId14"/>
    <p:sldId id="258" r:id="rId15"/>
    <p:sldId id="265" r:id="rId16"/>
    <p:sldId id="267" r:id="rId17"/>
    <p:sldId id="268" r:id="rId18"/>
    <p:sldId id="271" r:id="rId19"/>
    <p:sldId id="272" r:id="rId20"/>
    <p:sldId id="273" r:id="rId21"/>
    <p:sldId id="309" r:id="rId22"/>
    <p:sldId id="307" r:id="rId23"/>
    <p:sldId id="275" r:id="rId24"/>
    <p:sldId id="276" r:id="rId25"/>
    <p:sldId id="277" r:id="rId26"/>
    <p:sldId id="278" r:id="rId27"/>
    <p:sldId id="279" r:id="rId28"/>
    <p:sldId id="282" r:id="rId29"/>
    <p:sldId id="283" r:id="rId30"/>
    <p:sldId id="284" r:id="rId31"/>
    <p:sldId id="308" r:id="rId32"/>
    <p:sldId id="285" r:id="rId33"/>
    <p:sldId id="286" r:id="rId34"/>
    <p:sldId id="287" r:id="rId35"/>
    <p:sldId id="288" r:id="rId36"/>
    <p:sldId id="289" r:id="rId37"/>
    <p:sldId id="290" r:id="rId38"/>
    <p:sldId id="305" r:id="rId39"/>
    <p:sldId id="310" r:id="rId4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50" d="100"/>
          <a:sy n="50" d="100"/>
        </p:scale>
        <p:origin x="2184" y="13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7139E1-9195-425A-87BC-F1E49536F37E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4851E-4AC8-4839-9DC6-C0F8911867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0305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01" y="347730"/>
            <a:ext cx="12214802" cy="6510270"/>
          </a:xfrm>
          <a:prstGeom prst="rect">
            <a:avLst/>
          </a:prstGeom>
        </p:spPr>
      </p:pic>
      <p:sp>
        <p:nvSpPr>
          <p:cNvPr id="9" name="圆角矩形 8"/>
          <p:cNvSpPr/>
          <p:nvPr userDrawn="1"/>
        </p:nvSpPr>
        <p:spPr>
          <a:xfrm>
            <a:off x="321732" y="736599"/>
            <a:ext cx="11571817" cy="5706533"/>
          </a:xfrm>
          <a:prstGeom prst="roundRect">
            <a:avLst>
              <a:gd name="adj" fmla="val 4081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3869307"/>
      </p:ext>
    </p:extLst>
  </p:cSld>
  <p:clrMapOvr>
    <a:masterClrMapping/>
  </p:clrMapOvr>
  <p:transition spd="slow" advClick="0" advTm="3000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5367814"/>
      </p:ext>
    </p:extLst>
  </p:cSld>
  <p:clrMapOvr>
    <a:masterClrMapping/>
  </p:clrMapOvr>
  <p:transition spd="slow" advClick="0" advTm="3000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2736160"/>
      </p:ext>
    </p:extLst>
  </p:cSld>
  <p:clrMapOvr>
    <a:masterClrMapping/>
  </p:clrMapOvr>
  <p:transition spd="slow" advClick="0" advTm="3000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89727"/>
      </p:ext>
    </p:extLst>
  </p:cSld>
  <p:clrMapOvr>
    <a:masterClrMapping/>
  </p:clrMapOvr>
  <p:transition spd="slow" advClick="0" advTm="3000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344025"/>
      </p:ext>
    </p:extLst>
  </p:cSld>
  <p:clrMapOvr>
    <a:masterClrMapping/>
  </p:clrMapOvr>
  <p:transition spd="slow" advClick="0" advTm="3000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931988"/>
      </p:ext>
    </p:extLst>
  </p:cSld>
  <p:clrMapOvr>
    <a:masterClrMapping/>
  </p:clrMapOvr>
  <p:transition spd="slow" advClick="0" advTm="3000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752964"/>
      </p:ext>
    </p:extLst>
  </p:cSld>
  <p:clrMapOvr>
    <a:masterClrMapping/>
  </p:clrMapOvr>
  <p:transition spd="slow" advClick="0" advTm="3000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28927"/>
      </p:ext>
    </p:extLst>
  </p:cSld>
  <p:clrMapOvr>
    <a:masterClrMapping/>
  </p:clrMapOvr>
  <p:transition spd="slow" advClick="0" advTm="3000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376574"/>
      </p:ext>
    </p:extLst>
  </p:cSld>
  <p:clrMapOvr>
    <a:masterClrMapping/>
  </p:clrMapOvr>
  <p:transition spd="slow" advClick="0" advTm="3000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337746"/>
      </p:ext>
    </p:extLst>
  </p:cSld>
  <p:clrMapOvr>
    <a:masterClrMapping/>
  </p:clrMapOvr>
  <p:transition spd="slow" advClick="0" advTm="3000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595405"/>
      </p:ext>
    </p:extLst>
  </p:cSld>
  <p:clrMapOvr>
    <a:masterClrMapping/>
  </p:clrMapOvr>
  <p:transition spd="slow" advClick="0" advTm="3000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01" y="347730"/>
            <a:ext cx="12214802" cy="6510270"/>
          </a:xfrm>
          <a:prstGeom prst="rect">
            <a:avLst/>
          </a:prstGeom>
        </p:spPr>
      </p:pic>
      <p:sp>
        <p:nvSpPr>
          <p:cNvPr id="10" name="圆角矩形 9"/>
          <p:cNvSpPr/>
          <p:nvPr userDrawn="1"/>
        </p:nvSpPr>
        <p:spPr>
          <a:xfrm>
            <a:off x="321732" y="736599"/>
            <a:ext cx="11571817" cy="5706533"/>
          </a:xfrm>
          <a:prstGeom prst="roundRect">
            <a:avLst>
              <a:gd name="adj" fmla="val 4081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610577"/>
      </p:ext>
    </p:extLst>
  </p:cSld>
  <p:clrMapOvr>
    <a:masterClrMapping/>
  </p:clrMapOvr>
  <p:transition spd="slow" advClick="0" advTm="3000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871569"/>
      </p:ext>
    </p:extLst>
  </p:cSld>
  <p:clrMapOvr>
    <a:masterClrMapping/>
  </p:clrMapOvr>
  <p:transition spd="slow" advClick="0" advTm="3000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000863"/>
      </p:ext>
    </p:extLst>
  </p:cSld>
  <p:clrMapOvr>
    <a:masterClrMapping/>
  </p:clrMapOvr>
  <p:transition spd="slow" advClick="0" advTm="3000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446452"/>
      </p:ext>
    </p:extLst>
  </p:cSld>
  <p:clrMapOvr>
    <a:masterClrMapping/>
  </p:clrMapOvr>
  <p:transition spd="slow" advClick="0" advTm="3000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054974"/>
      </p:ext>
    </p:extLst>
  </p:cSld>
  <p:clrMapOvr>
    <a:masterClrMapping/>
  </p:clrMapOvr>
  <p:transition spd="slow" advClick="0" advTm="3000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277859"/>
      </p:ext>
    </p:extLst>
  </p:cSld>
  <p:clrMapOvr>
    <a:masterClrMapping/>
  </p:clrMapOvr>
  <p:transition spd="slow" advClick="0" advTm="3000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80166"/>
      </p:ext>
    </p:extLst>
  </p:cSld>
  <p:clrMapOvr>
    <a:masterClrMapping/>
  </p:clrMapOvr>
  <p:transition spd="slow" advClick="0" advTm="3000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681693"/>
      </p:ext>
    </p:extLst>
  </p:cSld>
  <p:clrMapOvr>
    <a:masterClrMapping/>
  </p:clrMapOvr>
  <p:transition spd="slow" advClick="0" advTm="3000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655002"/>
      </p:ext>
    </p:extLst>
  </p:cSld>
  <p:clrMapOvr>
    <a:masterClrMapping/>
  </p:clrMapOvr>
  <p:transition spd="slow" advClick="0" advTm="3000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471199"/>
      </p:ext>
    </p:extLst>
  </p:cSld>
  <p:clrMapOvr>
    <a:masterClrMapping/>
  </p:clrMapOvr>
  <p:transition spd="slow" advClick="0" advTm="3000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419180"/>
      </p:ext>
    </p:extLst>
  </p:cSld>
  <p:clrMapOvr>
    <a:masterClrMapping/>
  </p:clrMapOvr>
  <p:transition spd="slow" advClick="0" advTm="3000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2056141"/>
      </p:ext>
    </p:extLst>
  </p:cSld>
  <p:clrMapOvr>
    <a:masterClrMapping/>
  </p:clrMapOvr>
  <p:transition spd="slow" advClick="0" advTm="3000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147116"/>
      </p:ext>
    </p:extLst>
  </p:cSld>
  <p:clrMapOvr>
    <a:masterClrMapping/>
  </p:clrMapOvr>
  <p:transition spd="slow" advClick="0" advTm="3000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972812"/>
      </p:ext>
    </p:extLst>
  </p:cSld>
  <p:clrMapOvr>
    <a:masterClrMapping/>
  </p:clrMapOvr>
  <p:transition spd="slow" advClick="0" advTm="3000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87982"/>
      </p:ext>
    </p:extLst>
  </p:cSld>
  <p:clrMapOvr>
    <a:masterClrMapping/>
  </p:clrMapOvr>
  <p:transition spd="slow" advClick="0" advTm="3000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296880"/>
      </p:ext>
    </p:extLst>
  </p:cSld>
  <p:clrMapOvr>
    <a:masterClrMapping/>
  </p:clrMapOvr>
  <p:transition spd="slow" advClick="0" advTm="3000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721642"/>
      </p:ext>
    </p:extLst>
  </p:cSld>
  <p:clrMapOvr>
    <a:masterClrMapping/>
  </p:clrMapOvr>
  <p:transition spd="slow" advClick="0" advTm="3000"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508361"/>
      </p:ext>
    </p:extLst>
  </p:cSld>
  <p:clrMapOvr>
    <a:masterClrMapping/>
  </p:clrMapOvr>
  <p:transition spd="slow" advClick="0" advTm="3000">
    <p:wip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855805"/>
      </p:ext>
    </p:extLst>
  </p:cSld>
  <p:clrMapOvr>
    <a:masterClrMapping/>
  </p:clrMapOvr>
  <p:transition spd="slow" advClick="0" advTm="3000"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952218"/>
      </p:ext>
    </p:extLst>
  </p:cSld>
  <p:clrMapOvr>
    <a:masterClrMapping/>
  </p:clrMapOvr>
  <p:transition spd="slow" advClick="0" advTm="3000">
    <p:wip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318107"/>
      </p:ext>
    </p:extLst>
  </p:cSld>
  <p:clrMapOvr>
    <a:masterClrMapping/>
  </p:clrMapOvr>
  <p:transition spd="slow" advClick="0" advTm="3000">
    <p:wip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394656"/>
      </p:ext>
    </p:extLst>
  </p:cSld>
  <p:clrMapOvr>
    <a:masterClrMapping/>
  </p:clrMapOvr>
  <p:transition spd="slow" advClick="0" advTm="3000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0406185"/>
      </p:ext>
    </p:extLst>
  </p:cSld>
  <p:clrMapOvr>
    <a:masterClrMapping/>
  </p:clrMapOvr>
  <p:transition spd="slow" advClick="0" advTm="3000">
    <p:wip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009171"/>
      </p:ext>
    </p:extLst>
  </p:cSld>
  <p:clrMapOvr>
    <a:masterClrMapping/>
  </p:clrMapOvr>
  <p:transition spd="slow" advClick="0" advTm="3000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906099"/>
      </p:ext>
    </p:extLst>
  </p:cSld>
  <p:clrMapOvr>
    <a:masterClrMapping/>
  </p:clrMapOvr>
  <p:transition spd="slow" advClick="0" advTm="3000"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730650"/>
      </p:ext>
    </p:extLst>
  </p:cSld>
  <p:clrMapOvr>
    <a:masterClrMapping/>
  </p:clrMapOvr>
  <p:transition spd="slow" advClick="0" advTm="3000">
    <p:wip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485406"/>
      </p:ext>
    </p:extLst>
  </p:cSld>
  <p:clrMapOvr>
    <a:masterClrMapping/>
  </p:clrMapOvr>
  <p:transition spd="slow" advClick="0" advTm="3000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202117"/>
      </p:ext>
    </p:extLst>
  </p:cSld>
  <p:clrMapOvr>
    <a:masterClrMapping/>
  </p:clrMapOvr>
  <p:transition spd="slow" advClick="0" advTm="3000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2637692"/>
      </p:ext>
    </p:extLst>
  </p:cSld>
  <p:clrMapOvr>
    <a:masterClrMapping/>
  </p:clrMapOvr>
  <p:transition spd="slow" advClick="0" advTm="3000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2719938"/>
      </p:ext>
    </p:extLst>
  </p:cSld>
  <p:clrMapOvr>
    <a:masterClrMapping/>
  </p:clrMapOvr>
  <p:transition spd="slow" advClick="0" advTm="3000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4689390"/>
      </p:ext>
    </p:extLst>
  </p:cSld>
  <p:clrMapOvr>
    <a:masterClrMapping/>
  </p:clrMapOvr>
  <p:transition spd="slow" advClick="0" advTm="3000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7530271"/>
      </p:ext>
    </p:extLst>
  </p:cSld>
  <p:clrMapOvr>
    <a:masterClrMapping/>
  </p:clrMapOvr>
  <p:transition spd="slow" advClick="0" advTm="3000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2838579"/>
      </p:ext>
    </p:extLst>
  </p:cSld>
  <p:clrMapOvr>
    <a:masterClrMapping/>
  </p:clrMapOvr>
  <p:transition spd="slow" advClick="0" advTm="3000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CA0E22-E0AA-4389-A540-AE9636AAEB0D}" type="datetimeFigureOut">
              <a:rPr lang="zh-CN" altLang="en-US" smtClean="0"/>
              <a:t>2017/3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28B1B8-1D5B-400F-B0C9-8CD66CC96C4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3965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425F44-2B9B-4E60-A69A-0E58B73EFD2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119052-9519-4771-9412-1992F9E924EE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7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 advClick="0" advTm="3000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 spd="slow" advClick="0" advTm="3000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3/13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327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 spd="slow" advClick="0" advTm="3000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1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11" Type="http://schemas.microsoft.com/office/2007/relationships/hdphoto" Target="../media/hdphoto2.wdp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microsoft.com/office/2007/relationships/hdphoto" Target="../media/hdphoto1.wdp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microsoft.com/office/2007/relationships/hdphoto" Target="../media/hdphoto3.wdp"/><Relationship Id="rId7" Type="http://schemas.openxmlformats.org/officeDocument/2006/relationships/image" Target="../media/image29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hdphoto" Target="../media/hdphoto3.wdp"/><Relationship Id="rId7" Type="http://schemas.openxmlformats.org/officeDocument/2006/relationships/image" Target="../media/image3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3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3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3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4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microsoft.com/office/2007/relationships/hdphoto" Target="../media/hdphoto3.wdp"/><Relationship Id="rId7" Type="http://schemas.openxmlformats.org/officeDocument/2006/relationships/image" Target="../media/image41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45.jpeg"/><Relationship Id="rId5" Type="http://schemas.openxmlformats.org/officeDocument/2006/relationships/image" Target="../media/image16.png"/><Relationship Id="rId10" Type="http://schemas.openxmlformats.org/officeDocument/2006/relationships/image" Target="../media/image44.jpeg"/><Relationship Id="rId4" Type="http://schemas.openxmlformats.org/officeDocument/2006/relationships/image" Target="../media/image15.png"/><Relationship Id="rId9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microsoft.com/office/2007/relationships/hdphoto" Target="../media/hdphoto3.wdp"/><Relationship Id="rId7" Type="http://schemas.openxmlformats.org/officeDocument/2006/relationships/image" Target="../media/image4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49.png"/><Relationship Id="rId4" Type="http://schemas.openxmlformats.org/officeDocument/2006/relationships/image" Target="../media/image15.png"/><Relationship Id="rId9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50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microsoft.com/office/2007/relationships/hdphoto" Target="../media/hdphoto3.wdp"/><Relationship Id="rId7" Type="http://schemas.openxmlformats.org/officeDocument/2006/relationships/image" Target="../media/image18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53.png"/><Relationship Id="rId3" Type="http://schemas.openxmlformats.org/officeDocument/2006/relationships/tags" Target="../tags/tag3.xml"/><Relationship Id="rId7" Type="http://schemas.microsoft.com/office/2007/relationships/hdphoto" Target="../media/hdphoto3.wdp"/><Relationship Id="rId12" Type="http://schemas.openxmlformats.org/officeDocument/2006/relationships/image" Target="../media/image5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4.png"/><Relationship Id="rId11" Type="http://schemas.openxmlformats.org/officeDocument/2006/relationships/image" Target="../media/image51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17.png"/><Relationship Id="rId4" Type="http://schemas.openxmlformats.org/officeDocument/2006/relationships/tags" Target="../tags/tag4.xml"/><Relationship Id="rId9" Type="http://schemas.openxmlformats.org/officeDocument/2006/relationships/image" Target="../media/image16.png"/><Relationship Id="rId14" Type="http://schemas.openxmlformats.org/officeDocument/2006/relationships/image" Target="../media/image54.pn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5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microsoft.com/office/2007/relationships/hdphoto" Target="../media/hdphoto3.wdp"/><Relationship Id="rId7" Type="http://schemas.openxmlformats.org/officeDocument/2006/relationships/image" Target="../media/image20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microsoft.com/office/2007/relationships/hdphoto" Target="../media/hdphoto3.wdp"/><Relationship Id="rId7" Type="http://schemas.openxmlformats.org/officeDocument/2006/relationships/image" Target="../media/image2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microsoft.com/office/2007/relationships/hdphoto" Target="../media/hdphoto3.wdp"/><Relationship Id="rId7" Type="http://schemas.openxmlformats.org/officeDocument/2006/relationships/image" Target="../media/image25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8.jpg"/><Relationship Id="rId4" Type="http://schemas.openxmlformats.org/officeDocument/2006/relationships/image" Target="../media/image15.png"/><Relationship Id="rId9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8" name="出自【趣你的PPT】(微信:qunideppt)：最优质的PPT资源库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69" name="出自【趣你的PPT】(微信:qunideppt)：最优质的PPT资源库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01" y="347730"/>
            <a:ext cx="12214802" cy="6510270"/>
          </a:xfrm>
          <a:prstGeom prst="rect">
            <a:avLst/>
          </a:prstGeom>
        </p:spPr>
      </p:pic>
      <p:pic>
        <p:nvPicPr>
          <p:cNvPr id="872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3" t="44712" r="63636" b="12518"/>
          <a:stretch/>
        </p:blipFill>
        <p:spPr>
          <a:xfrm>
            <a:off x="1052785" y="1897448"/>
            <a:ext cx="2749620" cy="1649772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1394" y="3516369"/>
            <a:ext cx="4880520" cy="2943646"/>
          </a:xfrm>
          <a:prstGeom prst="rect">
            <a:avLst/>
          </a:prstGeom>
        </p:spPr>
      </p:pic>
      <p:pic>
        <p:nvPicPr>
          <p:cNvPr id="882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6" r="83568"/>
          <a:stretch/>
        </p:blipFill>
        <p:spPr>
          <a:xfrm>
            <a:off x="75698" y="525327"/>
            <a:ext cx="2134911" cy="6155076"/>
          </a:xfrm>
          <a:prstGeom prst="rect">
            <a:avLst/>
          </a:prstGeom>
        </p:spPr>
      </p:pic>
      <p:pic>
        <p:nvPicPr>
          <p:cNvPr id="871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00" r="65301" b="39200"/>
          <a:stretch/>
        </p:blipFill>
        <p:spPr>
          <a:xfrm>
            <a:off x="32341" y="3307857"/>
            <a:ext cx="5248985" cy="2125266"/>
          </a:xfrm>
          <a:prstGeom prst="rect">
            <a:avLst/>
          </a:prstGeom>
        </p:spPr>
      </p:pic>
      <p:grpSp>
        <p:nvGrpSpPr>
          <p:cNvPr id="2" name="Group 1出自【趣你的PPT】(微信:qunideppt)：最优质的PPT资源库"/>
          <p:cNvGrpSpPr/>
          <p:nvPr/>
        </p:nvGrpSpPr>
        <p:grpSpPr>
          <a:xfrm>
            <a:off x="-38218" y="4718754"/>
            <a:ext cx="12230218" cy="2159636"/>
            <a:chOff x="-38218" y="4718754"/>
            <a:chExt cx="12230218" cy="2159636"/>
          </a:xfrm>
        </p:grpSpPr>
        <p:pic>
          <p:nvPicPr>
            <p:cNvPr id="878" name="出自【趣你的PPT】(微信:qunideppt)：最优质的PPT资源库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430" t="70931"/>
            <a:stretch/>
          </p:blipFill>
          <p:spPr>
            <a:xfrm flipH="1">
              <a:off x="-38218" y="4718754"/>
              <a:ext cx="8357737" cy="2159636"/>
            </a:xfrm>
            <a:prstGeom prst="rect">
              <a:avLst/>
            </a:prstGeom>
          </p:spPr>
        </p:pic>
        <p:pic>
          <p:nvPicPr>
            <p:cNvPr id="877" name="出自【趣你的PPT】(微信:qunideppt)：最优质的PPT资源库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340" t="74817" r="8851" b="198"/>
            <a:stretch/>
          </p:blipFill>
          <p:spPr>
            <a:xfrm>
              <a:off x="4948421" y="5102087"/>
              <a:ext cx="7243579" cy="1776302"/>
            </a:xfrm>
            <a:prstGeom prst="rect">
              <a:avLst/>
            </a:prstGeom>
          </p:spPr>
        </p:pic>
      </p:grpSp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0177" y="211095"/>
            <a:ext cx="1879612" cy="1725743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9940407" y="1470747"/>
            <a:ext cx="1970487" cy="681513"/>
          </a:xfrm>
          <a:prstGeom prst="rect">
            <a:avLst/>
          </a:prstGeom>
        </p:spPr>
      </p:pic>
      <p:sp>
        <p:nvSpPr>
          <p:cNvPr id="885" name="出自【趣你的PPT】(微信:qunideppt)：最优质的PPT资源库"/>
          <p:cNvSpPr txBox="1"/>
          <p:nvPr/>
        </p:nvSpPr>
        <p:spPr>
          <a:xfrm>
            <a:off x="5295127" y="3067525"/>
            <a:ext cx="47912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背景、徽章、华表、军人、花团等均可自由编辑</a:t>
            </a:r>
          </a:p>
        </p:txBody>
      </p:sp>
      <p:pic>
        <p:nvPicPr>
          <p:cNvPr id="3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13"/>
          <a:srcRect b="21331"/>
          <a:stretch/>
        </p:blipFill>
        <p:spPr>
          <a:xfrm>
            <a:off x="4298833" y="2269293"/>
            <a:ext cx="6239006" cy="849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765435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8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8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8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8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8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 tmFilter="0,0; .5, 1; 1, 1"/>
                                        <p:tgtEl>
                                          <p:spTgt spid="8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836082" y="1542292"/>
            <a:ext cx="1213813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8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879021" y="1776130"/>
            <a:ext cx="0" cy="1125370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9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3765219" y="1734951"/>
            <a:ext cx="0" cy="112537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10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6040662" y="1790871"/>
            <a:ext cx="0" cy="112537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11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2575464" y="3937806"/>
            <a:ext cx="0" cy="1167272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12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4865510" y="3817466"/>
            <a:ext cx="0" cy="1261551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13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7430536" y="3827791"/>
            <a:ext cx="0" cy="1156796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14" name="出自【趣你的PPT】(微信:qunideppt)：最优质的PPT资源库"/>
          <p:cNvSpPr>
            <a:spLocks/>
          </p:cNvSpPr>
          <p:nvPr/>
        </p:nvSpPr>
        <p:spPr bwMode="auto">
          <a:xfrm>
            <a:off x="2162653" y="4449609"/>
            <a:ext cx="22600" cy="1496"/>
          </a:xfrm>
          <a:custGeom>
            <a:avLst/>
            <a:gdLst>
              <a:gd name="T0" fmla="*/ 12 w 12"/>
              <a:gd name="T1" fmla="*/ 0 h 1587"/>
              <a:gd name="T2" fmla="*/ 0 w 12"/>
              <a:gd name="T3" fmla="*/ 0 h 1587"/>
              <a:gd name="T4" fmla="*/ 12 w 12"/>
              <a:gd name="T5" fmla="*/ 0 h 1587"/>
              <a:gd name="T6" fmla="*/ 12 w 12"/>
              <a:gd name="T7" fmla="*/ 0 h 1587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1587"/>
              <a:gd name="T14" fmla="*/ 12 w 12"/>
              <a:gd name="T15" fmla="*/ 1587 h 15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1587">
                <a:moveTo>
                  <a:pt x="12" y="0"/>
                </a:moveTo>
                <a:lnTo>
                  <a:pt x="0" y="0"/>
                </a:lnTo>
                <a:lnTo>
                  <a:pt x="12" y="0"/>
                </a:lnTo>
                <a:close/>
              </a:path>
            </a:pathLst>
          </a:custGeom>
          <a:solidFill>
            <a:srgbClr val="02020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16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6083623" y="1461609"/>
            <a:ext cx="110786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17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3799237" y="1513822"/>
            <a:ext cx="1136855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18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8812709" y="1474287"/>
            <a:ext cx="1118658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19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1954743" y="5151260"/>
            <a:ext cx="1188929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20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7202283" y="5070575"/>
            <a:ext cx="1182665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21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4917896" y="5122790"/>
            <a:ext cx="1131831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22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9931367" y="5083253"/>
            <a:ext cx="1154318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zh-CN" altLang="en-US" sz="1800" b="0" dirty="0"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23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10247076" y="3922221"/>
            <a:ext cx="0" cy="1156794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24" name="出自【趣你的PPT】(微信:qunideppt)：最优质的PPT资源库"/>
          <p:cNvSpPr>
            <a:spLocks noChangeShapeType="1"/>
          </p:cNvSpPr>
          <p:nvPr/>
        </p:nvSpPr>
        <p:spPr bwMode="auto">
          <a:xfrm flipV="1">
            <a:off x="8821578" y="1790870"/>
            <a:ext cx="0" cy="1125369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+mn-cs"/>
              </a:defRPr>
            </a:lvl9pPr>
          </a:lstStyle>
          <a:p>
            <a:pPr>
              <a:defRPr/>
            </a:pPr>
            <a:endParaRPr lang="zh-CN" altLang="en-US" b="0">
              <a:solidFill>
                <a:srgbClr val="000000"/>
              </a:solidFill>
              <a:latin typeface="隶书" pitchFamily="49" charset="-122"/>
              <a:ea typeface="隶书" pitchFamily="49" charset="-122"/>
            </a:endParaRPr>
          </a:p>
        </p:txBody>
      </p:sp>
      <p:grpSp>
        <p:nvGrpSpPr>
          <p:cNvPr id="25" name="Group 24出自【趣你的PPT】(微信:qunideppt)：最优质的PPT资源库"/>
          <p:cNvGrpSpPr/>
          <p:nvPr/>
        </p:nvGrpSpPr>
        <p:grpSpPr>
          <a:xfrm>
            <a:off x="300483" y="2731625"/>
            <a:ext cx="11367328" cy="1316921"/>
            <a:chOff x="300483" y="2797557"/>
            <a:chExt cx="11367328" cy="1316921"/>
          </a:xfrm>
        </p:grpSpPr>
        <p:sp>
          <p:nvSpPr>
            <p:cNvPr id="26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5817687" y="3713415"/>
              <a:ext cx="831648" cy="222978"/>
            </a:xfrm>
            <a:custGeom>
              <a:avLst/>
              <a:gdLst>
                <a:gd name="T0" fmla="*/ 2331 w 2331"/>
                <a:gd name="T1" fmla="*/ 688 h 688"/>
                <a:gd name="T2" fmla="*/ 104 w 2331"/>
                <a:gd name="T3" fmla="*/ 138 h 688"/>
                <a:gd name="T4" fmla="*/ 2086 w 2331"/>
                <a:gd name="T5" fmla="*/ 0 h 688"/>
                <a:gd name="T6" fmla="*/ 2331 w 2331"/>
                <a:gd name="T7" fmla="*/ 688 h 6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31"/>
                <a:gd name="T13" fmla="*/ 0 h 688"/>
                <a:gd name="T14" fmla="*/ 2331 w 2331"/>
                <a:gd name="T15" fmla="*/ 688 h 6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31" h="688">
                  <a:moveTo>
                    <a:pt x="2331" y="688"/>
                  </a:moveTo>
                  <a:cubicBezTo>
                    <a:pt x="2331" y="688"/>
                    <a:pt x="208" y="159"/>
                    <a:pt x="104" y="138"/>
                  </a:cubicBezTo>
                  <a:cubicBezTo>
                    <a:pt x="0" y="118"/>
                    <a:pt x="2086" y="0"/>
                    <a:pt x="2086" y="0"/>
                  </a:cubicBezTo>
                  <a:lnTo>
                    <a:pt x="2331" y="688"/>
                  </a:lnTo>
                  <a:close/>
                </a:path>
              </a:pathLst>
            </a:cu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666666">
                    <a:alpha val="3400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2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00483" y="3771778"/>
              <a:ext cx="934099" cy="342700"/>
            </a:xfrm>
            <a:custGeom>
              <a:avLst/>
              <a:gdLst/>
              <a:ahLst/>
              <a:cxnLst>
                <a:cxn ang="0">
                  <a:pos x="2331" y="688"/>
                </a:cxn>
                <a:cxn ang="0">
                  <a:pos x="104" y="138"/>
                </a:cxn>
                <a:cxn ang="0">
                  <a:pos x="2086" y="0"/>
                </a:cxn>
                <a:cxn ang="0">
                  <a:pos x="2331" y="688"/>
                </a:cxn>
              </a:cxnLst>
              <a:rect l="0" t="0" r="r" b="b"/>
              <a:pathLst>
                <a:path w="2331" h="688">
                  <a:moveTo>
                    <a:pt x="2331" y="688"/>
                  </a:moveTo>
                  <a:cubicBezTo>
                    <a:pt x="2331" y="688"/>
                    <a:pt x="208" y="159"/>
                    <a:pt x="104" y="138"/>
                  </a:cubicBezTo>
                  <a:cubicBezTo>
                    <a:pt x="0" y="118"/>
                    <a:pt x="2086" y="0"/>
                    <a:pt x="2086" y="0"/>
                  </a:cubicBezTo>
                  <a:lnTo>
                    <a:pt x="2331" y="688"/>
                  </a:lnTo>
                  <a:close/>
                </a:path>
              </a:pathLst>
            </a:custGeom>
            <a:gradFill rotWithShape="1">
              <a:gsLst>
                <a:gs pos="0">
                  <a:srgbClr val="0875F8">
                    <a:alpha val="0"/>
                  </a:srgbClr>
                </a:gs>
                <a:gs pos="100000">
                  <a:srgbClr val="0875F8">
                    <a:gamma/>
                    <a:shade val="54510"/>
                    <a:invGamma/>
                    <a:alpha val="50000"/>
                  </a:srgb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28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7041053" y="3635597"/>
              <a:ext cx="819595" cy="366643"/>
            </a:xfrm>
            <a:custGeom>
              <a:avLst/>
              <a:gdLst>
                <a:gd name="T0" fmla="*/ 2331 w 2331"/>
                <a:gd name="T1" fmla="*/ 688 h 688"/>
                <a:gd name="T2" fmla="*/ 104 w 2331"/>
                <a:gd name="T3" fmla="*/ 138 h 688"/>
                <a:gd name="T4" fmla="*/ 2086 w 2331"/>
                <a:gd name="T5" fmla="*/ 0 h 688"/>
                <a:gd name="T6" fmla="*/ 2331 w 2331"/>
                <a:gd name="T7" fmla="*/ 688 h 6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31"/>
                <a:gd name="T13" fmla="*/ 0 h 688"/>
                <a:gd name="T14" fmla="*/ 2331 w 2331"/>
                <a:gd name="T15" fmla="*/ 688 h 6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31" h="688">
                  <a:moveTo>
                    <a:pt x="2331" y="688"/>
                  </a:moveTo>
                  <a:cubicBezTo>
                    <a:pt x="2331" y="688"/>
                    <a:pt x="208" y="159"/>
                    <a:pt x="104" y="138"/>
                  </a:cubicBezTo>
                  <a:cubicBezTo>
                    <a:pt x="0" y="118"/>
                    <a:pt x="2086" y="0"/>
                    <a:pt x="2086" y="0"/>
                  </a:cubicBezTo>
                  <a:lnTo>
                    <a:pt x="2331" y="688"/>
                  </a:lnTo>
                  <a:close/>
                </a:path>
              </a:pathLst>
            </a:cu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666666">
                    <a:alpha val="3400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29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8384948" y="3665775"/>
              <a:ext cx="795491" cy="342698"/>
            </a:xfrm>
            <a:custGeom>
              <a:avLst/>
              <a:gdLst>
                <a:gd name="T0" fmla="*/ 2331 w 2331"/>
                <a:gd name="T1" fmla="*/ 688 h 688"/>
                <a:gd name="T2" fmla="*/ 104 w 2331"/>
                <a:gd name="T3" fmla="*/ 138 h 688"/>
                <a:gd name="T4" fmla="*/ 2086 w 2331"/>
                <a:gd name="T5" fmla="*/ 0 h 688"/>
                <a:gd name="T6" fmla="*/ 2331 w 2331"/>
                <a:gd name="T7" fmla="*/ 688 h 6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31"/>
                <a:gd name="T13" fmla="*/ 0 h 688"/>
                <a:gd name="T14" fmla="*/ 2331 w 2331"/>
                <a:gd name="T15" fmla="*/ 688 h 6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31" h="688">
                  <a:moveTo>
                    <a:pt x="2331" y="688"/>
                  </a:moveTo>
                  <a:cubicBezTo>
                    <a:pt x="2331" y="688"/>
                    <a:pt x="208" y="159"/>
                    <a:pt x="104" y="138"/>
                  </a:cubicBezTo>
                  <a:cubicBezTo>
                    <a:pt x="0" y="118"/>
                    <a:pt x="2086" y="0"/>
                    <a:pt x="2086" y="0"/>
                  </a:cubicBezTo>
                  <a:lnTo>
                    <a:pt x="2331" y="688"/>
                  </a:lnTo>
                  <a:close/>
                </a:path>
              </a:pathLst>
            </a:cu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666666">
                    <a:alpha val="3400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746829" y="3638590"/>
              <a:ext cx="795491" cy="342698"/>
            </a:xfrm>
            <a:custGeom>
              <a:avLst/>
              <a:gdLst>
                <a:gd name="T0" fmla="*/ 2331 w 2331"/>
                <a:gd name="T1" fmla="*/ 688 h 688"/>
                <a:gd name="T2" fmla="*/ 104 w 2331"/>
                <a:gd name="T3" fmla="*/ 138 h 688"/>
                <a:gd name="T4" fmla="*/ 2086 w 2331"/>
                <a:gd name="T5" fmla="*/ 0 h 688"/>
                <a:gd name="T6" fmla="*/ 2331 w 2331"/>
                <a:gd name="T7" fmla="*/ 688 h 6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31"/>
                <a:gd name="T13" fmla="*/ 0 h 688"/>
                <a:gd name="T14" fmla="*/ 2331 w 2331"/>
                <a:gd name="T15" fmla="*/ 688 h 6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31" h="688">
                  <a:moveTo>
                    <a:pt x="2331" y="688"/>
                  </a:moveTo>
                  <a:cubicBezTo>
                    <a:pt x="2331" y="688"/>
                    <a:pt x="208" y="159"/>
                    <a:pt x="104" y="138"/>
                  </a:cubicBezTo>
                  <a:cubicBezTo>
                    <a:pt x="0" y="118"/>
                    <a:pt x="2086" y="0"/>
                    <a:pt x="2086" y="0"/>
                  </a:cubicBezTo>
                  <a:lnTo>
                    <a:pt x="2331" y="688"/>
                  </a:lnTo>
                  <a:close/>
                </a:path>
              </a:pathLst>
            </a:cu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666666">
                    <a:alpha val="3400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76222" y="3713415"/>
              <a:ext cx="840688" cy="222978"/>
            </a:xfrm>
            <a:custGeom>
              <a:avLst/>
              <a:gdLst>
                <a:gd name="T0" fmla="*/ 2331 w 2331"/>
                <a:gd name="T1" fmla="*/ 688 h 688"/>
                <a:gd name="T2" fmla="*/ 104 w 2331"/>
                <a:gd name="T3" fmla="*/ 138 h 688"/>
                <a:gd name="T4" fmla="*/ 2086 w 2331"/>
                <a:gd name="T5" fmla="*/ 0 h 688"/>
                <a:gd name="T6" fmla="*/ 2331 w 2331"/>
                <a:gd name="T7" fmla="*/ 688 h 6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31"/>
                <a:gd name="T13" fmla="*/ 0 h 688"/>
                <a:gd name="T14" fmla="*/ 2331 w 2331"/>
                <a:gd name="T15" fmla="*/ 688 h 6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31" h="688">
                  <a:moveTo>
                    <a:pt x="2331" y="688"/>
                  </a:moveTo>
                  <a:cubicBezTo>
                    <a:pt x="2331" y="688"/>
                    <a:pt x="208" y="159"/>
                    <a:pt x="104" y="138"/>
                  </a:cubicBezTo>
                  <a:cubicBezTo>
                    <a:pt x="0" y="118"/>
                    <a:pt x="2086" y="0"/>
                    <a:pt x="2086" y="0"/>
                  </a:cubicBezTo>
                  <a:lnTo>
                    <a:pt x="2331" y="688"/>
                  </a:lnTo>
                  <a:close/>
                </a:path>
              </a:pathLst>
            </a:cu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666666">
                    <a:alpha val="3400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237595" y="2797557"/>
              <a:ext cx="1062160" cy="1312432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1251 h 1251"/>
                <a:gd name="T4" fmla="*/ 1006 w 1006"/>
                <a:gd name="T5" fmla="*/ 1154 h 1251"/>
                <a:gd name="T6" fmla="*/ 1006 w 1006"/>
                <a:gd name="T7" fmla="*/ 81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79021" y="2797557"/>
              <a:ext cx="358573" cy="1312432"/>
            </a:xfrm>
            <a:custGeom>
              <a:avLst/>
              <a:gdLst>
                <a:gd name="T0" fmla="*/ 0 w 339"/>
                <a:gd name="T1" fmla="*/ 110 h 1251"/>
                <a:gd name="T2" fmla="*/ 0 w 339"/>
                <a:gd name="T3" fmla="*/ 1080 h 1251"/>
                <a:gd name="T4" fmla="*/ 339 w 339"/>
                <a:gd name="T5" fmla="*/ 1251 h 1251"/>
                <a:gd name="T6" fmla="*/ 339 w 339"/>
                <a:gd name="T7" fmla="*/ 0 h 1251"/>
                <a:gd name="T8" fmla="*/ 0 w 339"/>
                <a:gd name="T9" fmla="*/ 11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555877" y="2888843"/>
              <a:ext cx="1027507" cy="1120880"/>
            </a:xfrm>
            <a:custGeom>
              <a:avLst/>
              <a:gdLst>
                <a:gd name="T0" fmla="*/ 0 w 973"/>
                <a:gd name="T1" fmla="*/ 0 h 1069"/>
                <a:gd name="T2" fmla="*/ 0 w 973"/>
                <a:gd name="T3" fmla="*/ 1069 h 1069"/>
                <a:gd name="T4" fmla="*/ 973 w 973"/>
                <a:gd name="T5" fmla="*/ 1051 h 1069"/>
                <a:gd name="T6" fmla="*/ 973 w 973"/>
                <a:gd name="T7" fmla="*/ 36 h 1069"/>
                <a:gd name="T8" fmla="*/ 0 w 973"/>
                <a:gd name="T9" fmla="*/ 0 h 10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73"/>
                <a:gd name="T16" fmla="*/ 0 h 1069"/>
                <a:gd name="T17" fmla="*/ 973 w 973"/>
                <a:gd name="T18" fmla="*/ 1069 h 106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73" h="1069">
                  <a:moveTo>
                    <a:pt x="0" y="0"/>
                  </a:moveTo>
                  <a:lnTo>
                    <a:pt x="0" y="1069"/>
                  </a:lnTo>
                  <a:lnTo>
                    <a:pt x="973" y="1051"/>
                  </a:lnTo>
                  <a:lnTo>
                    <a:pt x="973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57006" y="2875375"/>
              <a:ext cx="207912" cy="1120880"/>
            </a:xfrm>
            <a:custGeom>
              <a:avLst/>
              <a:gdLst>
                <a:gd name="T0" fmla="*/ 0 w 197"/>
                <a:gd name="T1" fmla="*/ 123 h 1069"/>
                <a:gd name="T2" fmla="*/ 0 w 197"/>
                <a:gd name="T3" fmla="*/ 947 h 1069"/>
                <a:gd name="T4" fmla="*/ 197 w 197"/>
                <a:gd name="T5" fmla="*/ 1069 h 1069"/>
                <a:gd name="T6" fmla="*/ 197 w 197"/>
                <a:gd name="T7" fmla="*/ 0 h 1069"/>
                <a:gd name="T8" fmla="*/ 0 w 197"/>
                <a:gd name="T9" fmla="*/ 123 h 10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7"/>
                <a:gd name="T16" fmla="*/ 0 h 1069"/>
                <a:gd name="T17" fmla="*/ 197 w 197"/>
                <a:gd name="T18" fmla="*/ 1069 h 106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7" h="1069">
                  <a:moveTo>
                    <a:pt x="0" y="123"/>
                  </a:moveTo>
                  <a:lnTo>
                    <a:pt x="0" y="947"/>
                  </a:lnTo>
                  <a:lnTo>
                    <a:pt x="197" y="1069"/>
                  </a:lnTo>
                  <a:lnTo>
                    <a:pt x="197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85271" y="2926255"/>
              <a:ext cx="964230" cy="1019117"/>
            </a:xfrm>
            <a:custGeom>
              <a:avLst/>
              <a:gdLst>
                <a:gd name="T0" fmla="*/ 913 w 913"/>
                <a:gd name="T1" fmla="*/ 958 h 972"/>
                <a:gd name="T2" fmla="*/ 0 w 913"/>
                <a:gd name="T3" fmla="*/ 972 h 972"/>
                <a:gd name="T4" fmla="*/ 0 w 913"/>
                <a:gd name="T5" fmla="*/ 0 h 972"/>
                <a:gd name="T6" fmla="*/ 913 w 913"/>
                <a:gd name="T7" fmla="*/ 6 h 972"/>
                <a:gd name="T8" fmla="*/ 913 w 913"/>
                <a:gd name="T9" fmla="*/ 958 h 9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3"/>
                <a:gd name="T16" fmla="*/ 0 h 972"/>
                <a:gd name="T17" fmla="*/ 913 w 913"/>
                <a:gd name="T18" fmla="*/ 972 h 97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3" h="972">
                  <a:moveTo>
                    <a:pt x="913" y="958"/>
                  </a:moveTo>
                  <a:lnTo>
                    <a:pt x="0" y="972"/>
                  </a:lnTo>
                  <a:lnTo>
                    <a:pt x="0" y="0"/>
                  </a:lnTo>
                  <a:lnTo>
                    <a:pt x="913" y="6"/>
                  </a:lnTo>
                  <a:lnTo>
                    <a:pt x="913" y="958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12954" y="2926255"/>
              <a:ext cx="72317" cy="1019117"/>
            </a:xfrm>
            <a:custGeom>
              <a:avLst/>
              <a:gdLst>
                <a:gd name="T0" fmla="*/ 0 w 69"/>
                <a:gd name="T1" fmla="*/ 87 h 972"/>
                <a:gd name="T2" fmla="*/ 0 w 69"/>
                <a:gd name="T3" fmla="*/ 906 h 972"/>
                <a:gd name="T4" fmla="*/ 69 w 69"/>
                <a:gd name="T5" fmla="*/ 972 h 972"/>
                <a:gd name="T6" fmla="*/ 69 w 69"/>
                <a:gd name="T7" fmla="*/ 0 h 972"/>
                <a:gd name="T8" fmla="*/ 0 w 69"/>
                <a:gd name="T9" fmla="*/ 87 h 9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"/>
                <a:gd name="T16" fmla="*/ 0 h 972"/>
                <a:gd name="T17" fmla="*/ 69 w 69"/>
                <a:gd name="T18" fmla="*/ 972 h 97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" h="972">
                  <a:moveTo>
                    <a:pt x="0" y="87"/>
                  </a:moveTo>
                  <a:lnTo>
                    <a:pt x="0" y="906"/>
                  </a:lnTo>
                  <a:lnTo>
                    <a:pt x="69" y="972"/>
                  </a:lnTo>
                  <a:lnTo>
                    <a:pt x="69" y="0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8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10247078" y="2875374"/>
              <a:ext cx="1062160" cy="1239104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1251 h 1251"/>
                <a:gd name="T4" fmla="*/ 1006 w 1006"/>
                <a:gd name="T5" fmla="*/ 1154 h 1251"/>
                <a:gd name="T6" fmla="*/ 1006 w 1006"/>
                <a:gd name="T7" fmla="*/ 81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dirty="0">
                  <a:solidFill>
                    <a:srgbClr val="000000"/>
                  </a:solidFill>
                  <a:latin typeface="隶书" pitchFamily="49" charset="-122"/>
                  <a:ea typeface="隶书" pitchFamily="49" charset="-122"/>
                </a:rPr>
                <a:t>`</a:t>
              </a:r>
              <a:endParaRPr lang="zh-CN" altLang="en-US" dirty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39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11309239" y="2875374"/>
              <a:ext cx="358572" cy="1239104"/>
            </a:xfrm>
            <a:custGeom>
              <a:avLst/>
              <a:gdLst>
                <a:gd name="T0" fmla="*/ 0 w 339"/>
                <a:gd name="T1" fmla="*/ 110 h 1251"/>
                <a:gd name="T2" fmla="*/ 0 w 339"/>
                <a:gd name="T3" fmla="*/ 1080 h 1251"/>
                <a:gd name="T4" fmla="*/ 339 w 339"/>
                <a:gd name="T5" fmla="*/ 1251 h 1251"/>
                <a:gd name="T6" fmla="*/ 339 w 339"/>
                <a:gd name="T7" fmla="*/ 0 h 1251"/>
                <a:gd name="T8" fmla="*/ 0 w 339"/>
                <a:gd name="T9" fmla="*/ 11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40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6040665" y="2926255"/>
              <a:ext cx="1012442" cy="1069998"/>
            </a:xfrm>
            <a:custGeom>
              <a:avLst/>
              <a:gdLst>
                <a:gd name="T0" fmla="*/ 0 w 973"/>
                <a:gd name="T1" fmla="*/ 0 h 1069"/>
                <a:gd name="T2" fmla="*/ 0 w 973"/>
                <a:gd name="T3" fmla="*/ 1069 h 1069"/>
                <a:gd name="T4" fmla="*/ 973 w 973"/>
                <a:gd name="T5" fmla="*/ 1051 h 1069"/>
                <a:gd name="T6" fmla="*/ 973 w 973"/>
                <a:gd name="T7" fmla="*/ 36 h 1069"/>
                <a:gd name="T8" fmla="*/ 0 w 973"/>
                <a:gd name="T9" fmla="*/ 0 h 10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73"/>
                <a:gd name="T16" fmla="*/ 0 h 1069"/>
                <a:gd name="T17" fmla="*/ 973 w 973"/>
                <a:gd name="T18" fmla="*/ 1069 h 106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73" h="1069">
                  <a:moveTo>
                    <a:pt x="0" y="0"/>
                  </a:moveTo>
                  <a:lnTo>
                    <a:pt x="0" y="1069"/>
                  </a:lnTo>
                  <a:lnTo>
                    <a:pt x="973" y="1051"/>
                  </a:lnTo>
                  <a:lnTo>
                    <a:pt x="973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41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7056154" y="2926255"/>
              <a:ext cx="204865" cy="1069998"/>
            </a:xfrm>
            <a:custGeom>
              <a:avLst/>
              <a:gdLst>
                <a:gd name="T0" fmla="*/ 0 w 197"/>
                <a:gd name="T1" fmla="*/ 123 h 1069"/>
                <a:gd name="T2" fmla="*/ 0 w 197"/>
                <a:gd name="T3" fmla="*/ 947 h 1069"/>
                <a:gd name="T4" fmla="*/ 197 w 197"/>
                <a:gd name="T5" fmla="*/ 1069 h 1069"/>
                <a:gd name="T6" fmla="*/ 197 w 197"/>
                <a:gd name="T7" fmla="*/ 0 h 1069"/>
                <a:gd name="T8" fmla="*/ 0 w 197"/>
                <a:gd name="T9" fmla="*/ 123 h 10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7"/>
                <a:gd name="T16" fmla="*/ 0 h 1069"/>
                <a:gd name="T17" fmla="*/ 197 w 197"/>
                <a:gd name="T18" fmla="*/ 1069 h 106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7" h="1069">
                  <a:moveTo>
                    <a:pt x="0" y="123"/>
                  </a:moveTo>
                  <a:lnTo>
                    <a:pt x="0" y="947"/>
                  </a:lnTo>
                  <a:lnTo>
                    <a:pt x="197" y="1069"/>
                  </a:lnTo>
                  <a:lnTo>
                    <a:pt x="197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42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4868523" y="2926255"/>
              <a:ext cx="964230" cy="1019117"/>
            </a:xfrm>
            <a:custGeom>
              <a:avLst/>
              <a:gdLst>
                <a:gd name="T0" fmla="*/ 913 w 913"/>
                <a:gd name="T1" fmla="*/ 958 h 972"/>
                <a:gd name="T2" fmla="*/ 0 w 913"/>
                <a:gd name="T3" fmla="*/ 972 h 972"/>
                <a:gd name="T4" fmla="*/ 0 w 913"/>
                <a:gd name="T5" fmla="*/ 0 h 972"/>
                <a:gd name="T6" fmla="*/ 913 w 913"/>
                <a:gd name="T7" fmla="*/ 6 h 972"/>
                <a:gd name="T8" fmla="*/ 913 w 913"/>
                <a:gd name="T9" fmla="*/ 958 h 9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3"/>
                <a:gd name="T16" fmla="*/ 0 h 972"/>
                <a:gd name="T17" fmla="*/ 913 w 913"/>
                <a:gd name="T18" fmla="*/ 972 h 97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3" h="972">
                  <a:moveTo>
                    <a:pt x="913" y="958"/>
                  </a:moveTo>
                  <a:lnTo>
                    <a:pt x="0" y="972"/>
                  </a:lnTo>
                  <a:lnTo>
                    <a:pt x="0" y="0"/>
                  </a:lnTo>
                  <a:lnTo>
                    <a:pt x="913" y="6"/>
                  </a:lnTo>
                  <a:lnTo>
                    <a:pt x="913" y="958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43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5832753" y="2926255"/>
              <a:ext cx="72317" cy="1019117"/>
            </a:xfrm>
            <a:custGeom>
              <a:avLst/>
              <a:gdLst>
                <a:gd name="T0" fmla="*/ 0 w 69"/>
                <a:gd name="T1" fmla="*/ 87 h 972"/>
                <a:gd name="T2" fmla="*/ 0 w 69"/>
                <a:gd name="T3" fmla="*/ 906 h 972"/>
                <a:gd name="T4" fmla="*/ 69 w 69"/>
                <a:gd name="T5" fmla="*/ 972 h 972"/>
                <a:gd name="T6" fmla="*/ 69 w 69"/>
                <a:gd name="T7" fmla="*/ 0 h 972"/>
                <a:gd name="T8" fmla="*/ 0 w 69"/>
                <a:gd name="T9" fmla="*/ 87 h 9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"/>
                <a:gd name="T16" fmla="*/ 0 h 972"/>
                <a:gd name="T17" fmla="*/ 69 w 69"/>
                <a:gd name="T18" fmla="*/ 972 h 97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" h="972">
                  <a:moveTo>
                    <a:pt x="0" y="87"/>
                  </a:moveTo>
                  <a:lnTo>
                    <a:pt x="0" y="906"/>
                  </a:lnTo>
                  <a:lnTo>
                    <a:pt x="69" y="972"/>
                  </a:lnTo>
                  <a:lnTo>
                    <a:pt x="69" y="0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4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488080" y="4054619"/>
              <a:ext cx="22600" cy="1496"/>
            </a:xfrm>
            <a:custGeom>
              <a:avLst/>
              <a:gdLst>
                <a:gd name="T0" fmla="*/ 12 w 12"/>
                <a:gd name="T1" fmla="*/ 0 h 1587"/>
                <a:gd name="T2" fmla="*/ 0 w 12"/>
                <a:gd name="T3" fmla="*/ 0 h 1587"/>
                <a:gd name="T4" fmla="*/ 12 w 12"/>
                <a:gd name="T5" fmla="*/ 0 h 1587"/>
                <a:gd name="T6" fmla="*/ 12 w 12"/>
                <a:gd name="T7" fmla="*/ 0 h 158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587"/>
                <a:gd name="T14" fmla="*/ 12 w 12"/>
                <a:gd name="T15" fmla="*/ 1587 h 158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587">
                  <a:moveTo>
                    <a:pt x="12" y="0"/>
                  </a:move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875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>
                <a:defRPr/>
              </a:pPr>
              <a:endParaRPr lang="zh-CN" altLang="en-US" b="0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45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1490704" y="3007029"/>
              <a:ext cx="448970" cy="90728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/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1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  <p:sp>
          <p:nvSpPr>
            <p:cNvPr id="46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2768652" y="2967432"/>
              <a:ext cx="567660" cy="90728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2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  <p:sp>
          <p:nvSpPr>
            <p:cNvPr id="47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3934303" y="2982172"/>
              <a:ext cx="567660" cy="90728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3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  <p:sp>
          <p:nvSpPr>
            <p:cNvPr id="48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5012922" y="2982172"/>
              <a:ext cx="567660" cy="90728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4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  <p:sp>
          <p:nvSpPr>
            <p:cNvPr id="49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6264420" y="3027620"/>
              <a:ext cx="521047" cy="866102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5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  <p:sp>
          <p:nvSpPr>
            <p:cNvPr id="50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10492221" y="3035605"/>
              <a:ext cx="593464" cy="91864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8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  <p:sp>
          <p:nvSpPr>
            <p:cNvPr id="51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8821585" y="2875373"/>
              <a:ext cx="1062160" cy="1208201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1251 h 1251"/>
                <a:gd name="T4" fmla="*/ 1006 w 1006"/>
                <a:gd name="T5" fmla="*/ 1154 h 1251"/>
                <a:gd name="T6" fmla="*/ 1006 w 1006"/>
                <a:gd name="T7" fmla="*/ 81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52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9883743" y="2882447"/>
              <a:ext cx="306620" cy="1211935"/>
            </a:xfrm>
            <a:custGeom>
              <a:avLst/>
              <a:gdLst>
                <a:gd name="T0" fmla="*/ 0 w 339"/>
                <a:gd name="T1" fmla="*/ 110 h 1251"/>
                <a:gd name="T2" fmla="*/ 0 w 339"/>
                <a:gd name="T3" fmla="*/ 1080 h 1251"/>
                <a:gd name="T4" fmla="*/ 339 w 339"/>
                <a:gd name="T5" fmla="*/ 1251 h 1251"/>
                <a:gd name="T6" fmla="*/ 339 w 339"/>
                <a:gd name="T7" fmla="*/ 0 h 1251"/>
                <a:gd name="T8" fmla="*/ 0 w 339"/>
                <a:gd name="T9" fmla="*/ 11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53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9038525" y="3007023"/>
              <a:ext cx="593461" cy="9072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7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  <p:sp>
          <p:nvSpPr>
            <p:cNvPr id="54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7430532" y="2926252"/>
              <a:ext cx="1027507" cy="1077849"/>
            </a:xfrm>
            <a:custGeom>
              <a:avLst/>
              <a:gdLst>
                <a:gd name="T0" fmla="*/ 0 w 973"/>
                <a:gd name="T1" fmla="*/ 0 h 1069"/>
                <a:gd name="T2" fmla="*/ 0 w 973"/>
                <a:gd name="T3" fmla="*/ 1069 h 1069"/>
                <a:gd name="T4" fmla="*/ 973 w 973"/>
                <a:gd name="T5" fmla="*/ 1051 h 1069"/>
                <a:gd name="T6" fmla="*/ 973 w 973"/>
                <a:gd name="T7" fmla="*/ 36 h 1069"/>
                <a:gd name="T8" fmla="*/ 0 w 973"/>
                <a:gd name="T9" fmla="*/ 0 h 10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73"/>
                <a:gd name="T16" fmla="*/ 0 h 1069"/>
                <a:gd name="T17" fmla="*/ 973 w 973"/>
                <a:gd name="T18" fmla="*/ 1069 h 106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73" h="1069">
                  <a:moveTo>
                    <a:pt x="0" y="0"/>
                  </a:moveTo>
                  <a:lnTo>
                    <a:pt x="0" y="1069"/>
                  </a:lnTo>
                  <a:lnTo>
                    <a:pt x="973" y="1051"/>
                  </a:lnTo>
                  <a:lnTo>
                    <a:pt x="973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55" name="出自【趣你的PPT】(微信:qunideppt)：最优质的PPT资源库"/>
            <p:cNvSpPr>
              <a:spLocks/>
            </p:cNvSpPr>
            <p:nvPr/>
          </p:nvSpPr>
          <p:spPr bwMode="auto">
            <a:xfrm flipH="1">
              <a:off x="8452820" y="2926252"/>
              <a:ext cx="207912" cy="1077849"/>
            </a:xfrm>
            <a:custGeom>
              <a:avLst/>
              <a:gdLst>
                <a:gd name="T0" fmla="*/ 0 w 197"/>
                <a:gd name="T1" fmla="*/ 123 h 1069"/>
                <a:gd name="T2" fmla="*/ 0 w 197"/>
                <a:gd name="T3" fmla="*/ 947 h 1069"/>
                <a:gd name="T4" fmla="*/ 197 w 197"/>
                <a:gd name="T5" fmla="*/ 1069 h 1069"/>
                <a:gd name="T6" fmla="*/ 197 w 197"/>
                <a:gd name="T7" fmla="*/ 0 h 1069"/>
                <a:gd name="T8" fmla="*/ 0 w 197"/>
                <a:gd name="T9" fmla="*/ 123 h 10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7"/>
                <a:gd name="T16" fmla="*/ 0 h 1069"/>
                <a:gd name="T17" fmla="*/ 197 w 197"/>
                <a:gd name="T18" fmla="*/ 1069 h 106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7" h="1069">
                  <a:moveTo>
                    <a:pt x="0" y="123"/>
                  </a:moveTo>
                  <a:lnTo>
                    <a:pt x="0" y="947"/>
                  </a:lnTo>
                  <a:lnTo>
                    <a:pt x="197" y="1069"/>
                  </a:lnTo>
                  <a:lnTo>
                    <a:pt x="197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隶书" pitchFamily="49" charset="-122"/>
                <a:ea typeface="隶书" pitchFamily="49" charset="-122"/>
              </a:endParaRPr>
            </a:p>
          </p:txBody>
        </p:sp>
        <p:sp>
          <p:nvSpPr>
            <p:cNvPr id="56" name="出自【趣你的PPT】(微信:qunideppt)：最优质的PPT资源库"/>
            <p:cNvSpPr>
              <a:spLocks noChangeArrowheads="1" noChangeShapeType="1" noTextEdit="1"/>
            </p:cNvSpPr>
            <p:nvPr/>
          </p:nvSpPr>
          <p:spPr bwMode="auto">
            <a:xfrm>
              <a:off x="7639410" y="3007758"/>
              <a:ext cx="539127" cy="906559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numCol="1" fromWordArt="1">
              <a:prstTxWarp prst="textPlain">
                <a:avLst>
                  <a:gd name="adj" fmla="val 50000"/>
                </a:avLst>
              </a:prstTxWarp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altLang="zh-CN" sz="5400" b="0" kern="10" dirty="0">
                  <a:solidFill>
                    <a:schemeClr val="bg1"/>
                  </a:solidFill>
                  <a:latin typeface="Impact" panose="020B0806030902050204" pitchFamily="34" charset="0"/>
                  <a:ea typeface="隶书" pitchFamily="49" charset="-122"/>
                  <a:cs typeface="Arial"/>
                </a:rPr>
                <a:t>6</a:t>
              </a:r>
              <a:endParaRPr lang="zh-CN" altLang="en-US" sz="5400" b="0" kern="10" dirty="0">
                <a:solidFill>
                  <a:schemeClr val="bg1"/>
                </a:solidFill>
                <a:latin typeface="Impact" panose="020B0806030902050204" pitchFamily="34" charset="0"/>
                <a:ea typeface="隶书" pitchFamily="49" charset="-122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4383384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5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grpId="0" nodeType="withEffect">
                                  <p:stCondLst>
                                    <p:cond delay="5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 animBg="1"/>
      <p:bldP spid="2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cxnSp>
        <p:nvCxnSpPr>
          <p:cNvPr id="7" name="出自【趣你的PPT】(微信:qunideppt)：最优质的PPT资源库"/>
          <p:cNvCxnSpPr/>
          <p:nvPr/>
        </p:nvCxnSpPr>
        <p:spPr>
          <a:xfrm>
            <a:off x="2361598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出自【趣你的PPT】(微信:qunideppt)：最优质的PPT资源库"/>
          <p:cNvCxnSpPr/>
          <p:nvPr/>
        </p:nvCxnSpPr>
        <p:spPr>
          <a:xfrm>
            <a:off x="2721318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出自【趣你的PPT】(微信:qunideppt)：最优质的PPT资源库"/>
          <p:cNvCxnSpPr/>
          <p:nvPr/>
        </p:nvCxnSpPr>
        <p:spPr>
          <a:xfrm>
            <a:off x="3089813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出自【趣你的PPT】(微信:qunideppt)：最优质的PPT资源库"/>
          <p:cNvCxnSpPr/>
          <p:nvPr/>
        </p:nvCxnSpPr>
        <p:spPr>
          <a:xfrm>
            <a:off x="3458307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出自【趣你的PPT】(微信:qunideppt)：最优质的PPT资源库"/>
          <p:cNvCxnSpPr/>
          <p:nvPr/>
        </p:nvCxnSpPr>
        <p:spPr>
          <a:xfrm>
            <a:off x="3826801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出自【趣你的PPT】(微信:qunideppt)：最优质的PPT资源库"/>
          <p:cNvCxnSpPr/>
          <p:nvPr/>
        </p:nvCxnSpPr>
        <p:spPr>
          <a:xfrm>
            <a:off x="4204069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出自【趣你的PPT】(微信:qunideppt)：最优质的PPT资源库"/>
          <p:cNvCxnSpPr/>
          <p:nvPr/>
        </p:nvCxnSpPr>
        <p:spPr>
          <a:xfrm>
            <a:off x="4581336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出自【趣你的PPT】(微信:qunideppt)：最优质的PPT资源库"/>
          <p:cNvCxnSpPr/>
          <p:nvPr/>
        </p:nvCxnSpPr>
        <p:spPr>
          <a:xfrm>
            <a:off x="4949830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出自【趣你的PPT】(微信:qunideppt)：最优质的PPT资源库"/>
          <p:cNvCxnSpPr/>
          <p:nvPr/>
        </p:nvCxnSpPr>
        <p:spPr>
          <a:xfrm>
            <a:off x="5327098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出自【趣你的PPT】(微信:qunideppt)：最优质的PPT资源库"/>
          <p:cNvCxnSpPr/>
          <p:nvPr/>
        </p:nvCxnSpPr>
        <p:spPr>
          <a:xfrm>
            <a:off x="5695592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出自【趣你的PPT】(微信:qunideppt)：最优质的PPT资源库"/>
          <p:cNvCxnSpPr/>
          <p:nvPr/>
        </p:nvCxnSpPr>
        <p:spPr>
          <a:xfrm>
            <a:off x="6072860" y="3241257"/>
            <a:ext cx="0" cy="15925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7055220" y="3576547"/>
            <a:ext cx="239713" cy="1125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/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0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7047955" y="3413154"/>
            <a:ext cx="239713" cy="101667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1" name="出自【趣你的PPT】(微信:qunideppt)：最优质的PPT资源库"/>
          <p:cNvSpPr>
            <a:spLocks/>
          </p:cNvSpPr>
          <p:nvPr/>
        </p:nvSpPr>
        <p:spPr bwMode="auto">
          <a:xfrm>
            <a:off x="1967291" y="3999399"/>
            <a:ext cx="4112824" cy="846392"/>
          </a:xfrm>
          <a:custGeom>
            <a:avLst/>
            <a:gdLst>
              <a:gd name="T0" fmla="*/ 12265 w 434"/>
              <a:gd name="T1" fmla="*/ 2022 h 89"/>
              <a:gd name="T2" fmla="*/ 11145 w 434"/>
              <a:gd name="T3" fmla="*/ 1799 h 89"/>
              <a:gd name="T4" fmla="*/ 10949 w 434"/>
              <a:gd name="T5" fmla="*/ 1731 h 89"/>
              <a:gd name="T6" fmla="*/ 9801 w 434"/>
              <a:gd name="T7" fmla="*/ 1389 h 89"/>
              <a:gd name="T8" fmla="*/ 8679 w 434"/>
              <a:gd name="T9" fmla="*/ 370 h 89"/>
              <a:gd name="T10" fmla="*/ 8590 w 434"/>
              <a:gd name="T11" fmla="*/ 254 h 89"/>
              <a:gd name="T12" fmla="*/ 7468 w 434"/>
              <a:gd name="T13" fmla="*/ 95 h 89"/>
              <a:gd name="T14" fmla="*/ 7246 w 434"/>
              <a:gd name="T15" fmla="*/ 95 h 89"/>
              <a:gd name="T16" fmla="*/ 6218 w 434"/>
              <a:gd name="T17" fmla="*/ 759 h 89"/>
              <a:gd name="T18" fmla="*/ 6034 w 434"/>
              <a:gd name="T19" fmla="*/ 787 h 89"/>
              <a:gd name="T20" fmla="*/ 4915 w 434"/>
              <a:gd name="T21" fmla="*/ 533 h 89"/>
              <a:gd name="T22" fmla="*/ 3793 w 434"/>
              <a:gd name="T23" fmla="*/ 827 h 89"/>
              <a:gd name="T24" fmla="*/ 3609 w 434"/>
              <a:gd name="T25" fmla="*/ 853 h 89"/>
              <a:gd name="T26" fmla="*/ 2487 w 434"/>
              <a:gd name="T27" fmla="*/ 1107 h 89"/>
              <a:gd name="T28" fmla="*/ 2400 w 434"/>
              <a:gd name="T29" fmla="*/ 1264 h 89"/>
              <a:gd name="T30" fmla="*/ 1278 w 434"/>
              <a:gd name="T31" fmla="*/ 2022 h 89"/>
              <a:gd name="T32" fmla="*/ 1143 w 434"/>
              <a:gd name="T33" fmla="*/ 2119 h 89"/>
              <a:gd name="T34" fmla="*/ 28 w 434"/>
              <a:gd name="T35" fmla="*/ 2809 h 89"/>
              <a:gd name="T36" fmla="*/ 66 w 434"/>
              <a:gd name="T37" fmla="*/ 2809 h 89"/>
              <a:gd name="T38" fmla="*/ 1278 w 434"/>
              <a:gd name="T39" fmla="*/ 2238 h 89"/>
              <a:gd name="T40" fmla="*/ 1372 w 434"/>
              <a:gd name="T41" fmla="*/ 2079 h 89"/>
              <a:gd name="T42" fmla="*/ 2487 w 434"/>
              <a:gd name="T43" fmla="*/ 1332 h 89"/>
              <a:gd name="T44" fmla="*/ 2581 w 434"/>
              <a:gd name="T45" fmla="*/ 1226 h 89"/>
              <a:gd name="T46" fmla="*/ 3703 w 434"/>
              <a:gd name="T47" fmla="*/ 972 h 89"/>
              <a:gd name="T48" fmla="*/ 4820 w 434"/>
              <a:gd name="T49" fmla="*/ 669 h 89"/>
              <a:gd name="T50" fmla="*/ 5047 w 434"/>
              <a:gd name="T51" fmla="*/ 669 h 89"/>
              <a:gd name="T52" fmla="*/ 6164 w 434"/>
              <a:gd name="T53" fmla="*/ 944 h 89"/>
              <a:gd name="T54" fmla="*/ 6259 w 434"/>
              <a:gd name="T55" fmla="*/ 827 h 89"/>
              <a:gd name="T56" fmla="*/ 7380 w 434"/>
              <a:gd name="T57" fmla="*/ 225 h 89"/>
              <a:gd name="T58" fmla="*/ 8495 w 434"/>
              <a:gd name="T59" fmla="*/ 349 h 89"/>
              <a:gd name="T60" fmla="*/ 8590 w 434"/>
              <a:gd name="T61" fmla="*/ 479 h 89"/>
              <a:gd name="T62" fmla="*/ 9712 w 434"/>
              <a:gd name="T63" fmla="*/ 1479 h 89"/>
              <a:gd name="T64" fmla="*/ 9801 w 434"/>
              <a:gd name="T65" fmla="*/ 1612 h 89"/>
              <a:gd name="T66" fmla="*/ 10921 w 434"/>
              <a:gd name="T67" fmla="*/ 1799 h 89"/>
              <a:gd name="T68" fmla="*/ 11010 w 434"/>
              <a:gd name="T69" fmla="*/ 1935 h 89"/>
              <a:gd name="T70" fmla="*/ 12132 w 434"/>
              <a:gd name="T71" fmla="*/ 2148 h 89"/>
              <a:gd name="T72" fmla="*/ 12317 w 434"/>
              <a:gd name="T73" fmla="*/ 2214 h 89"/>
              <a:gd name="T74" fmla="*/ 13436 w 434"/>
              <a:gd name="T75" fmla="*/ 2809 h 89"/>
              <a:gd name="T76" fmla="*/ 13504 w 434"/>
              <a:gd name="T77" fmla="*/ 2693 h 89"/>
              <a:gd name="T78" fmla="*/ 12354 w 434"/>
              <a:gd name="T79" fmla="*/ 2148 h 8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434" h="89">
                <a:moveTo>
                  <a:pt x="397" y="68"/>
                </a:moveTo>
                <a:cubicBezTo>
                  <a:pt x="397" y="66"/>
                  <a:pt x="396" y="64"/>
                  <a:pt x="394" y="64"/>
                </a:cubicBezTo>
                <a:cubicBezTo>
                  <a:pt x="393" y="64"/>
                  <a:pt x="392" y="65"/>
                  <a:pt x="391" y="66"/>
                </a:cubicBezTo>
                <a:cubicBezTo>
                  <a:pt x="358" y="57"/>
                  <a:pt x="358" y="57"/>
                  <a:pt x="358" y="57"/>
                </a:cubicBezTo>
                <a:cubicBezTo>
                  <a:pt x="358" y="55"/>
                  <a:pt x="356" y="54"/>
                  <a:pt x="354" y="54"/>
                </a:cubicBezTo>
                <a:cubicBezTo>
                  <a:pt x="353" y="54"/>
                  <a:pt x="352" y="54"/>
                  <a:pt x="352" y="55"/>
                </a:cubicBezTo>
                <a:cubicBezTo>
                  <a:pt x="319" y="48"/>
                  <a:pt x="319" y="48"/>
                  <a:pt x="319" y="48"/>
                </a:cubicBezTo>
                <a:cubicBezTo>
                  <a:pt x="319" y="46"/>
                  <a:pt x="317" y="44"/>
                  <a:pt x="315" y="44"/>
                </a:cubicBezTo>
                <a:cubicBezTo>
                  <a:pt x="315" y="44"/>
                  <a:pt x="314" y="45"/>
                  <a:pt x="313" y="45"/>
                </a:cubicBezTo>
                <a:cubicBezTo>
                  <a:pt x="279" y="12"/>
                  <a:pt x="279" y="12"/>
                  <a:pt x="279" y="12"/>
                </a:cubicBezTo>
                <a:cubicBezTo>
                  <a:pt x="279" y="12"/>
                  <a:pt x="280" y="12"/>
                  <a:pt x="280" y="11"/>
                </a:cubicBezTo>
                <a:cubicBezTo>
                  <a:pt x="280" y="9"/>
                  <a:pt x="278" y="8"/>
                  <a:pt x="276" y="8"/>
                </a:cubicBezTo>
                <a:cubicBezTo>
                  <a:pt x="275" y="8"/>
                  <a:pt x="274" y="8"/>
                  <a:pt x="273" y="9"/>
                </a:cubicBezTo>
                <a:cubicBezTo>
                  <a:pt x="240" y="3"/>
                  <a:pt x="240" y="3"/>
                  <a:pt x="240" y="3"/>
                </a:cubicBezTo>
                <a:cubicBezTo>
                  <a:pt x="240" y="1"/>
                  <a:pt x="239" y="0"/>
                  <a:pt x="237" y="0"/>
                </a:cubicBezTo>
                <a:cubicBezTo>
                  <a:pt x="235" y="0"/>
                  <a:pt x="233" y="1"/>
                  <a:pt x="233" y="3"/>
                </a:cubicBezTo>
                <a:cubicBezTo>
                  <a:pt x="233" y="4"/>
                  <a:pt x="233" y="4"/>
                  <a:pt x="233" y="4"/>
                </a:cubicBezTo>
                <a:cubicBezTo>
                  <a:pt x="200" y="24"/>
                  <a:pt x="200" y="24"/>
                  <a:pt x="200" y="24"/>
                </a:cubicBezTo>
                <a:cubicBezTo>
                  <a:pt x="199" y="23"/>
                  <a:pt x="198" y="23"/>
                  <a:pt x="198" y="23"/>
                </a:cubicBezTo>
                <a:cubicBezTo>
                  <a:pt x="196" y="23"/>
                  <a:pt x="195" y="23"/>
                  <a:pt x="194" y="25"/>
                </a:cubicBezTo>
                <a:cubicBezTo>
                  <a:pt x="162" y="19"/>
                  <a:pt x="162" y="19"/>
                  <a:pt x="162" y="19"/>
                </a:cubicBezTo>
                <a:cubicBezTo>
                  <a:pt x="161" y="18"/>
                  <a:pt x="160" y="17"/>
                  <a:pt x="158" y="17"/>
                </a:cubicBezTo>
                <a:cubicBezTo>
                  <a:pt x="157" y="17"/>
                  <a:pt x="156" y="18"/>
                  <a:pt x="155" y="19"/>
                </a:cubicBezTo>
                <a:cubicBezTo>
                  <a:pt x="122" y="26"/>
                  <a:pt x="122" y="26"/>
                  <a:pt x="122" y="26"/>
                </a:cubicBezTo>
                <a:cubicBezTo>
                  <a:pt x="122" y="25"/>
                  <a:pt x="120" y="24"/>
                  <a:pt x="119" y="24"/>
                </a:cubicBezTo>
                <a:cubicBezTo>
                  <a:pt x="117" y="24"/>
                  <a:pt x="116" y="25"/>
                  <a:pt x="116" y="27"/>
                </a:cubicBezTo>
                <a:cubicBezTo>
                  <a:pt x="83" y="37"/>
                  <a:pt x="83" y="37"/>
                  <a:pt x="83" y="37"/>
                </a:cubicBezTo>
                <a:cubicBezTo>
                  <a:pt x="82" y="36"/>
                  <a:pt x="81" y="35"/>
                  <a:pt x="80" y="35"/>
                </a:cubicBezTo>
                <a:cubicBezTo>
                  <a:pt x="78" y="35"/>
                  <a:pt x="76" y="37"/>
                  <a:pt x="76" y="39"/>
                </a:cubicBezTo>
                <a:cubicBezTo>
                  <a:pt x="76" y="39"/>
                  <a:pt x="76" y="39"/>
                  <a:pt x="77" y="40"/>
                </a:cubicBezTo>
                <a:cubicBezTo>
                  <a:pt x="42" y="64"/>
                  <a:pt x="42" y="64"/>
                  <a:pt x="42" y="64"/>
                </a:cubicBezTo>
                <a:cubicBezTo>
                  <a:pt x="42" y="64"/>
                  <a:pt x="41" y="64"/>
                  <a:pt x="41" y="64"/>
                </a:cubicBezTo>
                <a:cubicBezTo>
                  <a:pt x="39" y="64"/>
                  <a:pt x="37" y="65"/>
                  <a:pt x="37" y="67"/>
                </a:cubicBezTo>
                <a:cubicBezTo>
                  <a:pt x="37" y="67"/>
                  <a:pt x="37" y="67"/>
                  <a:pt x="37" y="67"/>
                </a:cubicBezTo>
                <a:cubicBezTo>
                  <a:pt x="0" y="88"/>
                  <a:pt x="0" y="88"/>
                  <a:pt x="0" y="88"/>
                </a:cubicBezTo>
                <a:cubicBezTo>
                  <a:pt x="1" y="89"/>
                  <a:pt x="1" y="89"/>
                  <a:pt x="1" y="89"/>
                </a:cubicBezTo>
                <a:cubicBezTo>
                  <a:pt x="2" y="89"/>
                  <a:pt x="2" y="89"/>
                  <a:pt x="2" y="89"/>
                </a:cubicBezTo>
                <a:cubicBezTo>
                  <a:pt x="2" y="89"/>
                  <a:pt x="2" y="89"/>
                  <a:pt x="2" y="89"/>
                </a:cubicBezTo>
                <a:cubicBezTo>
                  <a:pt x="38" y="69"/>
                  <a:pt x="38" y="69"/>
                  <a:pt x="38" y="69"/>
                </a:cubicBezTo>
                <a:cubicBezTo>
                  <a:pt x="39" y="70"/>
                  <a:pt x="40" y="71"/>
                  <a:pt x="41" y="71"/>
                </a:cubicBezTo>
                <a:cubicBezTo>
                  <a:pt x="43" y="71"/>
                  <a:pt x="44" y="69"/>
                  <a:pt x="44" y="67"/>
                </a:cubicBezTo>
                <a:cubicBezTo>
                  <a:pt x="44" y="67"/>
                  <a:pt x="44" y="66"/>
                  <a:pt x="44" y="66"/>
                </a:cubicBezTo>
                <a:cubicBezTo>
                  <a:pt x="78" y="41"/>
                  <a:pt x="78" y="41"/>
                  <a:pt x="78" y="41"/>
                </a:cubicBezTo>
                <a:cubicBezTo>
                  <a:pt x="78" y="42"/>
                  <a:pt x="79" y="42"/>
                  <a:pt x="80" y="42"/>
                </a:cubicBezTo>
                <a:cubicBezTo>
                  <a:pt x="82" y="42"/>
                  <a:pt x="83" y="41"/>
                  <a:pt x="83" y="39"/>
                </a:cubicBezTo>
                <a:cubicBezTo>
                  <a:pt x="83" y="39"/>
                  <a:pt x="83" y="39"/>
                  <a:pt x="83" y="39"/>
                </a:cubicBezTo>
                <a:cubicBezTo>
                  <a:pt x="116" y="29"/>
                  <a:pt x="116" y="29"/>
                  <a:pt x="116" y="29"/>
                </a:cubicBezTo>
                <a:cubicBezTo>
                  <a:pt x="117" y="30"/>
                  <a:pt x="118" y="31"/>
                  <a:pt x="119" y="31"/>
                </a:cubicBezTo>
                <a:cubicBezTo>
                  <a:pt x="121" y="31"/>
                  <a:pt x="122" y="30"/>
                  <a:pt x="123" y="28"/>
                </a:cubicBezTo>
                <a:cubicBezTo>
                  <a:pt x="155" y="21"/>
                  <a:pt x="155" y="21"/>
                  <a:pt x="155" y="21"/>
                </a:cubicBezTo>
                <a:cubicBezTo>
                  <a:pt x="155" y="23"/>
                  <a:pt x="157" y="24"/>
                  <a:pt x="158" y="24"/>
                </a:cubicBezTo>
                <a:cubicBezTo>
                  <a:pt x="160" y="24"/>
                  <a:pt x="161" y="23"/>
                  <a:pt x="162" y="21"/>
                </a:cubicBezTo>
                <a:cubicBezTo>
                  <a:pt x="194" y="27"/>
                  <a:pt x="194" y="27"/>
                  <a:pt x="194" y="27"/>
                </a:cubicBezTo>
                <a:cubicBezTo>
                  <a:pt x="194" y="28"/>
                  <a:pt x="196" y="30"/>
                  <a:pt x="198" y="30"/>
                </a:cubicBezTo>
                <a:cubicBezTo>
                  <a:pt x="199" y="30"/>
                  <a:pt x="201" y="28"/>
                  <a:pt x="201" y="26"/>
                </a:cubicBezTo>
                <a:cubicBezTo>
                  <a:pt x="201" y="26"/>
                  <a:pt x="201" y="26"/>
                  <a:pt x="201" y="26"/>
                </a:cubicBezTo>
                <a:cubicBezTo>
                  <a:pt x="234" y="6"/>
                  <a:pt x="234" y="6"/>
                  <a:pt x="234" y="6"/>
                </a:cubicBezTo>
                <a:cubicBezTo>
                  <a:pt x="235" y="7"/>
                  <a:pt x="236" y="7"/>
                  <a:pt x="237" y="7"/>
                </a:cubicBezTo>
                <a:cubicBezTo>
                  <a:pt x="238" y="7"/>
                  <a:pt x="239" y="6"/>
                  <a:pt x="240" y="5"/>
                </a:cubicBezTo>
                <a:cubicBezTo>
                  <a:pt x="273" y="11"/>
                  <a:pt x="273" y="11"/>
                  <a:pt x="273" y="11"/>
                </a:cubicBezTo>
                <a:cubicBezTo>
                  <a:pt x="273" y="11"/>
                  <a:pt x="273" y="11"/>
                  <a:pt x="273" y="11"/>
                </a:cubicBezTo>
                <a:cubicBezTo>
                  <a:pt x="273" y="13"/>
                  <a:pt x="274" y="15"/>
                  <a:pt x="276" y="15"/>
                </a:cubicBezTo>
                <a:cubicBezTo>
                  <a:pt x="277" y="15"/>
                  <a:pt x="277" y="15"/>
                  <a:pt x="278" y="14"/>
                </a:cubicBezTo>
                <a:cubicBezTo>
                  <a:pt x="312" y="47"/>
                  <a:pt x="312" y="47"/>
                  <a:pt x="312" y="47"/>
                </a:cubicBezTo>
                <a:cubicBezTo>
                  <a:pt x="312" y="47"/>
                  <a:pt x="312" y="47"/>
                  <a:pt x="312" y="48"/>
                </a:cubicBezTo>
                <a:cubicBezTo>
                  <a:pt x="312" y="50"/>
                  <a:pt x="313" y="51"/>
                  <a:pt x="315" y="51"/>
                </a:cubicBezTo>
                <a:cubicBezTo>
                  <a:pt x="316" y="51"/>
                  <a:pt x="317" y="51"/>
                  <a:pt x="318" y="50"/>
                </a:cubicBezTo>
                <a:cubicBezTo>
                  <a:pt x="351" y="57"/>
                  <a:pt x="351" y="57"/>
                  <a:pt x="351" y="57"/>
                </a:cubicBezTo>
                <a:cubicBezTo>
                  <a:pt x="351" y="57"/>
                  <a:pt x="351" y="57"/>
                  <a:pt x="351" y="57"/>
                </a:cubicBezTo>
                <a:cubicBezTo>
                  <a:pt x="351" y="59"/>
                  <a:pt x="353" y="61"/>
                  <a:pt x="354" y="61"/>
                </a:cubicBezTo>
                <a:cubicBezTo>
                  <a:pt x="356" y="61"/>
                  <a:pt x="357" y="60"/>
                  <a:pt x="358" y="59"/>
                </a:cubicBezTo>
                <a:cubicBezTo>
                  <a:pt x="390" y="68"/>
                  <a:pt x="390" y="68"/>
                  <a:pt x="390" y="68"/>
                </a:cubicBezTo>
                <a:cubicBezTo>
                  <a:pt x="390" y="70"/>
                  <a:pt x="392" y="71"/>
                  <a:pt x="394" y="71"/>
                </a:cubicBezTo>
                <a:cubicBezTo>
                  <a:pt x="395" y="71"/>
                  <a:pt x="396" y="71"/>
                  <a:pt x="396" y="70"/>
                </a:cubicBezTo>
                <a:cubicBezTo>
                  <a:pt x="432" y="86"/>
                  <a:pt x="432" y="86"/>
                  <a:pt x="432" y="86"/>
                </a:cubicBezTo>
                <a:cubicBezTo>
                  <a:pt x="432" y="89"/>
                  <a:pt x="432" y="89"/>
                  <a:pt x="432" y="89"/>
                </a:cubicBezTo>
                <a:cubicBezTo>
                  <a:pt x="434" y="89"/>
                  <a:pt x="434" y="89"/>
                  <a:pt x="434" y="89"/>
                </a:cubicBezTo>
                <a:cubicBezTo>
                  <a:pt x="434" y="85"/>
                  <a:pt x="434" y="85"/>
                  <a:pt x="434" y="85"/>
                </a:cubicBezTo>
                <a:cubicBezTo>
                  <a:pt x="397" y="68"/>
                  <a:pt x="397" y="68"/>
                  <a:pt x="397" y="68"/>
                </a:cubicBezTo>
                <a:cubicBezTo>
                  <a:pt x="397" y="68"/>
                  <a:pt x="397" y="68"/>
                  <a:pt x="397" y="68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/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2" name="出自【趣你的PPT】(微信:qunideppt)：最优质的PPT资源库"/>
          <p:cNvSpPr>
            <a:spLocks/>
          </p:cNvSpPr>
          <p:nvPr/>
        </p:nvSpPr>
        <p:spPr bwMode="auto">
          <a:xfrm>
            <a:off x="1975315" y="3554140"/>
            <a:ext cx="4120849" cy="1291650"/>
          </a:xfrm>
          <a:custGeom>
            <a:avLst/>
            <a:gdLst>
              <a:gd name="T0" fmla="*/ 13294 w 435"/>
              <a:gd name="T1" fmla="*/ 1660 h 136"/>
              <a:gd name="T2" fmla="*/ 12279 w 435"/>
              <a:gd name="T3" fmla="*/ 2202 h 136"/>
              <a:gd name="T4" fmla="*/ 12145 w 435"/>
              <a:gd name="T5" fmla="*/ 2164 h 136"/>
              <a:gd name="T6" fmla="*/ 11092 w 435"/>
              <a:gd name="T7" fmla="*/ 942 h 136"/>
              <a:gd name="T8" fmla="*/ 10870 w 435"/>
              <a:gd name="T9" fmla="*/ 874 h 136"/>
              <a:gd name="T10" fmla="*/ 9793 w 435"/>
              <a:gd name="T11" fmla="*/ 824 h 136"/>
              <a:gd name="T12" fmla="*/ 8634 w 435"/>
              <a:gd name="T13" fmla="*/ 320 h 136"/>
              <a:gd name="T14" fmla="*/ 8539 w 435"/>
              <a:gd name="T15" fmla="*/ 156 h 136"/>
              <a:gd name="T16" fmla="*/ 7425 w 435"/>
              <a:gd name="T17" fmla="*/ 476 h 136"/>
              <a:gd name="T18" fmla="*/ 7241 w 435"/>
              <a:gd name="T19" fmla="*/ 476 h 136"/>
              <a:gd name="T20" fmla="*/ 6120 w 435"/>
              <a:gd name="T21" fmla="*/ 0 h 136"/>
              <a:gd name="T22" fmla="*/ 6004 w 435"/>
              <a:gd name="T23" fmla="*/ 118 h 136"/>
              <a:gd name="T24" fmla="*/ 4882 w 435"/>
              <a:gd name="T25" fmla="*/ 717 h 136"/>
              <a:gd name="T26" fmla="*/ 3763 w 435"/>
              <a:gd name="T27" fmla="*/ 758 h 136"/>
              <a:gd name="T28" fmla="*/ 3579 w 435"/>
              <a:gd name="T29" fmla="*/ 824 h 136"/>
              <a:gd name="T30" fmla="*/ 2486 w 435"/>
              <a:gd name="T31" fmla="*/ 1911 h 136"/>
              <a:gd name="T32" fmla="*/ 2330 w 435"/>
              <a:gd name="T33" fmla="*/ 2017 h 136"/>
              <a:gd name="T34" fmla="*/ 1303 w 435"/>
              <a:gd name="T35" fmla="*/ 2505 h 136"/>
              <a:gd name="T36" fmla="*/ 1121 w 435"/>
              <a:gd name="T37" fmla="*/ 2612 h 136"/>
              <a:gd name="T38" fmla="*/ 0 w 435"/>
              <a:gd name="T39" fmla="*/ 4153 h 136"/>
              <a:gd name="T40" fmla="*/ 0 w 435"/>
              <a:gd name="T41" fmla="*/ 4271 h 136"/>
              <a:gd name="T42" fmla="*/ 13450 w 435"/>
              <a:gd name="T43" fmla="*/ 4271 h 136"/>
              <a:gd name="T44" fmla="*/ 66 w 435"/>
              <a:gd name="T45" fmla="*/ 4250 h 136"/>
              <a:gd name="T46" fmla="*/ 1183 w 435"/>
              <a:gd name="T47" fmla="*/ 2709 h 136"/>
              <a:gd name="T48" fmla="*/ 1343 w 435"/>
              <a:gd name="T49" fmla="*/ 2612 h 136"/>
              <a:gd name="T50" fmla="*/ 2359 w 435"/>
              <a:gd name="T51" fmla="*/ 2069 h 136"/>
              <a:gd name="T52" fmla="*/ 2552 w 435"/>
              <a:gd name="T53" fmla="*/ 2017 h 136"/>
              <a:gd name="T54" fmla="*/ 3607 w 435"/>
              <a:gd name="T55" fmla="*/ 914 h 136"/>
              <a:gd name="T56" fmla="*/ 3789 w 435"/>
              <a:gd name="T57" fmla="*/ 824 h 136"/>
              <a:gd name="T58" fmla="*/ 4882 w 435"/>
              <a:gd name="T59" fmla="*/ 942 h 136"/>
              <a:gd name="T60" fmla="*/ 5000 w 435"/>
              <a:gd name="T61" fmla="*/ 824 h 136"/>
              <a:gd name="T62" fmla="*/ 6120 w 435"/>
              <a:gd name="T63" fmla="*/ 225 h 136"/>
              <a:gd name="T64" fmla="*/ 7213 w 435"/>
              <a:gd name="T65" fmla="*/ 533 h 136"/>
              <a:gd name="T66" fmla="*/ 7425 w 435"/>
              <a:gd name="T67" fmla="*/ 573 h 136"/>
              <a:gd name="T68" fmla="*/ 8539 w 435"/>
              <a:gd name="T69" fmla="*/ 369 h 136"/>
              <a:gd name="T70" fmla="*/ 9659 w 435"/>
              <a:gd name="T71" fmla="*/ 914 h 136"/>
              <a:gd name="T72" fmla="*/ 9793 w 435"/>
              <a:gd name="T73" fmla="*/ 1037 h 136"/>
              <a:gd name="T74" fmla="*/ 10870 w 435"/>
              <a:gd name="T75" fmla="*/ 942 h 136"/>
              <a:gd name="T76" fmla="*/ 11025 w 435"/>
              <a:gd name="T77" fmla="*/ 1037 h 136"/>
              <a:gd name="T78" fmla="*/ 12078 w 435"/>
              <a:gd name="T79" fmla="*/ 2259 h 136"/>
              <a:gd name="T80" fmla="*/ 12303 w 435"/>
              <a:gd name="T81" fmla="*/ 2259 h 136"/>
              <a:gd name="T82" fmla="*/ 13356 w 435"/>
              <a:gd name="T83" fmla="*/ 1726 h 136"/>
              <a:gd name="T84" fmla="*/ 13516 w 435"/>
              <a:gd name="T85" fmla="*/ 1660 h 1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35" h="136">
                <a:moveTo>
                  <a:pt x="432" y="49"/>
                </a:moveTo>
                <a:cubicBezTo>
                  <a:pt x="430" y="49"/>
                  <a:pt x="428" y="51"/>
                  <a:pt x="428" y="53"/>
                </a:cubicBezTo>
                <a:cubicBezTo>
                  <a:pt x="428" y="53"/>
                  <a:pt x="429" y="53"/>
                  <a:pt x="429" y="53"/>
                </a:cubicBezTo>
                <a:cubicBezTo>
                  <a:pt x="395" y="70"/>
                  <a:pt x="395" y="70"/>
                  <a:pt x="395" y="70"/>
                </a:cubicBezTo>
                <a:cubicBezTo>
                  <a:pt x="394" y="69"/>
                  <a:pt x="393" y="68"/>
                  <a:pt x="392" y="68"/>
                </a:cubicBezTo>
                <a:cubicBezTo>
                  <a:pt x="392" y="68"/>
                  <a:pt x="391" y="68"/>
                  <a:pt x="391" y="69"/>
                </a:cubicBezTo>
                <a:cubicBezTo>
                  <a:pt x="357" y="31"/>
                  <a:pt x="357" y="31"/>
                  <a:pt x="357" y="31"/>
                </a:cubicBezTo>
                <a:cubicBezTo>
                  <a:pt x="357" y="31"/>
                  <a:pt x="357" y="30"/>
                  <a:pt x="357" y="30"/>
                </a:cubicBezTo>
                <a:cubicBezTo>
                  <a:pt x="357" y="28"/>
                  <a:pt x="355" y="26"/>
                  <a:pt x="353" y="26"/>
                </a:cubicBezTo>
                <a:cubicBezTo>
                  <a:pt x="352" y="26"/>
                  <a:pt x="351" y="27"/>
                  <a:pt x="350" y="28"/>
                </a:cubicBezTo>
                <a:cubicBezTo>
                  <a:pt x="318" y="28"/>
                  <a:pt x="318" y="28"/>
                  <a:pt x="318" y="28"/>
                </a:cubicBezTo>
                <a:cubicBezTo>
                  <a:pt x="317" y="27"/>
                  <a:pt x="316" y="26"/>
                  <a:pt x="315" y="26"/>
                </a:cubicBezTo>
                <a:cubicBezTo>
                  <a:pt x="314" y="26"/>
                  <a:pt x="313" y="26"/>
                  <a:pt x="312" y="27"/>
                </a:cubicBezTo>
                <a:cubicBezTo>
                  <a:pt x="278" y="10"/>
                  <a:pt x="278" y="10"/>
                  <a:pt x="278" y="10"/>
                </a:cubicBezTo>
                <a:cubicBezTo>
                  <a:pt x="278" y="9"/>
                  <a:pt x="279" y="9"/>
                  <a:pt x="279" y="9"/>
                </a:cubicBezTo>
                <a:cubicBezTo>
                  <a:pt x="279" y="7"/>
                  <a:pt x="277" y="5"/>
                  <a:pt x="275" y="5"/>
                </a:cubicBezTo>
                <a:cubicBezTo>
                  <a:pt x="273" y="5"/>
                  <a:pt x="272" y="7"/>
                  <a:pt x="272" y="9"/>
                </a:cubicBezTo>
                <a:cubicBezTo>
                  <a:pt x="239" y="15"/>
                  <a:pt x="239" y="15"/>
                  <a:pt x="239" y="15"/>
                </a:cubicBezTo>
                <a:cubicBezTo>
                  <a:pt x="239" y="14"/>
                  <a:pt x="237" y="13"/>
                  <a:pt x="236" y="13"/>
                </a:cubicBezTo>
                <a:cubicBezTo>
                  <a:pt x="234" y="13"/>
                  <a:pt x="233" y="14"/>
                  <a:pt x="233" y="15"/>
                </a:cubicBezTo>
                <a:cubicBezTo>
                  <a:pt x="200" y="3"/>
                  <a:pt x="200" y="3"/>
                  <a:pt x="200" y="3"/>
                </a:cubicBezTo>
                <a:cubicBezTo>
                  <a:pt x="200" y="2"/>
                  <a:pt x="198" y="0"/>
                  <a:pt x="197" y="0"/>
                </a:cubicBezTo>
                <a:cubicBezTo>
                  <a:pt x="195" y="0"/>
                  <a:pt x="193" y="2"/>
                  <a:pt x="193" y="4"/>
                </a:cubicBezTo>
                <a:cubicBezTo>
                  <a:pt x="193" y="4"/>
                  <a:pt x="193" y="4"/>
                  <a:pt x="193" y="4"/>
                </a:cubicBezTo>
                <a:cubicBezTo>
                  <a:pt x="160" y="24"/>
                  <a:pt x="160" y="24"/>
                  <a:pt x="160" y="24"/>
                </a:cubicBezTo>
                <a:cubicBezTo>
                  <a:pt x="159" y="23"/>
                  <a:pt x="158" y="23"/>
                  <a:pt x="157" y="23"/>
                </a:cubicBezTo>
                <a:cubicBezTo>
                  <a:pt x="156" y="23"/>
                  <a:pt x="154" y="24"/>
                  <a:pt x="154" y="25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20" y="23"/>
                  <a:pt x="119" y="22"/>
                  <a:pt x="118" y="22"/>
                </a:cubicBezTo>
                <a:cubicBezTo>
                  <a:pt x="116" y="22"/>
                  <a:pt x="115" y="24"/>
                  <a:pt x="115" y="26"/>
                </a:cubicBezTo>
                <a:cubicBezTo>
                  <a:pt x="115" y="26"/>
                  <a:pt x="115" y="26"/>
                  <a:pt x="115" y="27"/>
                </a:cubicBezTo>
                <a:cubicBezTo>
                  <a:pt x="80" y="61"/>
                  <a:pt x="80" y="61"/>
                  <a:pt x="80" y="61"/>
                </a:cubicBezTo>
                <a:cubicBezTo>
                  <a:pt x="80" y="61"/>
                  <a:pt x="79" y="60"/>
                  <a:pt x="79" y="60"/>
                </a:cubicBezTo>
                <a:cubicBezTo>
                  <a:pt x="77" y="60"/>
                  <a:pt x="75" y="62"/>
                  <a:pt x="75" y="64"/>
                </a:cubicBezTo>
                <a:cubicBezTo>
                  <a:pt x="75" y="64"/>
                  <a:pt x="75" y="64"/>
                  <a:pt x="75" y="64"/>
                </a:cubicBezTo>
                <a:cubicBezTo>
                  <a:pt x="42" y="80"/>
                  <a:pt x="42" y="80"/>
                  <a:pt x="42" y="80"/>
                </a:cubicBezTo>
                <a:cubicBezTo>
                  <a:pt x="41" y="80"/>
                  <a:pt x="41" y="79"/>
                  <a:pt x="40" y="79"/>
                </a:cubicBezTo>
                <a:cubicBezTo>
                  <a:pt x="38" y="79"/>
                  <a:pt x="36" y="81"/>
                  <a:pt x="36" y="83"/>
                </a:cubicBezTo>
                <a:cubicBezTo>
                  <a:pt x="36" y="84"/>
                  <a:pt x="36" y="84"/>
                  <a:pt x="37" y="85"/>
                </a:cubicBezTo>
                <a:cubicBezTo>
                  <a:pt x="0" y="132"/>
                  <a:pt x="0" y="132"/>
                  <a:pt x="0" y="132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36"/>
                  <a:pt x="0" y="136"/>
                  <a:pt x="0" y="136"/>
                </a:cubicBezTo>
                <a:cubicBezTo>
                  <a:pt x="433" y="136"/>
                  <a:pt x="433" y="136"/>
                  <a:pt x="433" y="136"/>
                </a:cubicBezTo>
                <a:cubicBezTo>
                  <a:pt x="433" y="135"/>
                  <a:pt x="433" y="135"/>
                  <a:pt x="433" y="135"/>
                </a:cubicBezTo>
                <a:cubicBezTo>
                  <a:pt x="2" y="135"/>
                  <a:pt x="2" y="135"/>
                  <a:pt x="2" y="135"/>
                </a:cubicBezTo>
                <a:cubicBezTo>
                  <a:pt x="2" y="133"/>
                  <a:pt x="2" y="133"/>
                  <a:pt x="2" y="133"/>
                </a:cubicBezTo>
                <a:cubicBezTo>
                  <a:pt x="38" y="86"/>
                  <a:pt x="38" y="86"/>
                  <a:pt x="38" y="86"/>
                </a:cubicBezTo>
                <a:cubicBezTo>
                  <a:pt x="39" y="86"/>
                  <a:pt x="39" y="86"/>
                  <a:pt x="40" y="86"/>
                </a:cubicBezTo>
                <a:cubicBezTo>
                  <a:pt x="42" y="86"/>
                  <a:pt x="43" y="85"/>
                  <a:pt x="43" y="83"/>
                </a:cubicBezTo>
                <a:cubicBezTo>
                  <a:pt x="43" y="83"/>
                  <a:pt x="43" y="83"/>
                  <a:pt x="43" y="82"/>
                </a:cubicBezTo>
                <a:cubicBezTo>
                  <a:pt x="76" y="66"/>
                  <a:pt x="76" y="66"/>
                  <a:pt x="76" y="66"/>
                </a:cubicBezTo>
                <a:cubicBezTo>
                  <a:pt x="77" y="67"/>
                  <a:pt x="78" y="67"/>
                  <a:pt x="79" y="67"/>
                </a:cubicBezTo>
                <a:cubicBezTo>
                  <a:pt x="81" y="67"/>
                  <a:pt x="82" y="66"/>
                  <a:pt x="82" y="64"/>
                </a:cubicBezTo>
                <a:cubicBezTo>
                  <a:pt x="82" y="63"/>
                  <a:pt x="82" y="63"/>
                  <a:pt x="82" y="62"/>
                </a:cubicBezTo>
                <a:cubicBezTo>
                  <a:pt x="116" y="29"/>
                  <a:pt x="116" y="29"/>
                  <a:pt x="116" y="29"/>
                </a:cubicBezTo>
                <a:cubicBezTo>
                  <a:pt x="117" y="29"/>
                  <a:pt x="117" y="29"/>
                  <a:pt x="118" y="29"/>
                </a:cubicBezTo>
                <a:cubicBezTo>
                  <a:pt x="120" y="29"/>
                  <a:pt x="121" y="28"/>
                  <a:pt x="122" y="26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5" y="29"/>
                  <a:pt x="156" y="30"/>
                  <a:pt x="157" y="30"/>
                </a:cubicBezTo>
                <a:cubicBezTo>
                  <a:pt x="159" y="30"/>
                  <a:pt x="161" y="28"/>
                  <a:pt x="161" y="26"/>
                </a:cubicBezTo>
                <a:cubicBezTo>
                  <a:pt x="161" y="26"/>
                  <a:pt x="161" y="26"/>
                  <a:pt x="161" y="26"/>
                </a:cubicBezTo>
                <a:cubicBezTo>
                  <a:pt x="194" y="6"/>
                  <a:pt x="194" y="6"/>
                  <a:pt x="194" y="6"/>
                </a:cubicBezTo>
                <a:cubicBezTo>
                  <a:pt x="195" y="7"/>
                  <a:pt x="196" y="7"/>
                  <a:pt x="197" y="7"/>
                </a:cubicBezTo>
                <a:cubicBezTo>
                  <a:pt x="198" y="7"/>
                  <a:pt x="199" y="7"/>
                  <a:pt x="200" y="6"/>
                </a:cubicBezTo>
                <a:cubicBezTo>
                  <a:pt x="232" y="17"/>
                  <a:pt x="232" y="17"/>
                  <a:pt x="232" y="17"/>
                </a:cubicBezTo>
                <a:cubicBezTo>
                  <a:pt x="233" y="19"/>
                  <a:pt x="234" y="20"/>
                  <a:pt x="236" y="20"/>
                </a:cubicBezTo>
                <a:cubicBezTo>
                  <a:pt x="237" y="20"/>
                  <a:pt x="239" y="19"/>
                  <a:pt x="239" y="18"/>
                </a:cubicBezTo>
                <a:cubicBezTo>
                  <a:pt x="272" y="11"/>
                  <a:pt x="272" y="11"/>
                  <a:pt x="272" y="11"/>
                </a:cubicBezTo>
                <a:cubicBezTo>
                  <a:pt x="273" y="12"/>
                  <a:pt x="274" y="12"/>
                  <a:pt x="275" y="12"/>
                </a:cubicBezTo>
                <a:cubicBezTo>
                  <a:pt x="276" y="12"/>
                  <a:pt x="277" y="12"/>
                  <a:pt x="277" y="11"/>
                </a:cubicBezTo>
                <a:cubicBezTo>
                  <a:pt x="311" y="29"/>
                  <a:pt x="311" y="29"/>
                  <a:pt x="311" y="29"/>
                </a:cubicBezTo>
                <a:cubicBezTo>
                  <a:pt x="311" y="29"/>
                  <a:pt x="311" y="29"/>
                  <a:pt x="311" y="30"/>
                </a:cubicBezTo>
                <a:cubicBezTo>
                  <a:pt x="311" y="31"/>
                  <a:pt x="313" y="33"/>
                  <a:pt x="315" y="33"/>
                </a:cubicBezTo>
                <a:cubicBezTo>
                  <a:pt x="316" y="33"/>
                  <a:pt x="317" y="32"/>
                  <a:pt x="318" y="31"/>
                </a:cubicBezTo>
                <a:cubicBezTo>
                  <a:pt x="350" y="30"/>
                  <a:pt x="350" y="30"/>
                  <a:pt x="350" y="30"/>
                </a:cubicBezTo>
                <a:cubicBezTo>
                  <a:pt x="351" y="32"/>
                  <a:pt x="352" y="33"/>
                  <a:pt x="353" y="33"/>
                </a:cubicBezTo>
                <a:cubicBezTo>
                  <a:pt x="354" y="33"/>
                  <a:pt x="355" y="33"/>
                  <a:pt x="355" y="33"/>
                </a:cubicBezTo>
                <a:cubicBezTo>
                  <a:pt x="389" y="70"/>
                  <a:pt x="389" y="70"/>
                  <a:pt x="389" y="70"/>
                </a:cubicBezTo>
                <a:cubicBezTo>
                  <a:pt x="389" y="71"/>
                  <a:pt x="389" y="71"/>
                  <a:pt x="389" y="72"/>
                </a:cubicBezTo>
                <a:cubicBezTo>
                  <a:pt x="389" y="74"/>
                  <a:pt x="390" y="75"/>
                  <a:pt x="392" y="75"/>
                </a:cubicBezTo>
                <a:cubicBezTo>
                  <a:pt x="394" y="75"/>
                  <a:pt x="396" y="74"/>
                  <a:pt x="396" y="72"/>
                </a:cubicBezTo>
                <a:cubicBezTo>
                  <a:pt x="396" y="72"/>
                  <a:pt x="396" y="72"/>
                  <a:pt x="396" y="72"/>
                </a:cubicBezTo>
                <a:cubicBezTo>
                  <a:pt x="430" y="55"/>
                  <a:pt x="430" y="55"/>
                  <a:pt x="430" y="55"/>
                </a:cubicBezTo>
                <a:cubicBezTo>
                  <a:pt x="430" y="56"/>
                  <a:pt x="431" y="56"/>
                  <a:pt x="432" y="56"/>
                </a:cubicBezTo>
                <a:cubicBezTo>
                  <a:pt x="434" y="56"/>
                  <a:pt x="435" y="54"/>
                  <a:pt x="435" y="53"/>
                </a:cubicBezTo>
                <a:cubicBezTo>
                  <a:pt x="435" y="51"/>
                  <a:pt x="434" y="49"/>
                  <a:pt x="432" y="49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3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932703" y="1213047"/>
            <a:ext cx="5314488" cy="127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" name="Group 23出自【趣你的PPT】(微信:qunideppt)：最优质的PPT资源库"/>
          <p:cNvGrpSpPr/>
          <p:nvPr/>
        </p:nvGrpSpPr>
        <p:grpSpPr>
          <a:xfrm>
            <a:off x="6263439" y="1167960"/>
            <a:ext cx="1701051" cy="1535894"/>
            <a:chOff x="6186166" y="1746747"/>
            <a:chExt cx="1701051" cy="1535894"/>
          </a:xfrm>
        </p:grpSpPr>
        <p:grpSp>
          <p:nvGrpSpPr>
            <p:cNvPr id="25" name="组合 24"/>
            <p:cNvGrpSpPr/>
            <p:nvPr/>
          </p:nvGrpSpPr>
          <p:grpSpPr>
            <a:xfrm>
              <a:off x="6186166" y="1746747"/>
              <a:ext cx="1518185" cy="1535894"/>
              <a:chOff x="6186166" y="1746747"/>
              <a:chExt cx="1518185" cy="1535894"/>
            </a:xfrm>
          </p:grpSpPr>
          <p:sp>
            <p:nvSpPr>
              <p:cNvPr id="27" name="出自【趣你的PPT】(微信:qunideppt)：最优质的PPT资源库"/>
              <p:cNvSpPr>
                <a:spLocks/>
              </p:cNvSpPr>
              <p:nvPr/>
            </p:nvSpPr>
            <p:spPr bwMode="auto">
              <a:xfrm>
                <a:off x="6186166" y="1746747"/>
                <a:ext cx="1518185" cy="1535894"/>
              </a:xfrm>
              <a:custGeom>
                <a:avLst/>
                <a:gdLst>
                  <a:gd name="T0" fmla="*/ 3703 w 177"/>
                  <a:gd name="T1" fmla="*/ 0 h 179"/>
                  <a:gd name="T2" fmla="*/ 1868 w 177"/>
                  <a:gd name="T3" fmla="*/ 0 h 179"/>
                  <a:gd name="T4" fmla="*/ 1807 w 177"/>
                  <a:gd name="T5" fmla="*/ 0 h 179"/>
                  <a:gd name="T6" fmla="*/ 0 w 177"/>
                  <a:gd name="T7" fmla="*/ 1810 h 179"/>
                  <a:gd name="T8" fmla="*/ 0 w 177"/>
                  <a:gd name="T9" fmla="*/ 2994 h 179"/>
                  <a:gd name="T10" fmla="*/ 0 w 177"/>
                  <a:gd name="T11" fmla="*/ 3774 h 179"/>
                  <a:gd name="T12" fmla="*/ 0 w 177"/>
                  <a:gd name="T13" fmla="*/ 5584 h 179"/>
                  <a:gd name="T14" fmla="*/ 1807 w 177"/>
                  <a:gd name="T15" fmla="*/ 5584 h 179"/>
                  <a:gd name="T16" fmla="*/ 3608 w 177"/>
                  <a:gd name="T17" fmla="*/ 5584 h 179"/>
                  <a:gd name="T18" fmla="*/ 3703 w 177"/>
                  <a:gd name="T19" fmla="*/ 5584 h 179"/>
                  <a:gd name="T20" fmla="*/ 5505 w 177"/>
                  <a:gd name="T21" fmla="*/ 3774 h 179"/>
                  <a:gd name="T22" fmla="*/ 5505 w 177"/>
                  <a:gd name="T23" fmla="*/ 2585 h 179"/>
                  <a:gd name="T24" fmla="*/ 5505 w 177"/>
                  <a:gd name="T25" fmla="*/ 1810 h 179"/>
                  <a:gd name="T26" fmla="*/ 5505 w 177"/>
                  <a:gd name="T27" fmla="*/ 0 h 179"/>
                  <a:gd name="T28" fmla="*/ 3703 w 177"/>
                  <a:gd name="T29" fmla="*/ 0 h 17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7" h="179">
                    <a:moveTo>
                      <a:pt x="119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26" y="0"/>
                      <a:pt x="0" y="26"/>
                      <a:pt x="0" y="58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0" y="179"/>
                      <a:pt x="0" y="179"/>
                      <a:pt x="0" y="179"/>
                    </a:cubicBezTo>
                    <a:cubicBezTo>
                      <a:pt x="58" y="179"/>
                      <a:pt x="58" y="179"/>
                      <a:pt x="58" y="179"/>
                    </a:cubicBezTo>
                    <a:cubicBezTo>
                      <a:pt x="116" y="179"/>
                      <a:pt x="116" y="179"/>
                      <a:pt x="116" y="179"/>
                    </a:cubicBezTo>
                    <a:cubicBezTo>
                      <a:pt x="119" y="179"/>
                      <a:pt x="119" y="179"/>
                      <a:pt x="119" y="179"/>
                    </a:cubicBezTo>
                    <a:cubicBezTo>
                      <a:pt x="151" y="179"/>
                      <a:pt x="177" y="153"/>
                      <a:pt x="177" y="121"/>
                    </a:cubicBezTo>
                    <a:cubicBezTo>
                      <a:pt x="177" y="83"/>
                      <a:pt x="177" y="83"/>
                      <a:pt x="177" y="83"/>
                    </a:cubicBezTo>
                    <a:cubicBezTo>
                      <a:pt x="177" y="58"/>
                      <a:pt x="177" y="58"/>
                      <a:pt x="177" y="58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出自【趣你的PPT】(微信:qunideppt)：最优质的PPT资源库"/>
              <p:cNvSpPr txBox="1"/>
              <p:nvPr/>
            </p:nvSpPr>
            <p:spPr>
              <a:xfrm>
                <a:off x="6229912" y="1862206"/>
                <a:ext cx="1445547" cy="807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3200" dirty="0">
                    <a:solidFill>
                      <a:prstClr val="white"/>
                    </a:solidFill>
                    <a:latin typeface="微软雅黑" pitchFamily="34" charset="-122"/>
                    <a:ea typeface="微软雅黑" pitchFamily="34" charset="-122"/>
                  </a:rPr>
                  <a:t>75%</a:t>
                </a:r>
                <a:endParaRPr lang="zh-CN" altLang="en-US" sz="320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26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6369032" y="2701560"/>
              <a:ext cx="1518185" cy="369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市场份额</a:t>
              </a:r>
              <a:endParaRPr lang="zh-CN" altLang="zh-CN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9" name="出自【趣你的PPT】(微信:qunideppt)：最优质的PPT资源库"/>
          <p:cNvSpPr txBox="1"/>
          <p:nvPr/>
        </p:nvSpPr>
        <p:spPr bwMode="auto">
          <a:xfrm>
            <a:off x="6169371" y="3327871"/>
            <a:ext cx="877163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30" name="出自【趣你的PPT】(微信:qunideppt)：最优质的PPT资源库"/>
          <p:cNvSpPr txBox="1"/>
          <p:nvPr/>
        </p:nvSpPr>
        <p:spPr bwMode="auto">
          <a:xfrm>
            <a:off x="6169371" y="3504184"/>
            <a:ext cx="877163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grpSp>
        <p:nvGrpSpPr>
          <p:cNvPr id="31" name="Group 30出自【趣你的PPT】(微信:qunideppt)：最优质的PPT资源库"/>
          <p:cNvGrpSpPr/>
          <p:nvPr/>
        </p:nvGrpSpPr>
        <p:grpSpPr>
          <a:xfrm>
            <a:off x="7981385" y="1122021"/>
            <a:ext cx="1691605" cy="1535894"/>
            <a:chOff x="7904112" y="1700808"/>
            <a:chExt cx="1691605" cy="1535894"/>
          </a:xfrm>
        </p:grpSpPr>
        <p:sp>
          <p:nvSpPr>
            <p:cNvPr id="3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904112" y="1700808"/>
              <a:ext cx="1510921" cy="1535894"/>
            </a:xfrm>
            <a:custGeom>
              <a:avLst/>
              <a:gdLst>
                <a:gd name="T0" fmla="*/ 3683 w 176"/>
                <a:gd name="T1" fmla="*/ 0 h 179"/>
                <a:gd name="T2" fmla="*/ 1877 w 176"/>
                <a:gd name="T3" fmla="*/ 0 h 179"/>
                <a:gd name="T4" fmla="*/ 1811 w 176"/>
                <a:gd name="T5" fmla="*/ 0 h 179"/>
                <a:gd name="T6" fmla="*/ 0 w 176"/>
                <a:gd name="T7" fmla="*/ 1810 h 179"/>
                <a:gd name="T8" fmla="*/ 0 w 176"/>
                <a:gd name="T9" fmla="*/ 2994 h 179"/>
                <a:gd name="T10" fmla="*/ 0 w 176"/>
                <a:gd name="T11" fmla="*/ 3774 h 179"/>
                <a:gd name="T12" fmla="*/ 0 w 176"/>
                <a:gd name="T13" fmla="*/ 5584 h 179"/>
                <a:gd name="T14" fmla="*/ 1811 w 176"/>
                <a:gd name="T15" fmla="*/ 5584 h 179"/>
                <a:gd name="T16" fmla="*/ 3621 w 176"/>
                <a:gd name="T17" fmla="*/ 5584 h 179"/>
                <a:gd name="T18" fmla="*/ 3683 w 176"/>
                <a:gd name="T19" fmla="*/ 5584 h 179"/>
                <a:gd name="T20" fmla="*/ 5491 w 176"/>
                <a:gd name="T21" fmla="*/ 3774 h 179"/>
                <a:gd name="T22" fmla="*/ 5491 w 176"/>
                <a:gd name="T23" fmla="*/ 2585 h 179"/>
                <a:gd name="T24" fmla="*/ 5491 w 176"/>
                <a:gd name="T25" fmla="*/ 1810 h 179"/>
                <a:gd name="T26" fmla="*/ 5491 w 176"/>
                <a:gd name="T27" fmla="*/ 0 h 179"/>
                <a:gd name="T28" fmla="*/ 3683 w 176"/>
                <a:gd name="T29" fmla="*/ 0 h 1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6" h="179">
                  <a:moveTo>
                    <a:pt x="118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58" y="179"/>
                    <a:pt x="58" y="179"/>
                    <a:pt x="58" y="179"/>
                  </a:cubicBezTo>
                  <a:cubicBezTo>
                    <a:pt x="116" y="179"/>
                    <a:pt x="116" y="179"/>
                    <a:pt x="116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50" y="179"/>
                    <a:pt x="176" y="153"/>
                    <a:pt x="176" y="121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0"/>
                    <a:pt x="176" y="0"/>
                    <a:pt x="176" y="0"/>
                  </a:cubicBezTo>
                  <a:lnTo>
                    <a:pt x="118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8077532" y="2698722"/>
              <a:ext cx="1518185" cy="369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市场份额</a:t>
              </a:r>
              <a:endParaRPr lang="zh-CN" altLang="zh-CN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4" name="出自【趣你的PPT】(微信:qunideppt)：最优质的PPT资源库"/>
            <p:cNvSpPr txBox="1"/>
            <p:nvPr/>
          </p:nvSpPr>
          <p:spPr>
            <a:xfrm>
              <a:off x="7927617" y="1862206"/>
              <a:ext cx="1445547" cy="807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20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64%</a:t>
              </a:r>
              <a:endParaRPr lang="zh-CN" altLang="en-US" sz="32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5" name="Group 34出自【趣你的PPT】(微信:qunideppt)：最优质的PPT资源库"/>
          <p:cNvGrpSpPr/>
          <p:nvPr/>
        </p:nvGrpSpPr>
        <p:grpSpPr>
          <a:xfrm>
            <a:off x="9655748" y="1122021"/>
            <a:ext cx="1720407" cy="1535894"/>
            <a:chOff x="9578475" y="1700808"/>
            <a:chExt cx="1720407" cy="1535894"/>
          </a:xfrm>
        </p:grpSpPr>
        <p:sp>
          <p:nvSpPr>
            <p:cNvPr id="3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578475" y="1700808"/>
              <a:ext cx="1518185" cy="1535894"/>
            </a:xfrm>
            <a:custGeom>
              <a:avLst/>
              <a:gdLst>
                <a:gd name="T0" fmla="*/ 3703 w 177"/>
                <a:gd name="T1" fmla="*/ 0 h 179"/>
                <a:gd name="T2" fmla="*/ 1896 w 177"/>
                <a:gd name="T3" fmla="*/ 0 h 179"/>
                <a:gd name="T4" fmla="*/ 1807 w 177"/>
                <a:gd name="T5" fmla="*/ 0 h 179"/>
                <a:gd name="T6" fmla="*/ 0 w 177"/>
                <a:gd name="T7" fmla="*/ 1810 h 179"/>
                <a:gd name="T8" fmla="*/ 0 w 177"/>
                <a:gd name="T9" fmla="*/ 2994 h 179"/>
                <a:gd name="T10" fmla="*/ 0 w 177"/>
                <a:gd name="T11" fmla="*/ 3774 h 179"/>
                <a:gd name="T12" fmla="*/ 0 w 177"/>
                <a:gd name="T13" fmla="*/ 5584 h 179"/>
                <a:gd name="T14" fmla="*/ 1807 w 177"/>
                <a:gd name="T15" fmla="*/ 5584 h 179"/>
                <a:gd name="T16" fmla="*/ 3608 w 177"/>
                <a:gd name="T17" fmla="*/ 5584 h 179"/>
                <a:gd name="T18" fmla="*/ 3703 w 177"/>
                <a:gd name="T19" fmla="*/ 5584 h 179"/>
                <a:gd name="T20" fmla="*/ 5505 w 177"/>
                <a:gd name="T21" fmla="*/ 3774 h 179"/>
                <a:gd name="T22" fmla="*/ 5505 w 177"/>
                <a:gd name="T23" fmla="*/ 2585 h 179"/>
                <a:gd name="T24" fmla="*/ 5505 w 177"/>
                <a:gd name="T25" fmla="*/ 1810 h 179"/>
                <a:gd name="T26" fmla="*/ 5505 w 177"/>
                <a:gd name="T27" fmla="*/ 0 h 179"/>
                <a:gd name="T28" fmla="*/ 3703 w 177"/>
                <a:gd name="T29" fmla="*/ 0 h 1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7" h="179">
                  <a:moveTo>
                    <a:pt x="119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58" y="179"/>
                    <a:pt x="58" y="179"/>
                    <a:pt x="58" y="179"/>
                  </a:cubicBezTo>
                  <a:cubicBezTo>
                    <a:pt x="116" y="179"/>
                    <a:pt x="116" y="179"/>
                    <a:pt x="116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51" y="179"/>
                    <a:pt x="177" y="153"/>
                    <a:pt x="177" y="121"/>
                  </a:cubicBezTo>
                  <a:cubicBezTo>
                    <a:pt x="177" y="83"/>
                    <a:pt x="177" y="83"/>
                    <a:pt x="177" y="83"/>
                  </a:cubicBezTo>
                  <a:cubicBezTo>
                    <a:pt x="177" y="58"/>
                    <a:pt x="177" y="58"/>
                    <a:pt x="177" y="58"/>
                  </a:cubicBezTo>
                  <a:cubicBezTo>
                    <a:pt x="177" y="0"/>
                    <a:pt x="177" y="0"/>
                    <a:pt x="177" y="0"/>
                  </a:cubicBezTo>
                  <a:lnTo>
                    <a:pt x="119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9780697" y="2670178"/>
              <a:ext cx="1518185" cy="369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市场份额</a:t>
              </a:r>
              <a:endParaRPr lang="zh-CN" altLang="zh-CN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出自【趣你的PPT】(微信:qunideppt)：最优质的PPT资源库"/>
            <p:cNvSpPr txBox="1"/>
            <p:nvPr/>
          </p:nvSpPr>
          <p:spPr>
            <a:xfrm>
              <a:off x="9612161" y="1862206"/>
              <a:ext cx="1445547" cy="807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20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53%</a:t>
              </a:r>
              <a:endParaRPr lang="zh-CN" altLang="en-US" sz="32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9" name="Group 38出自【趣你的PPT】(微信:qunideppt)：最优质的PPT资源库"/>
          <p:cNvGrpSpPr/>
          <p:nvPr/>
        </p:nvGrpSpPr>
        <p:grpSpPr>
          <a:xfrm>
            <a:off x="7175076" y="4778896"/>
            <a:ext cx="984600" cy="524428"/>
            <a:chOff x="7101113" y="5251882"/>
            <a:chExt cx="984600" cy="524428"/>
          </a:xfrm>
        </p:grpSpPr>
        <p:sp>
          <p:nvSpPr>
            <p:cNvPr id="40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7159548" y="5251882"/>
              <a:ext cx="926165" cy="363096"/>
            </a:xfrm>
            <a:prstGeom prst="rect">
              <a:avLst/>
            </a:pr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出自【趣你的PPT】(微信:qunideppt)：最优质的PPT资源库"/>
            <p:cNvSpPr txBox="1"/>
            <p:nvPr/>
          </p:nvSpPr>
          <p:spPr>
            <a:xfrm>
              <a:off x="7101113" y="5266011"/>
              <a:ext cx="972757" cy="5102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1800" dirty="0">
                  <a:solidFill>
                    <a:prstClr val="white"/>
                  </a:solidFill>
                </a:rPr>
                <a:t>173</a:t>
              </a:r>
              <a:endParaRPr lang="zh-CN" altLang="en-US" sz="18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2" name="Group 41出自【趣你的PPT】(微信:qunideppt)：最优质的PPT资源库"/>
          <p:cNvGrpSpPr/>
          <p:nvPr/>
        </p:nvGrpSpPr>
        <p:grpSpPr>
          <a:xfrm>
            <a:off x="8165114" y="4388613"/>
            <a:ext cx="972757" cy="751105"/>
            <a:chOff x="8087841" y="4863873"/>
            <a:chExt cx="972757" cy="751105"/>
          </a:xfrm>
        </p:grpSpPr>
        <p:sp>
          <p:nvSpPr>
            <p:cNvPr id="43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8111137" y="4892417"/>
              <a:ext cx="926165" cy="722561"/>
            </a:xfrm>
            <a:prstGeom prst="rect">
              <a:avLst/>
            </a:prstGeom>
            <a:solidFill>
              <a:srgbClr val="2848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出自【趣你的PPT】(微信:qunideppt)：最优质的PPT资源库"/>
            <p:cNvSpPr txBox="1"/>
            <p:nvPr/>
          </p:nvSpPr>
          <p:spPr>
            <a:xfrm>
              <a:off x="8087841" y="4863873"/>
              <a:ext cx="972757" cy="5102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1800" dirty="0">
                  <a:solidFill>
                    <a:prstClr val="white"/>
                  </a:solidFill>
                </a:rPr>
                <a:t>258</a:t>
              </a:r>
              <a:endParaRPr lang="zh-CN" altLang="en-US" sz="18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5" name="Group 44出自【趣你的PPT】(微信:qunideppt)：最优质的PPT资源库"/>
          <p:cNvGrpSpPr/>
          <p:nvPr/>
        </p:nvGrpSpPr>
        <p:grpSpPr>
          <a:xfrm>
            <a:off x="9123968" y="4629419"/>
            <a:ext cx="972757" cy="510299"/>
            <a:chOff x="9046695" y="5125305"/>
            <a:chExt cx="972757" cy="510299"/>
          </a:xfrm>
        </p:grpSpPr>
        <p:sp>
          <p:nvSpPr>
            <p:cNvPr id="46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9069991" y="5168371"/>
              <a:ext cx="926165" cy="446607"/>
            </a:xfrm>
            <a:prstGeom prst="rect">
              <a:avLst/>
            </a:prstGeom>
            <a:solidFill>
              <a:srgbClr val="F830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出自【趣你的PPT】(微信:qunideppt)：最优质的PPT资源库"/>
            <p:cNvSpPr txBox="1"/>
            <p:nvPr/>
          </p:nvSpPr>
          <p:spPr>
            <a:xfrm>
              <a:off x="9046695" y="5125305"/>
              <a:ext cx="972757" cy="510299"/>
            </a:xfrm>
            <a:prstGeom prst="rect">
              <a:avLst/>
            </a:prstGeom>
            <a:solidFill>
              <a:srgbClr val="0070C0"/>
            </a:solidFill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1800" dirty="0">
                  <a:solidFill>
                    <a:prstClr val="white"/>
                  </a:solidFill>
                </a:rPr>
                <a:t>178</a:t>
              </a:r>
              <a:endParaRPr lang="zh-CN" alt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48" name="出自【趣你的PPT】(微信:qunideppt)：最优质的PPT资源库"/>
          <p:cNvSpPr txBox="1"/>
          <p:nvPr/>
        </p:nvSpPr>
        <p:spPr bwMode="auto">
          <a:xfrm>
            <a:off x="1032064" y="4673095"/>
            <a:ext cx="877164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49" name="出自【趣你的PPT】(微信:qunideppt)：最优质的PPT资源库"/>
          <p:cNvSpPr txBox="1"/>
          <p:nvPr/>
        </p:nvSpPr>
        <p:spPr bwMode="auto">
          <a:xfrm>
            <a:off x="1032064" y="4376545"/>
            <a:ext cx="877164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50" name="出自【趣你的PPT】(微信:qunideppt)：最优质的PPT资源库"/>
          <p:cNvSpPr txBox="1"/>
          <p:nvPr/>
        </p:nvSpPr>
        <p:spPr bwMode="auto">
          <a:xfrm>
            <a:off x="1032064" y="4079995"/>
            <a:ext cx="877164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51" name="出自【趣你的PPT】(微信:qunideppt)：最优质的PPT资源库"/>
          <p:cNvSpPr txBox="1"/>
          <p:nvPr/>
        </p:nvSpPr>
        <p:spPr bwMode="auto">
          <a:xfrm>
            <a:off x="1032064" y="3783445"/>
            <a:ext cx="877164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52" name="出自【趣你的PPT】(微信:qunideppt)：最优质的PPT资源库"/>
          <p:cNvSpPr txBox="1"/>
          <p:nvPr/>
        </p:nvSpPr>
        <p:spPr bwMode="auto">
          <a:xfrm>
            <a:off x="1035270" y="3486895"/>
            <a:ext cx="870752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53" name="出自【趣你的PPT】(微信:qunideppt)：最优质的PPT资源库"/>
          <p:cNvSpPr txBox="1"/>
          <p:nvPr/>
        </p:nvSpPr>
        <p:spPr bwMode="auto">
          <a:xfrm>
            <a:off x="1032064" y="3190345"/>
            <a:ext cx="877164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54" name="出自【趣你的PPT】(微信:qunideppt)：最优质的PPT资源库"/>
          <p:cNvSpPr txBox="1"/>
          <p:nvPr/>
        </p:nvSpPr>
        <p:spPr bwMode="auto">
          <a:xfrm>
            <a:off x="2086291" y="5001511"/>
            <a:ext cx="530915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标题</a:t>
            </a:r>
          </a:p>
        </p:txBody>
      </p:sp>
      <p:sp>
        <p:nvSpPr>
          <p:cNvPr id="55" name="出自【趣你的PPT】(微信:qunideppt)：最优质的PPT资源库"/>
          <p:cNvSpPr txBox="1"/>
          <p:nvPr/>
        </p:nvSpPr>
        <p:spPr bwMode="auto">
          <a:xfrm>
            <a:off x="2843563" y="5001511"/>
            <a:ext cx="530915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标题</a:t>
            </a:r>
          </a:p>
        </p:txBody>
      </p:sp>
      <p:sp>
        <p:nvSpPr>
          <p:cNvPr id="56" name="出自【趣你的PPT】(微信:qunideppt)：最优质的PPT资源库"/>
          <p:cNvSpPr txBox="1"/>
          <p:nvPr/>
        </p:nvSpPr>
        <p:spPr bwMode="auto">
          <a:xfrm>
            <a:off x="3576165" y="5001511"/>
            <a:ext cx="530915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标题</a:t>
            </a:r>
          </a:p>
        </p:txBody>
      </p:sp>
      <p:sp>
        <p:nvSpPr>
          <p:cNvPr id="57" name="出自【趣你的PPT】(微信:qunideppt)：最优质的PPT资源库"/>
          <p:cNvSpPr txBox="1"/>
          <p:nvPr/>
        </p:nvSpPr>
        <p:spPr bwMode="auto">
          <a:xfrm>
            <a:off x="4317540" y="5001511"/>
            <a:ext cx="530915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标题</a:t>
            </a:r>
          </a:p>
        </p:txBody>
      </p:sp>
      <p:sp>
        <p:nvSpPr>
          <p:cNvPr id="58" name="出自【趣你的PPT】(微信:qunideppt)：最优质的PPT资源库"/>
          <p:cNvSpPr txBox="1"/>
          <p:nvPr/>
        </p:nvSpPr>
        <p:spPr bwMode="auto">
          <a:xfrm>
            <a:off x="5064399" y="5001511"/>
            <a:ext cx="530915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标题</a:t>
            </a:r>
          </a:p>
        </p:txBody>
      </p:sp>
      <p:sp>
        <p:nvSpPr>
          <p:cNvPr id="59" name="出自【趣你的PPT】(微信:qunideppt)：最优质的PPT资源库"/>
          <p:cNvSpPr txBox="1"/>
          <p:nvPr/>
        </p:nvSpPr>
        <p:spPr bwMode="auto">
          <a:xfrm>
            <a:off x="5801390" y="5001511"/>
            <a:ext cx="530915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050" spc="3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标题</a:t>
            </a:r>
          </a:p>
        </p:txBody>
      </p:sp>
      <p:grpSp>
        <p:nvGrpSpPr>
          <p:cNvPr id="60" name="Group 59出自【趣你的PPT】(微信:qunideppt)：最优质的PPT资源库"/>
          <p:cNvGrpSpPr/>
          <p:nvPr/>
        </p:nvGrpSpPr>
        <p:grpSpPr>
          <a:xfrm>
            <a:off x="1885667" y="3241257"/>
            <a:ext cx="89649" cy="1603577"/>
            <a:chOff x="1808394" y="3820044"/>
            <a:chExt cx="89649" cy="1603577"/>
          </a:xfrm>
        </p:grpSpPr>
        <p:cxnSp>
          <p:nvCxnSpPr>
            <p:cNvPr id="61" name="出自【趣你的PPT】(微信:qunideppt)：最优质的PPT资源库"/>
            <p:cNvCxnSpPr/>
            <p:nvPr/>
          </p:nvCxnSpPr>
          <p:spPr>
            <a:xfrm>
              <a:off x="1898042" y="3820044"/>
              <a:ext cx="0" cy="159250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出自【趣你的PPT】(微信:qunideppt)：最优质的PPT资源库"/>
            <p:cNvCxnSpPr/>
            <p:nvPr/>
          </p:nvCxnSpPr>
          <p:spPr>
            <a:xfrm flipH="1">
              <a:off x="1808394" y="3906658"/>
              <a:ext cx="89649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出自【趣你的PPT】(微信:qunideppt)：最优质的PPT资源库"/>
            <p:cNvCxnSpPr/>
            <p:nvPr/>
          </p:nvCxnSpPr>
          <p:spPr>
            <a:xfrm flipH="1">
              <a:off x="1808394" y="4210050"/>
              <a:ext cx="89649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出自【趣你的PPT】(微信:qunideppt)：最优质的PPT资源库"/>
            <p:cNvCxnSpPr/>
            <p:nvPr/>
          </p:nvCxnSpPr>
          <p:spPr>
            <a:xfrm flipH="1">
              <a:off x="1808394" y="4513442"/>
              <a:ext cx="89649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出自【趣你的PPT】(微信:qunideppt)：最优质的PPT资源库"/>
            <p:cNvCxnSpPr/>
            <p:nvPr/>
          </p:nvCxnSpPr>
          <p:spPr>
            <a:xfrm flipH="1">
              <a:off x="1808394" y="4816834"/>
              <a:ext cx="89649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出自【趣你的PPT】(微信:qunideppt)：最优质的PPT资源库"/>
            <p:cNvCxnSpPr/>
            <p:nvPr/>
          </p:nvCxnSpPr>
          <p:spPr>
            <a:xfrm flipH="1">
              <a:off x="1808394" y="5120226"/>
              <a:ext cx="89649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出自【趣你的PPT】(微信:qunideppt)：最优质的PPT资源库"/>
            <p:cNvCxnSpPr/>
            <p:nvPr/>
          </p:nvCxnSpPr>
          <p:spPr>
            <a:xfrm flipH="1">
              <a:off x="1808394" y="5423621"/>
              <a:ext cx="89649" cy="0"/>
            </a:xfrm>
            <a:prstGeom prst="line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出自【趣你的PPT】(微信:qunideppt)：最优质的PPT资源库"/>
          <p:cNvGrpSpPr/>
          <p:nvPr/>
        </p:nvGrpSpPr>
        <p:grpSpPr>
          <a:xfrm>
            <a:off x="10098854" y="4044483"/>
            <a:ext cx="929798" cy="1095235"/>
            <a:chOff x="10021581" y="4519743"/>
            <a:chExt cx="929798" cy="1095235"/>
          </a:xfrm>
        </p:grpSpPr>
        <p:sp>
          <p:nvSpPr>
            <p:cNvPr id="69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10021581" y="4551108"/>
              <a:ext cx="929798" cy="1063870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0" name="出自【趣你的PPT】(微信:qunideppt)：最优质的PPT资源库"/>
            <p:cNvSpPr txBox="1"/>
            <p:nvPr/>
          </p:nvSpPr>
          <p:spPr>
            <a:xfrm>
              <a:off x="10162444" y="4519743"/>
              <a:ext cx="64807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dirty="0">
                  <a:solidFill>
                    <a:schemeClr val="bg1"/>
                  </a:solidFill>
                </a:rPr>
                <a:t>189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622188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4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0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3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9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2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8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7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8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49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51" dur="2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52" dur="2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54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56" dur="2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57" dur="2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8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59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61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62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4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66" dur="2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67" dur="2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69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71" dur="2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72" dur="2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74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76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77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8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79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81" dur="2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82" dur="2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84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86" dur="2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87" dur="2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8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89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91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92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94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96" dur="2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97" dur="2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8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99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101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102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3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04" presetID="2" presetClass="entr" presetSubtype="4" fill="hold" grpId="0" nodeType="afterEffect" p14:presetBounceEnd="9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96000">
                                          <p:cBhvr additive="base">
                                            <p:cTn id="106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96000">
                                          <p:cBhvr additive="base">
                                            <p:cTn id="107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8" fill="hold">
                                <p:stCondLst>
                                  <p:cond delay="4250"/>
                                </p:stCondLst>
                                <p:childTnLst>
                                  <p:par>
                                    <p:cTn id="109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1" dur="2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10" presetClass="entr" presetSubtype="0" repeatCount="200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4" dur="25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5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116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8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9" presetID="10" presetClass="entr" presetSubtype="0" repeatCount="200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1" dur="25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2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123" presetID="23" presetClass="entr" presetSubtype="3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5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6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9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1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2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5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7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8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9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0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1" fill="hold">
                                <p:stCondLst>
                                  <p:cond delay="6250"/>
                                </p:stCondLst>
                                <p:childTnLst>
                                  <p:par>
                                    <p:cTn id="142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4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5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47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8" presetID="2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0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1" presetID="22" presetClass="entr" presetSubtype="4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3" dur="5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4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155" presetID="56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1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157" dur="125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158" dur="125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159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160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9" grpId="0" animBg="1"/>
          <p:bldP spid="20" grpId="0" animBg="1"/>
          <p:bldP spid="21" grpId="0" animBg="1"/>
          <p:bldP spid="22" grpId="0" animBg="1"/>
          <p:bldP spid="23" grpId="0"/>
          <p:bldP spid="29" grpId="0"/>
          <p:bldP spid="30" grpId="0"/>
          <p:bldP spid="48" grpId="0"/>
          <p:bldP spid="49" grpId="0"/>
          <p:bldP spid="50" grpId="0"/>
          <p:bldP spid="51" grpId="0"/>
          <p:bldP spid="52" grpId="0"/>
          <p:bldP spid="53" grpId="0"/>
          <p:bldP spid="54" grpId="0"/>
          <p:bldP spid="55" grpId="0"/>
          <p:bldP spid="56" grpId="0"/>
          <p:bldP spid="57" grpId="0"/>
          <p:bldP spid="58" grpId="0"/>
          <p:bldP spid="5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4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0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3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6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9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2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5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38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5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7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8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49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2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2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54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6" dur="2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7" dur="2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8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59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1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2" dur="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4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6" dur="2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7" dur="2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69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1" dur="2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2" dur="2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74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6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7" dur="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8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79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1" dur="2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2" dur="25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84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6" dur="2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7" dur="25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8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89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1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2" dur="2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94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6" dur="2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7" dur="2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8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99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1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2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3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04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6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7" dur="2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8" fill="hold">
                                <p:stCondLst>
                                  <p:cond delay="4250"/>
                                </p:stCondLst>
                                <p:childTnLst>
                                  <p:par>
                                    <p:cTn id="109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1" dur="2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10" presetClass="entr" presetSubtype="0" repeatCount="200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4" dur="25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5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116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8" dur="2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9" presetID="10" presetClass="entr" presetSubtype="0" repeatCount="200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1" dur="25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2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123" presetID="23" presetClass="entr" presetSubtype="3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5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6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9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1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2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5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7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8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9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0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1" fill="hold">
                                <p:stCondLst>
                                  <p:cond delay="6250"/>
                                </p:stCondLst>
                                <p:childTnLst>
                                  <p:par>
                                    <p:cTn id="142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4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5" presetID="2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47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8" presetID="2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0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1" presetID="22" presetClass="entr" presetSubtype="4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3" dur="5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4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155" presetID="56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1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157" dur="125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158" dur="125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159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160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9" grpId="0" animBg="1"/>
          <p:bldP spid="20" grpId="0" animBg="1"/>
          <p:bldP spid="21" grpId="0" animBg="1"/>
          <p:bldP spid="22" grpId="0" animBg="1"/>
          <p:bldP spid="23" grpId="0"/>
          <p:bldP spid="29" grpId="0"/>
          <p:bldP spid="30" grpId="0"/>
          <p:bldP spid="48" grpId="0"/>
          <p:bldP spid="49" grpId="0"/>
          <p:bldP spid="50" grpId="0"/>
          <p:bldP spid="51" grpId="0"/>
          <p:bldP spid="52" grpId="0"/>
          <p:bldP spid="53" grpId="0"/>
          <p:bldP spid="54" grpId="0"/>
          <p:bldP spid="55" grpId="0"/>
          <p:bldP spid="56" grpId="0"/>
          <p:bldP spid="57" grpId="0"/>
          <p:bldP spid="58" grpId="0"/>
          <p:bldP spid="59" grpId="0"/>
        </p:bldLst>
      </p:timing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6582530" y="1429615"/>
            <a:ext cx="3422765" cy="3358211"/>
          </a:xfrm>
          <a:prstGeom prst="ellipse">
            <a:avLst/>
          </a:prstGeom>
          <a:noFill/>
          <a:ln w="12700">
            <a:solidFill>
              <a:sysClr val="window" lastClr="FFFFFF">
                <a:lumMod val="50000"/>
              </a:sysClr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CC">
                        <a:gamma/>
                        <a:shade val="60784"/>
                        <a:invGamma/>
                      </a:srgbClr>
                    </a:gs>
                    <a:gs pos="100000">
                      <a:srgbClr val="FFFFCC">
                        <a:alpha val="0"/>
                      </a:srgbClr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zh-CN" altLang="en-US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6770699" y="1608170"/>
            <a:ext cx="3020330" cy="3020329"/>
          </a:xfrm>
          <a:prstGeom prst="ellipse">
            <a:avLst/>
          </a:prstGeom>
          <a:noFill/>
          <a:ln w="12700">
            <a:solidFill>
              <a:sysClr val="window" lastClr="FFFFFF">
                <a:lumMod val="50000"/>
              </a:sysClr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CC">
                        <a:gamma/>
                        <a:shade val="60784"/>
                        <a:invGamma/>
                      </a:srgbClr>
                    </a:gs>
                    <a:gs pos="100000">
                      <a:srgbClr val="FFFFCC">
                        <a:alpha val="0"/>
                      </a:srgbClr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zh-CN" altLang="en-US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6957495" y="1891112"/>
            <a:ext cx="2572568" cy="2572568"/>
          </a:xfrm>
          <a:prstGeom prst="ellipse">
            <a:avLst/>
          </a:prstGeom>
          <a:noFill/>
          <a:ln w="12700">
            <a:solidFill>
              <a:sysClr val="window" lastClr="FFFFFF">
                <a:lumMod val="50000"/>
              </a:sysClr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CC">
                        <a:gamma/>
                        <a:shade val="60784"/>
                        <a:invGamma/>
                      </a:srgbClr>
                    </a:gs>
                    <a:gs pos="100000">
                      <a:srgbClr val="FFFFCC">
                        <a:alpha val="0"/>
                      </a:srgbClr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zh-CN" altLang="en-US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出自【趣你的PPT】(微信:qunideppt)：最优质的PPT资源库"/>
          <p:cNvSpPr txBox="1">
            <a:spLocks noChangeArrowheads="1"/>
          </p:cNvSpPr>
          <p:nvPr/>
        </p:nvSpPr>
        <p:spPr bwMode="gray">
          <a:xfrm>
            <a:off x="7407971" y="2835231"/>
            <a:ext cx="160562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zh-CN" altLang="en-US" sz="2400" b="1" dirty="0">
                <a:latin typeface="微软雅黑" pitchFamily="34" charset="-122"/>
                <a:ea typeface="微软雅黑" pitchFamily="34" charset="-122"/>
              </a:rPr>
              <a:t>添加</a:t>
            </a:r>
            <a:endParaRPr lang="en-US" altLang="zh-CN" sz="2400" b="1" dirty="0">
              <a:latin typeface="微软雅黑" pitchFamily="34" charset="-122"/>
              <a:ea typeface="微软雅黑" pitchFamily="34" charset="-122"/>
            </a:endParaRPr>
          </a:p>
          <a:p>
            <a:pPr algn="ctr" eaLnBrk="0" hangingPunct="0">
              <a:defRPr/>
            </a:pPr>
            <a:r>
              <a:rPr lang="zh-CN" altLang="en-US" sz="2400" b="1" dirty="0">
                <a:latin typeface="微软雅黑" pitchFamily="34" charset="-122"/>
                <a:ea typeface="微软雅黑" pitchFamily="34" charset="-122"/>
              </a:rPr>
              <a:t>文字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1" name="Group 10出自【趣你的PPT】(微信:qunideppt)：最优质的PPT资源库"/>
          <p:cNvGrpSpPr/>
          <p:nvPr/>
        </p:nvGrpSpPr>
        <p:grpSpPr>
          <a:xfrm>
            <a:off x="7414871" y="1109589"/>
            <a:ext cx="1605623" cy="1619359"/>
            <a:chOff x="7516705" y="1213023"/>
            <a:chExt cx="1605623" cy="1619359"/>
          </a:xfrm>
          <a:solidFill>
            <a:srgbClr val="C00000"/>
          </a:solidFill>
        </p:grpSpPr>
        <p:sp>
          <p:nvSpPr>
            <p:cNvPr id="12" name="出自【趣你的PPT】(微信:qunideppt)：最优质的PPT资源库"/>
            <p:cNvSpPr>
              <a:spLocks noChangeArrowheads="1"/>
            </p:cNvSpPr>
            <p:nvPr/>
          </p:nvSpPr>
          <p:spPr bwMode="gray">
            <a:xfrm rot="16200000">
              <a:off x="7509837" y="1219891"/>
              <a:ext cx="1619359" cy="1605623"/>
            </a:xfrm>
            <a:prstGeom prst="chevron">
              <a:avLst>
                <a:gd name="adj" fmla="val 28655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noFill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defRPr/>
              </a:pPr>
              <a:endParaRPr lang="zh-CN" altLang="en-US" b="1" dirty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出自【趣你的PPT】(微信:qunideppt)：最优质的PPT资源库"/>
            <p:cNvSpPr>
              <a:spLocks noChangeArrowheads="1"/>
            </p:cNvSpPr>
            <p:nvPr/>
          </p:nvSpPr>
          <p:spPr bwMode="gray">
            <a:xfrm>
              <a:off x="7935692" y="1861978"/>
              <a:ext cx="699577" cy="307777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defRPr/>
              </a:pPr>
              <a:r>
                <a:rPr lang="en-US" altLang="zh-CN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  </a:t>
              </a:r>
              <a:r>
                <a:rPr lang="zh-CN" altLang="en-US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  <a:r>
                <a:rPr lang="en-US" altLang="zh-CN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   </a:t>
              </a:r>
            </a:p>
          </p:txBody>
        </p:sp>
      </p:grpSp>
      <p:grpSp>
        <p:nvGrpSpPr>
          <p:cNvPr id="14" name="Group 13出自【趣你的PPT】(微信:qunideppt)：最优质的PPT资源库"/>
          <p:cNvGrpSpPr/>
          <p:nvPr/>
        </p:nvGrpSpPr>
        <p:grpSpPr>
          <a:xfrm>
            <a:off x="6302335" y="3014636"/>
            <a:ext cx="1619358" cy="1605623"/>
            <a:chOff x="6404169" y="3118070"/>
            <a:chExt cx="1619358" cy="1605623"/>
          </a:xfrm>
          <a:solidFill>
            <a:srgbClr val="C00000"/>
          </a:solidFill>
        </p:grpSpPr>
        <p:sp>
          <p:nvSpPr>
            <p:cNvPr id="16" name="出自【趣你的PPT】(微信:qunideppt)：最优质的PPT资源库"/>
            <p:cNvSpPr>
              <a:spLocks noChangeArrowheads="1"/>
            </p:cNvSpPr>
            <p:nvPr/>
          </p:nvSpPr>
          <p:spPr bwMode="gray">
            <a:xfrm rot="9044363">
              <a:off x="6404169" y="3118070"/>
              <a:ext cx="1619358" cy="1605623"/>
            </a:xfrm>
            <a:prstGeom prst="chevron">
              <a:avLst>
                <a:gd name="adj" fmla="val 28655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noFill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defRPr/>
              </a:pPr>
              <a:endParaRPr lang="zh-CN" altLang="en-US" b="1" dirty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出自【趣你的PPT】(微信:qunideppt)：最优质的PPT资源库"/>
            <p:cNvSpPr>
              <a:spLocks noChangeArrowheads="1"/>
            </p:cNvSpPr>
            <p:nvPr/>
          </p:nvSpPr>
          <p:spPr bwMode="gray">
            <a:xfrm>
              <a:off x="6576392" y="3873624"/>
              <a:ext cx="1004030" cy="2662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defRPr/>
              </a:pPr>
              <a:r>
                <a:rPr lang="en-US" altLang="zh-CN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  </a:t>
              </a:r>
              <a:r>
                <a:rPr lang="zh-CN" altLang="en-US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  <a:endParaRPr lang="en-US" altLang="zh-CN" sz="14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" name="Group 17出自【趣你的PPT】(微信:qunideppt)：最优质的PPT资源库"/>
          <p:cNvGrpSpPr/>
          <p:nvPr/>
        </p:nvGrpSpPr>
        <p:grpSpPr>
          <a:xfrm>
            <a:off x="8505431" y="3025624"/>
            <a:ext cx="1619358" cy="1605623"/>
            <a:chOff x="8607265" y="3129058"/>
            <a:chExt cx="1619358" cy="1605623"/>
          </a:xfrm>
          <a:solidFill>
            <a:srgbClr val="C00000"/>
          </a:solidFill>
        </p:grpSpPr>
        <p:sp>
          <p:nvSpPr>
            <p:cNvPr id="19" name="出自【趣你的PPT】(微信:qunideppt)：最优质的PPT资源库"/>
            <p:cNvSpPr>
              <a:spLocks noChangeArrowheads="1"/>
            </p:cNvSpPr>
            <p:nvPr/>
          </p:nvSpPr>
          <p:spPr bwMode="gray">
            <a:xfrm rot="1788254">
              <a:off x="8607265" y="3129058"/>
              <a:ext cx="1619358" cy="1605623"/>
            </a:xfrm>
            <a:prstGeom prst="chevron">
              <a:avLst>
                <a:gd name="adj" fmla="val 28655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noFill/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defRPr/>
              </a:pPr>
              <a:endParaRPr lang="zh-CN" altLang="en-US" b="1" dirty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出自【趣你的PPT】(微信:qunideppt)：最优质的PPT资源库"/>
            <p:cNvSpPr>
              <a:spLocks noChangeArrowheads="1"/>
            </p:cNvSpPr>
            <p:nvPr/>
          </p:nvSpPr>
          <p:spPr bwMode="gray">
            <a:xfrm>
              <a:off x="9083053" y="3844287"/>
              <a:ext cx="1004030" cy="2662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defRPr/>
              </a:pPr>
              <a:r>
                <a:rPr lang="en-US" altLang="zh-CN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  </a:t>
              </a:r>
              <a:r>
                <a:rPr lang="zh-CN" altLang="en-US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  <a:r>
                <a:rPr lang="en-US" altLang="zh-CN" sz="1400" b="1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</a:p>
          </p:txBody>
        </p:sp>
      </p:grpSp>
      <p:sp>
        <p:nvSpPr>
          <p:cNvPr id="21" name="出自【趣你的PPT】(微信:qunideppt)：最优质的PPT资源库"/>
          <p:cNvSpPr txBox="1"/>
          <p:nvPr/>
        </p:nvSpPr>
        <p:spPr bwMode="auto">
          <a:xfrm>
            <a:off x="7372741" y="5064399"/>
            <a:ext cx="1742076" cy="1015663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该原创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。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一不小心，就学会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，快来加入我们。</a:t>
            </a:r>
            <a:endParaRPr lang="zh-CN" altLang="en-US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7112014" y="4823604"/>
            <a:ext cx="229022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zh-CN" sz="1600" b="1" dirty="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单击此处添加标题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`</a:t>
            </a:r>
            <a:endParaRPr lang="zh-CN" altLang="zh-CN" sz="1600" b="1" dirty="0"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</p:txBody>
      </p:sp>
      <p:sp>
        <p:nvSpPr>
          <p:cNvPr id="23" name="出自【趣你的PPT】(微信:qunideppt)：最优质的PPT资源库"/>
          <p:cNvSpPr txBox="1"/>
          <p:nvPr/>
        </p:nvSpPr>
        <p:spPr bwMode="auto">
          <a:xfrm>
            <a:off x="4986054" y="1914714"/>
            <a:ext cx="1573527" cy="1015663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该原创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。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一不小心，就学会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，快来加入我们。</a:t>
            </a:r>
            <a:endParaRPr lang="zh-CN" altLang="en-US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5052837" y="1632762"/>
            <a:ext cx="18216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zh-CN" sz="1600" b="1" dirty="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单击此处添加标题</a:t>
            </a:r>
          </a:p>
        </p:txBody>
      </p:sp>
      <p:sp>
        <p:nvSpPr>
          <p:cNvPr id="25" name="出自【趣你的PPT】(微信:qunideppt)：最优质的PPT资源库"/>
          <p:cNvSpPr txBox="1"/>
          <p:nvPr/>
        </p:nvSpPr>
        <p:spPr bwMode="auto">
          <a:xfrm>
            <a:off x="9714569" y="1832326"/>
            <a:ext cx="1757973" cy="1015663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该原创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。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一不小心，就学会</a:t>
            </a:r>
            <a:r>
              <a:rPr lang="en-US" altLang="zh-CN" sz="10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000">
                <a:latin typeface="微软雅黑" pitchFamily="34" charset="-122"/>
                <a:ea typeface="微软雅黑" pitchFamily="34" charset="-122"/>
              </a:rPr>
              <a:t>，快来加入我们。</a:t>
            </a:r>
            <a:endParaRPr lang="zh-CN" altLang="en-US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9524378" y="1576155"/>
            <a:ext cx="1821648" cy="336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zh-CN" sz="1600" b="1" dirty="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单击此处添加标题</a:t>
            </a:r>
          </a:p>
        </p:txBody>
      </p:sp>
      <p:grpSp>
        <p:nvGrpSpPr>
          <p:cNvPr id="27" name="Group 26出自【趣你的PPT】(微信:qunideppt)：最优质的PPT资源库"/>
          <p:cNvGrpSpPr/>
          <p:nvPr/>
        </p:nvGrpSpPr>
        <p:grpSpPr>
          <a:xfrm>
            <a:off x="1296414" y="4254344"/>
            <a:ext cx="2242485" cy="1645481"/>
            <a:chOff x="1398248" y="4357778"/>
            <a:chExt cx="2242485" cy="1645481"/>
          </a:xfrm>
        </p:grpSpPr>
        <p:sp>
          <p:nvSpPr>
            <p:cNvPr id="28" name="出自【趣你的PPT】(微信:qunideppt)：最优质的PPT资源库"/>
            <p:cNvSpPr/>
            <p:nvPr/>
          </p:nvSpPr>
          <p:spPr>
            <a:xfrm>
              <a:off x="1398248" y="4357778"/>
              <a:ext cx="2242485" cy="164548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29" name="出自【趣你的PPT】(微信:qunideppt)：最优质的PPT资源库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039" y="4481146"/>
              <a:ext cx="2076965" cy="1384643"/>
            </a:xfrm>
            <a:prstGeom prst="rect">
              <a:avLst/>
            </a:prstGeom>
          </p:spPr>
        </p:pic>
      </p:grpSp>
      <p:grpSp>
        <p:nvGrpSpPr>
          <p:cNvPr id="30" name="Group 29出自【趣你的PPT】(微信:qunideppt)：最优质的PPT资源库"/>
          <p:cNvGrpSpPr/>
          <p:nvPr/>
        </p:nvGrpSpPr>
        <p:grpSpPr>
          <a:xfrm>
            <a:off x="2856687" y="2867300"/>
            <a:ext cx="1606202" cy="1305042"/>
            <a:chOff x="2958521" y="2970734"/>
            <a:chExt cx="1606202" cy="1305042"/>
          </a:xfrm>
        </p:grpSpPr>
        <p:sp>
          <p:nvSpPr>
            <p:cNvPr id="31" name="出自【趣你的PPT】(微信:qunideppt)：最优质的PPT资源库"/>
            <p:cNvSpPr/>
            <p:nvPr/>
          </p:nvSpPr>
          <p:spPr>
            <a:xfrm>
              <a:off x="2958521" y="2970734"/>
              <a:ext cx="1606202" cy="130504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出自【趣你的PPT】(微信:qunideppt)：最优质的PPT资源库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20535" y="3055938"/>
              <a:ext cx="1494297" cy="1144430"/>
            </a:xfrm>
            <a:prstGeom prst="rect">
              <a:avLst/>
            </a:prstGeom>
          </p:spPr>
        </p:pic>
      </p:grpSp>
      <p:grpSp>
        <p:nvGrpSpPr>
          <p:cNvPr id="33" name="Group 32出自【趣你的PPT】(微信:qunideppt)：最优质的PPT资源库"/>
          <p:cNvGrpSpPr/>
          <p:nvPr/>
        </p:nvGrpSpPr>
        <p:grpSpPr>
          <a:xfrm>
            <a:off x="1522676" y="1376505"/>
            <a:ext cx="1192966" cy="1585536"/>
            <a:chOff x="1624510" y="1479939"/>
            <a:chExt cx="1192966" cy="1585536"/>
          </a:xfrm>
        </p:grpSpPr>
        <p:sp>
          <p:nvSpPr>
            <p:cNvPr id="34" name="出自【趣你的PPT】(微信:qunideppt)：最优质的PPT资源库"/>
            <p:cNvSpPr/>
            <p:nvPr/>
          </p:nvSpPr>
          <p:spPr>
            <a:xfrm>
              <a:off x="1624510" y="1479939"/>
              <a:ext cx="1192966" cy="15855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35" name="出自【趣你的PPT】(微信:qunideppt)：最优质的PPT资源库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6071" y="1584975"/>
              <a:ext cx="916865" cy="1378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8861850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2" fill="hold" nodeType="afterEffect" p14:presetBounceEnd="5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000">
                                          <p:cBhvr additive="base">
                                            <p:cTn id="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000">
                                          <p:cBhvr additive="base">
                                            <p:cTn id="8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nodeType="withEffect" p14:presetBounceEnd="5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000">
                                          <p:cBhvr additive="base">
                                            <p:cTn id="1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000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6" fill="hold" nodeType="withEffect" p14:presetBounceEnd="5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000">
                                          <p:cBhvr additive="base">
                                            <p:cTn id="1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000">
                                          <p:cBhvr additive="base">
                                            <p:cTn id="1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8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0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2" presetID="56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44" dur="25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45" dur="250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46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47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8" presetID="56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50" dur="25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51" dur="250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52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53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54" presetID="56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56" dur="25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57" dur="250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58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59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0" fill="hold">
                                <p:stCondLst>
                                  <p:cond delay="3400"/>
                                </p:stCondLst>
                                <p:childTnLst>
                                  <p:par>
                                    <p:cTn id="61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6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7" dur="250" tmFilter="0,0; .5, 1; 1, 1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4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3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4" dur="250" tmFilter="0,0; .5, 1; 1, 1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5" presetID="4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7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8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0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1" dur="250" tmFilter="0,0; .5, 1; 1, 1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4625"/>
                                </p:stCondLst>
                                <p:childTnLst>
                                  <p:par>
                                    <p:cTn id="83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7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9" fill="hold">
                                <p:stCondLst>
                                  <p:cond delay="5125"/>
                                </p:stCondLst>
                                <p:childTnLst>
                                  <p:par>
                                    <p:cTn id="90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2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3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6" fill="hold">
                                <p:stCondLst>
                                  <p:cond delay="5625"/>
                                </p:stCondLst>
                                <p:childTnLst>
                                  <p:par>
                                    <p:cTn id="97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1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2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8" grpId="0" animBg="1"/>
          <p:bldP spid="9" grpId="0" animBg="1"/>
          <p:bldP spid="10" grpId="0"/>
          <p:bldP spid="21" grpId="0"/>
          <p:bldP spid="22" grpId="0"/>
          <p:bldP spid="23" grpId="0"/>
          <p:bldP spid="24" grpId="0"/>
          <p:bldP spid="25" grpId="0"/>
          <p:bldP spid="26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8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0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2" presetID="56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44" dur="25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45" dur="250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46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47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8" presetID="56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50" dur="25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51" dur="250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52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53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54" presetID="56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56" dur="25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57" dur="250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58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59" dur="5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0" fill="hold">
                                <p:stCondLst>
                                  <p:cond delay="3400"/>
                                </p:stCondLst>
                                <p:childTnLst>
                                  <p:par>
                                    <p:cTn id="61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6" dur="2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7" dur="250" tmFilter="0,0; .5, 1; 1, 1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4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3" dur="2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4" dur="250" tmFilter="0,0; .5, 1; 1, 1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5" presetID="4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7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8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0" dur="2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1" dur="250" tmFilter="0,0; .5, 1; 1, 1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4625"/>
                                </p:stCondLst>
                                <p:childTnLst>
                                  <p:par>
                                    <p:cTn id="83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7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9" fill="hold">
                                <p:stCondLst>
                                  <p:cond delay="5125"/>
                                </p:stCondLst>
                                <p:childTnLst>
                                  <p:par>
                                    <p:cTn id="90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2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3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6" fill="hold">
                                <p:stCondLst>
                                  <p:cond delay="5625"/>
                                </p:stCondLst>
                                <p:childTnLst>
                                  <p:par>
                                    <p:cTn id="97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1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2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 animBg="1"/>
          <p:bldP spid="8" grpId="0" animBg="1"/>
          <p:bldP spid="9" grpId="0" animBg="1"/>
          <p:bldP spid="10" grpId="0"/>
          <p:bldP spid="21" grpId="0"/>
          <p:bldP spid="22" grpId="0"/>
          <p:bldP spid="23" grpId="0"/>
          <p:bldP spid="24" grpId="0"/>
          <p:bldP spid="25" grpId="0"/>
          <p:bldP spid="26" grpId="0"/>
        </p:bld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64" name="Group 63出自【趣你的PPT】(微信:qunideppt)：最优质的PPT资源库"/>
          <p:cNvGrpSpPr/>
          <p:nvPr/>
        </p:nvGrpSpPr>
        <p:grpSpPr>
          <a:xfrm>
            <a:off x="1182492" y="3296401"/>
            <a:ext cx="1234813" cy="650927"/>
            <a:chOff x="1336543" y="3463329"/>
            <a:chExt cx="1234813" cy="650927"/>
          </a:xfrm>
        </p:grpSpPr>
        <p:sp>
          <p:nvSpPr>
            <p:cNvPr id="65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1498733" y="3878538"/>
              <a:ext cx="233555" cy="235718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/>
            </a:p>
          </p:txBody>
        </p:sp>
        <p:sp>
          <p:nvSpPr>
            <p:cNvPr id="6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336543" y="3463329"/>
              <a:ext cx="1234813" cy="531986"/>
            </a:xfrm>
            <a:custGeom>
              <a:avLst/>
              <a:gdLst>
                <a:gd name="T0" fmla="*/ 130 w 137"/>
                <a:gd name="T1" fmla="*/ 32 h 59"/>
                <a:gd name="T2" fmla="*/ 115 w 137"/>
                <a:gd name="T3" fmla="*/ 26 h 59"/>
                <a:gd name="T4" fmla="*/ 105 w 137"/>
                <a:gd name="T5" fmla="*/ 17 h 59"/>
                <a:gd name="T6" fmla="*/ 101 w 137"/>
                <a:gd name="T7" fmla="*/ 7 h 59"/>
                <a:gd name="T8" fmla="*/ 91 w 137"/>
                <a:gd name="T9" fmla="*/ 0 h 59"/>
                <a:gd name="T10" fmla="*/ 43 w 137"/>
                <a:gd name="T11" fmla="*/ 0 h 59"/>
                <a:gd name="T12" fmla="*/ 31 w 137"/>
                <a:gd name="T13" fmla="*/ 5 h 59"/>
                <a:gd name="T14" fmla="*/ 5 w 137"/>
                <a:gd name="T15" fmla="*/ 32 h 59"/>
                <a:gd name="T16" fmla="*/ 0 w 137"/>
                <a:gd name="T17" fmla="*/ 45 h 59"/>
                <a:gd name="T18" fmla="*/ 0 w 137"/>
                <a:gd name="T19" fmla="*/ 52 h 59"/>
                <a:gd name="T20" fmla="*/ 7 w 137"/>
                <a:gd name="T21" fmla="*/ 59 h 59"/>
                <a:gd name="T22" fmla="*/ 14 w 137"/>
                <a:gd name="T23" fmla="*/ 59 h 59"/>
                <a:gd name="T24" fmla="*/ 31 w 137"/>
                <a:gd name="T25" fmla="*/ 42 h 59"/>
                <a:gd name="T26" fmla="*/ 49 w 137"/>
                <a:gd name="T27" fmla="*/ 59 h 59"/>
                <a:gd name="T28" fmla="*/ 84 w 137"/>
                <a:gd name="T29" fmla="*/ 59 h 59"/>
                <a:gd name="T30" fmla="*/ 101 w 137"/>
                <a:gd name="T31" fmla="*/ 42 h 59"/>
                <a:gd name="T32" fmla="*/ 118 w 137"/>
                <a:gd name="T33" fmla="*/ 59 h 59"/>
                <a:gd name="T34" fmla="*/ 130 w 137"/>
                <a:gd name="T35" fmla="*/ 59 h 59"/>
                <a:gd name="T36" fmla="*/ 137 w 137"/>
                <a:gd name="T37" fmla="*/ 52 h 59"/>
                <a:gd name="T38" fmla="*/ 137 w 137"/>
                <a:gd name="T39" fmla="*/ 42 h 59"/>
                <a:gd name="T40" fmla="*/ 130 w 137"/>
                <a:gd name="T41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59">
                  <a:moveTo>
                    <a:pt x="130" y="32"/>
                  </a:moveTo>
                  <a:cubicBezTo>
                    <a:pt x="115" y="26"/>
                    <a:pt x="115" y="26"/>
                    <a:pt x="115" y="26"/>
                  </a:cubicBezTo>
                  <a:cubicBezTo>
                    <a:pt x="111" y="25"/>
                    <a:pt x="107" y="21"/>
                    <a:pt x="105" y="17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99" y="3"/>
                    <a:pt x="95" y="0"/>
                    <a:pt x="9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9" y="0"/>
                    <a:pt x="34" y="2"/>
                    <a:pt x="31" y="5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" y="35"/>
                    <a:pt x="0" y="41"/>
                    <a:pt x="0" y="4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6"/>
                    <a:pt x="3" y="59"/>
                    <a:pt x="7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49"/>
                    <a:pt x="22" y="42"/>
                    <a:pt x="31" y="42"/>
                  </a:cubicBezTo>
                  <a:cubicBezTo>
                    <a:pt x="41" y="42"/>
                    <a:pt x="49" y="49"/>
                    <a:pt x="49" y="5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49"/>
                    <a:pt x="91" y="42"/>
                    <a:pt x="101" y="42"/>
                  </a:cubicBezTo>
                  <a:cubicBezTo>
                    <a:pt x="111" y="42"/>
                    <a:pt x="118" y="49"/>
                    <a:pt x="118" y="59"/>
                  </a:cubicBezTo>
                  <a:cubicBezTo>
                    <a:pt x="130" y="59"/>
                    <a:pt x="130" y="59"/>
                    <a:pt x="130" y="59"/>
                  </a:cubicBezTo>
                  <a:cubicBezTo>
                    <a:pt x="134" y="59"/>
                    <a:pt x="137" y="56"/>
                    <a:pt x="137" y="5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38"/>
                    <a:pt x="134" y="34"/>
                    <a:pt x="130" y="32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/>
            </a:p>
          </p:txBody>
        </p:sp>
        <p:sp>
          <p:nvSpPr>
            <p:cNvPr id="67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2130196" y="3878538"/>
              <a:ext cx="233555" cy="235718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/>
            </a:p>
          </p:txBody>
        </p:sp>
      </p:grpSp>
      <p:sp>
        <p:nvSpPr>
          <p:cNvPr id="68" name="出自【趣你的PPT】(微信:qunideppt)：最优质的PPT资源库"/>
          <p:cNvSpPr>
            <a:spLocks/>
          </p:cNvSpPr>
          <p:nvPr/>
        </p:nvSpPr>
        <p:spPr bwMode="auto">
          <a:xfrm rot="20415013">
            <a:off x="1190060" y="1651156"/>
            <a:ext cx="1219675" cy="1055322"/>
          </a:xfrm>
          <a:custGeom>
            <a:avLst/>
            <a:gdLst>
              <a:gd name="T0" fmla="*/ 98 w 135"/>
              <a:gd name="T1" fmla="*/ 43 h 117"/>
              <a:gd name="T2" fmla="*/ 130 w 135"/>
              <a:gd name="T3" fmla="*/ 14 h 117"/>
              <a:gd name="T4" fmla="*/ 88 w 135"/>
              <a:gd name="T5" fmla="*/ 25 h 117"/>
              <a:gd name="T6" fmla="*/ 25 w 135"/>
              <a:gd name="T7" fmla="*/ 0 h 117"/>
              <a:gd name="T8" fmla="*/ 12 w 135"/>
              <a:gd name="T9" fmla="*/ 4 h 117"/>
              <a:gd name="T10" fmla="*/ 66 w 135"/>
              <a:gd name="T11" fmla="*/ 37 h 117"/>
              <a:gd name="T12" fmla="*/ 27 w 135"/>
              <a:gd name="T13" fmla="*/ 63 h 117"/>
              <a:gd name="T14" fmla="*/ 5 w 135"/>
              <a:gd name="T15" fmla="*/ 58 h 117"/>
              <a:gd name="T16" fmla="*/ 0 w 135"/>
              <a:gd name="T17" fmla="*/ 60 h 117"/>
              <a:gd name="T18" fmla="*/ 14 w 135"/>
              <a:gd name="T19" fmla="*/ 76 h 117"/>
              <a:gd name="T20" fmla="*/ 20 w 135"/>
              <a:gd name="T21" fmla="*/ 98 h 117"/>
              <a:gd name="T22" fmla="*/ 25 w 135"/>
              <a:gd name="T23" fmla="*/ 95 h 117"/>
              <a:gd name="T24" fmla="*/ 32 w 135"/>
              <a:gd name="T25" fmla="*/ 72 h 117"/>
              <a:gd name="T26" fmla="*/ 76 w 135"/>
              <a:gd name="T27" fmla="*/ 55 h 117"/>
              <a:gd name="T28" fmla="*/ 76 w 135"/>
              <a:gd name="T29" fmla="*/ 117 h 117"/>
              <a:gd name="T30" fmla="*/ 84 w 135"/>
              <a:gd name="T31" fmla="*/ 110 h 117"/>
              <a:gd name="T32" fmla="*/ 98 w 135"/>
              <a:gd name="T33" fmla="*/ 43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5" h="117">
                <a:moveTo>
                  <a:pt x="98" y="43"/>
                </a:moveTo>
                <a:cubicBezTo>
                  <a:pt x="98" y="43"/>
                  <a:pt x="135" y="25"/>
                  <a:pt x="130" y="14"/>
                </a:cubicBezTo>
                <a:cubicBezTo>
                  <a:pt x="124" y="4"/>
                  <a:pt x="88" y="25"/>
                  <a:pt x="88" y="25"/>
                </a:cubicBezTo>
                <a:cubicBezTo>
                  <a:pt x="25" y="0"/>
                  <a:pt x="25" y="0"/>
                  <a:pt x="25" y="0"/>
                </a:cubicBezTo>
                <a:cubicBezTo>
                  <a:pt x="12" y="4"/>
                  <a:pt x="12" y="4"/>
                  <a:pt x="12" y="4"/>
                </a:cubicBezTo>
                <a:cubicBezTo>
                  <a:pt x="66" y="37"/>
                  <a:pt x="66" y="37"/>
                  <a:pt x="66" y="37"/>
                </a:cubicBezTo>
                <a:cubicBezTo>
                  <a:pt x="27" y="63"/>
                  <a:pt x="27" y="63"/>
                  <a:pt x="27" y="63"/>
                </a:cubicBezTo>
                <a:cubicBezTo>
                  <a:pt x="5" y="58"/>
                  <a:pt x="5" y="58"/>
                  <a:pt x="5" y="58"/>
                </a:cubicBezTo>
                <a:cubicBezTo>
                  <a:pt x="0" y="60"/>
                  <a:pt x="0" y="60"/>
                  <a:pt x="0" y="60"/>
                </a:cubicBezTo>
                <a:cubicBezTo>
                  <a:pt x="14" y="76"/>
                  <a:pt x="14" y="76"/>
                  <a:pt x="14" y="76"/>
                </a:cubicBezTo>
                <a:cubicBezTo>
                  <a:pt x="20" y="98"/>
                  <a:pt x="20" y="98"/>
                  <a:pt x="20" y="98"/>
                </a:cubicBezTo>
                <a:cubicBezTo>
                  <a:pt x="25" y="95"/>
                  <a:pt x="25" y="95"/>
                  <a:pt x="25" y="95"/>
                </a:cubicBezTo>
                <a:cubicBezTo>
                  <a:pt x="32" y="72"/>
                  <a:pt x="32" y="72"/>
                  <a:pt x="32" y="7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117"/>
                  <a:pt x="76" y="117"/>
                  <a:pt x="76" y="117"/>
                </a:cubicBezTo>
                <a:cubicBezTo>
                  <a:pt x="84" y="110"/>
                  <a:pt x="84" y="110"/>
                  <a:pt x="84" y="110"/>
                </a:cubicBezTo>
                <a:lnTo>
                  <a:pt x="98" y="43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1600"/>
          </a:p>
        </p:txBody>
      </p:sp>
      <p:grpSp>
        <p:nvGrpSpPr>
          <p:cNvPr id="69" name="Group 68出自【趣你的PPT】(微信:qunideppt)：最优质的PPT资源库"/>
          <p:cNvGrpSpPr/>
          <p:nvPr/>
        </p:nvGrpSpPr>
        <p:grpSpPr>
          <a:xfrm>
            <a:off x="1336032" y="4684755"/>
            <a:ext cx="992608" cy="964495"/>
            <a:chOff x="1490083" y="4851683"/>
            <a:chExt cx="992608" cy="964495"/>
          </a:xfrm>
        </p:grpSpPr>
        <p:sp>
          <p:nvSpPr>
            <p:cNvPr id="7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490083" y="5509097"/>
              <a:ext cx="992608" cy="307081"/>
            </a:xfrm>
            <a:custGeom>
              <a:avLst/>
              <a:gdLst>
                <a:gd name="T0" fmla="*/ 0 w 110"/>
                <a:gd name="T1" fmla="*/ 0 h 34"/>
                <a:gd name="T2" fmla="*/ 55 w 110"/>
                <a:gd name="T3" fmla="*/ 34 h 34"/>
                <a:gd name="T4" fmla="*/ 110 w 110"/>
                <a:gd name="T5" fmla="*/ 0 h 34"/>
                <a:gd name="T6" fmla="*/ 0 w 110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34">
                  <a:moveTo>
                    <a:pt x="0" y="0"/>
                  </a:moveTo>
                  <a:cubicBezTo>
                    <a:pt x="11" y="20"/>
                    <a:pt x="31" y="34"/>
                    <a:pt x="55" y="34"/>
                  </a:cubicBezTo>
                  <a:cubicBezTo>
                    <a:pt x="79" y="34"/>
                    <a:pt x="100" y="20"/>
                    <a:pt x="11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/>
            </a:p>
          </p:txBody>
        </p:sp>
        <p:sp>
          <p:nvSpPr>
            <p:cNvPr id="7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598210" y="4851683"/>
              <a:ext cx="361144" cy="577400"/>
            </a:xfrm>
            <a:custGeom>
              <a:avLst/>
              <a:gdLst>
                <a:gd name="T0" fmla="*/ 0 w 167"/>
                <a:gd name="T1" fmla="*/ 267 h 267"/>
                <a:gd name="T2" fmla="*/ 167 w 167"/>
                <a:gd name="T3" fmla="*/ 267 h 267"/>
                <a:gd name="T4" fmla="*/ 167 w 167"/>
                <a:gd name="T5" fmla="*/ 0 h 267"/>
                <a:gd name="T6" fmla="*/ 0 w 167"/>
                <a:gd name="T7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" h="267">
                  <a:moveTo>
                    <a:pt x="0" y="267"/>
                  </a:moveTo>
                  <a:lnTo>
                    <a:pt x="167" y="267"/>
                  </a:lnTo>
                  <a:lnTo>
                    <a:pt x="167" y="0"/>
                  </a:lnTo>
                  <a:lnTo>
                    <a:pt x="0" y="267"/>
                  </a:lnTo>
                  <a:close/>
                </a:path>
              </a:pathLst>
            </a:cu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/>
            </a:p>
          </p:txBody>
        </p:sp>
        <p:sp>
          <p:nvSpPr>
            <p:cNvPr id="7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30719" y="5076588"/>
              <a:ext cx="261667" cy="361146"/>
            </a:xfrm>
            <a:custGeom>
              <a:avLst/>
              <a:gdLst>
                <a:gd name="T0" fmla="*/ 0 w 121"/>
                <a:gd name="T1" fmla="*/ 0 h 167"/>
                <a:gd name="T2" fmla="*/ 0 w 121"/>
                <a:gd name="T3" fmla="*/ 167 h 167"/>
                <a:gd name="T4" fmla="*/ 121 w 121"/>
                <a:gd name="T5" fmla="*/ 167 h 167"/>
                <a:gd name="T6" fmla="*/ 0 w 121"/>
                <a:gd name="T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1" h="167">
                  <a:moveTo>
                    <a:pt x="0" y="0"/>
                  </a:moveTo>
                  <a:lnTo>
                    <a:pt x="0" y="167"/>
                  </a:lnTo>
                  <a:lnTo>
                    <a:pt x="121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/>
            </a:p>
          </p:txBody>
        </p:sp>
      </p:grpSp>
      <p:sp>
        <p:nvSpPr>
          <p:cNvPr id="73" name="出自【趣你的PPT】(微信:qunideppt)：最优质的PPT资源库"/>
          <p:cNvSpPr txBox="1"/>
          <p:nvPr/>
        </p:nvSpPr>
        <p:spPr>
          <a:xfrm>
            <a:off x="3994951" y="4526404"/>
            <a:ext cx="1319593" cy="1015663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en-US" altLang="zh-CN" sz="6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%</a:t>
            </a:r>
            <a:endParaRPr lang="zh-CN" altLang="en-US" sz="6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出自【趣你的PPT】(微信:qunideppt)：最优质的PPT资源库"/>
          <p:cNvSpPr txBox="1"/>
          <p:nvPr/>
        </p:nvSpPr>
        <p:spPr>
          <a:xfrm>
            <a:off x="3769731" y="3010541"/>
            <a:ext cx="1770035" cy="1015663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en-US" altLang="zh-CN" sz="6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2%</a:t>
            </a:r>
            <a:endParaRPr lang="zh-CN" altLang="en-US" sz="6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出自【趣你的PPT】(微信:qunideppt)：最优质的PPT资源库"/>
          <p:cNvSpPr txBox="1"/>
          <p:nvPr/>
        </p:nvSpPr>
        <p:spPr>
          <a:xfrm>
            <a:off x="3929229" y="1519364"/>
            <a:ext cx="1451038" cy="1015663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en-US" altLang="zh-CN" sz="6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en-US" altLang="zh-CN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zh-CN" altLang="en-US" sz="5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6" name="出自【趣你的PPT】(微信:qunideppt)：最优质的PPT资源库"/>
          <p:cNvCxnSpPr/>
          <p:nvPr/>
        </p:nvCxnSpPr>
        <p:spPr>
          <a:xfrm>
            <a:off x="757517" y="1370371"/>
            <a:ext cx="1059441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出自【趣你的PPT】(微信:qunideppt)：最优质的PPT资源库"/>
          <p:cNvCxnSpPr/>
          <p:nvPr/>
        </p:nvCxnSpPr>
        <p:spPr>
          <a:xfrm>
            <a:off x="757517" y="4224931"/>
            <a:ext cx="1059441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出自【趣你的PPT】(微信:qunideppt)：最优质的PPT资源库"/>
          <p:cNvCxnSpPr/>
          <p:nvPr/>
        </p:nvCxnSpPr>
        <p:spPr>
          <a:xfrm>
            <a:off x="757517" y="5781963"/>
            <a:ext cx="1059441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6250650" y="1647975"/>
            <a:ext cx="5101276" cy="854080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该原创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。我们制作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教程视频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》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，播放量已超过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次。该原创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。我们制作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教程视频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》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，播放量已超过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次。</a:t>
            </a:r>
            <a:endParaRPr lang="zh-CN" altLang="en-US" sz="110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6250650" y="3151801"/>
            <a:ext cx="5101276" cy="854080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该原创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。我们制作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教程视频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》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，播放量已超过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次。该原创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。我们制作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教程视频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》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，播放量已超过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次。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6250650" y="4684755"/>
            <a:ext cx="5101276" cy="854080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该原创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。我们制作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教程视频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》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，播放量已超过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次。该原创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模板来自公众号：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。我们制作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教程视频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趣你的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》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，播放量已超过</a:t>
            </a:r>
            <a:r>
              <a:rPr lang="en-US" altLang="zh-CN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1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次。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82" name="出自【趣你的PPT】(微信:qunideppt)：最优质的PPT资源库"/>
          <p:cNvCxnSpPr/>
          <p:nvPr/>
        </p:nvCxnSpPr>
        <p:spPr>
          <a:xfrm>
            <a:off x="757517" y="2794450"/>
            <a:ext cx="1059441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519618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350" fill="hold"/>
                                        <p:tgtEl>
                                          <p:spTgt spid="75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125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625"/>
                            </p:stCondLst>
                            <p:childTnLst>
                              <p:par>
                                <p:cTn id="2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625"/>
                            </p:stCondLst>
                            <p:childTnLst>
                              <p:par>
                                <p:cTn id="3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350" fill="hold"/>
                                        <p:tgtEl>
                                          <p:spTgt spid="7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325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25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750"/>
                            </p:stCondLst>
                            <p:childTnLst>
                              <p:par>
                                <p:cTn id="4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175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350" fill="hold"/>
                                        <p:tgtEl>
                                          <p:spTgt spid="7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245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5375"/>
                            </p:stCondLst>
                            <p:childTnLst>
                              <p:par>
                                <p:cTn id="6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73" grpId="0"/>
      <p:bldP spid="73" grpId="1"/>
      <p:bldP spid="74" grpId="0"/>
      <p:bldP spid="74" grpId="1"/>
      <p:bldP spid="75" grpId="0"/>
      <p:bldP spid="75" grpId="1"/>
      <p:bldP spid="79" grpId="0" animBg="1"/>
      <p:bldP spid="80" grpId="0" animBg="1"/>
      <p:bldP spid="8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 txBox="1"/>
          <p:nvPr/>
        </p:nvSpPr>
        <p:spPr>
          <a:xfrm>
            <a:off x="1891853" y="4850326"/>
            <a:ext cx="2798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出自【趣你的PPT】(微信:qunideppt)：最优质的PPT资源库"/>
          <p:cNvSpPr txBox="1"/>
          <p:nvPr/>
        </p:nvSpPr>
        <p:spPr>
          <a:xfrm>
            <a:off x="4768975" y="4130246"/>
            <a:ext cx="2777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出自【趣你的PPT】(微信:qunideppt)：最优质的PPT资源库"/>
          <p:cNvSpPr txBox="1"/>
          <p:nvPr/>
        </p:nvSpPr>
        <p:spPr>
          <a:xfrm>
            <a:off x="7546487" y="3309878"/>
            <a:ext cx="2760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" name="Group 9出自【趣你的PPT】(微信:qunideppt)：最优质的PPT资源库"/>
          <p:cNvGrpSpPr/>
          <p:nvPr/>
        </p:nvGrpSpPr>
        <p:grpSpPr>
          <a:xfrm>
            <a:off x="1881599" y="3987534"/>
            <a:ext cx="2808312" cy="792088"/>
            <a:chOff x="1840472" y="3836374"/>
            <a:chExt cx="2808312" cy="792088"/>
          </a:xfrm>
          <a:solidFill>
            <a:srgbClr val="C00000"/>
          </a:solidFill>
        </p:grpSpPr>
        <p:sp>
          <p:nvSpPr>
            <p:cNvPr id="11" name="出自【趣你的PPT】(微信:qunideppt)：最优质的PPT资源库"/>
            <p:cNvSpPr/>
            <p:nvPr/>
          </p:nvSpPr>
          <p:spPr>
            <a:xfrm>
              <a:off x="1840472" y="3836374"/>
              <a:ext cx="2808312" cy="7920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出自【趣你的PPT】(微信:qunideppt)：最优质的PPT资源库"/>
            <p:cNvSpPr txBox="1"/>
            <p:nvPr/>
          </p:nvSpPr>
          <p:spPr>
            <a:xfrm>
              <a:off x="2179820" y="4079987"/>
              <a:ext cx="23762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</p:grpSp>
      <p:grpSp>
        <p:nvGrpSpPr>
          <p:cNvPr id="13" name="Group 12出自【趣你的PPT】(微信:qunideppt)：最优质的PPT资源库"/>
          <p:cNvGrpSpPr/>
          <p:nvPr/>
        </p:nvGrpSpPr>
        <p:grpSpPr>
          <a:xfrm>
            <a:off x="4689911" y="3195446"/>
            <a:ext cx="2808312" cy="792088"/>
            <a:chOff x="4648784" y="3044286"/>
            <a:chExt cx="2808312" cy="792088"/>
          </a:xfrm>
          <a:solidFill>
            <a:srgbClr val="C00000"/>
          </a:solidFill>
        </p:grpSpPr>
        <p:sp>
          <p:nvSpPr>
            <p:cNvPr id="14" name="出自【趣你的PPT】(微信:qunideppt)：最优质的PPT资源库"/>
            <p:cNvSpPr/>
            <p:nvPr/>
          </p:nvSpPr>
          <p:spPr>
            <a:xfrm>
              <a:off x="4648784" y="3044286"/>
              <a:ext cx="2808312" cy="7920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" name="出自【趣你的PPT】(微信:qunideppt)：最优质的PPT资源库"/>
            <p:cNvSpPr txBox="1"/>
            <p:nvPr/>
          </p:nvSpPr>
          <p:spPr>
            <a:xfrm>
              <a:off x="5073478" y="3293631"/>
              <a:ext cx="23762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</p:grp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7500821" y="2395819"/>
            <a:ext cx="2808312" cy="792088"/>
            <a:chOff x="7459694" y="2244659"/>
            <a:chExt cx="2808312" cy="792088"/>
          </a:xfrm>
          <a:solidFill>
            <a:srgbClr val="C00000"/>
          </a:solidFill>
        </p:grpSpPr>
        <p:sp>
          <p:nvSpPr>
            <p:cNvPr id="18" name="出自【趣你的PPT】(微信:qunideppt)：最优质的PPT资源库"/>
            <p:cNvSpPr/>
            <p:nvPr/>
          </p:nvSpPr>
          <p:spPr>
            <a:xfrm>
              <a:off x="7459694" y="2244659"/>
              <a:ext cx="2808312" cy="7920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 txBox="1"/>
            <p:nvPr/>
          </p:nvSpPr>
          <p:spPr>
            <a:xfrm>
              <a:off x="7891742" y="2486519"/>
              <a:ext cx="23762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</p:grpSp>
      <p:grpSp>
        <p:nvGrpSpPr>
          <p:cNvPr id="20" name="Group 19出自【趣你的PPT】(微信:qunideppt)：最优质的PPT资源库"/>
          <p:cNvGrpSpPr/>
          <p:nvPr/>
        </p:nvGrpSpPr>
        <p:grpSpPr>
          <a:xfrm>
            <a:off x="8364917" y="710015"/>
            <a:ext cx="1080120" cy="1666289"/>
            <a:chOff x="3763963" y="460375"/>
            <a:chExt cx="1878012" cy="2897188"/>
          </a:xfrm>
        </p:grpSpPr>
        <p:sp>
          <p:nvSpPr>
            <p:cNvPr id="21" name="出自【趣你的PPT】(微信:qunideppt)：最优质的PPT资源库"/>
            <p:cNvSpPr>
              <a:spLocks noChangeAspect="1" noChangeArrowheads="1" noTextEdit="1"/>
            </p:cNvSpPr>
            <p:nvPr/>
          </p:nvSpPr>
          <p:spPr bwMode="auto">
            <a:xfrm>
              <a:off x="3779838" y="476250"/>
              <a:ext cx="1862137" cy="2881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657725" y="776288"/>
              <a:ext cx="182562" cy="179388"/>
            </a:xfrm>
            <a:custGeom>
              <a:avLst/>
              <a:gdLst>
                <a:gd name="T0" fmla="*/ 0 w 12"/>
                <a:gd name="T1" fmla="*/ 1 h 12"/>
                <a:gd name="T2" fmla="*/ 0 w 12"/>
                <a:gd name="T3" fmla="*/ 6 h 12"/>
                <a:gd name="T4" fmla="*/ 4 w 12"/>
                <a:gd name="T5" fmla="*/ 12 h 12"/>
                <a:gd name="T6" fmla="*/ 10 w 12"/>
                <a:gd name="T7" fmla="*/ 10 h 12"/>
                <a:gd name="T8" fmla="*/ 12 w 12"/>
                <a:gd name="T9" fmla="*/ 6 h 12"/>
                <a:gd name="T10" fmla="*/ 12 w 12"/>
                <a:gd name="T11" fmla="*/ 1 h 12"/>
                <a:gd name="T12" fmla="*/ 0 w 12"/>
                <a:gd name="T1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"/>
                  </a:moveTo>
                  <a:cubicBezTo>
                    <a:pt x="0" y="1"/>
                    <a:pt x="0" y="6"/>
                    <a:pt x="0" y="6"/>
                  </a:cubicBezTo>
                  <a:cubicBezTo>
                    <a:pt x="0" y="6"/>
                    <a:pt x="3" y="12"/>
                    <a:pt x="4" y="12"/>
                  </a:cubicBezTo>
                  <a:cubicBezTo>
                    <a:pt x="6" y="12"/>
                    <a:pt x="10" y="11"/>
                    <a:pt x="10" y="10"/>
                  </a:cubicBezTo>
                  <a:cubicBezTo>
                    <a:pt x="11" y="10"/>
                    <a:pt x="12" y="6"/>
                    <a:pt x="12" y="6"/>
                  </a:cubicBezTo>
                  <a:cubicBezTo>
                    <a:pt x="12" y="6"/>
                    <a:pt x="12" y="2"/>
                    <a:pt x="12" y="1"/>
                  </a:cubicBezTo>
                  <a:cubicBezTo>
                    <a:pt x="12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79838" y="955675"/>
              <a:ext cx="120650" cy="104775"/>
            </a:xfrm>
            <a:custGeom>
              <a:avLst/>
              <a:gdLst>
                <a:gd name="T0" fmla="*/ 2 w 8"/>
                <a:gd name="T1" fmla="*/ 6 h 7"/>
                <a:gd name="T2" fmla="*/ 3 w 8"/>
                <a:gd name="T3" fmla="*/ 1 h 7"/>
                <a:gd name="T4" fmla="*/ 8 w 8"/>
                <a:gd name="T5" fmla="*/ 4 h 7"/>
                <a:gd name="T6" fmla="*/ 2 w 8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2" y="6"/>
                    <a:pt x="0" y="2"/>
                    <a:pt x="3" y="1"/>
                  </a:cubicBezTo>
                  <a:cubicBezTo>
                    <a:pt x="7" y="0"/>
                    <a:pt x="8" y="4"/>
                    <a:pt x="8" y="4"/>
                  </a:cubicBezTo>
                  <a:cubicBezTo>
                    <a:pt x="8" y="4"/>
                    <a:pt x="2" y="7"/>
                    <a:pt x="2" y="6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05450" y="1016000"/>
              <a:ext cx="106362" cy="119063"/>
            </a:xfrm>
            <a:custGeom>
              <a:avLst/>
              <a:gdLst>
                <a:gd name="T0" fmla="*/ 0 w 7"/>
                <a:gd name="T1" fmla="*/ 4 h 8"/>
                <a:gd name="T2" fmla="*/ 3 w 7"/>
                <a:gd name="T3" fmla="*/ 8 h 8"/>
                <a:gd name="T4" fmla="*/ 7 w 7"/>
                <a:gd name="T5" fmla="*/ 6 h 8"/>
                <a:gd name="T6" fmla="*/ 5 w 7"/>
                <a:gd name="T7" fmla="*/ 1 h 8"/>
                <a:gd name="T8" fmla="*/ 0 w 7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0" y="4"/>
                  </a:moveTo>
                  <a:cubicBezTo>
                    <a:pt x="0" y="4"/>
                    <a:pt x="1" y="8"/>
                    <a:pt x="3" y="8"/>
                  </a:cubicBezTo>
                  <a:cubicBezTo>
                    <a:pt x="4" y="8"/>
                    <a:pt x="7" y="7"/>
                    <a:pt x="7" y="6"/>
                  </a:cubicBezTo>
                  <a:cubicBezTo>
                    <a:pt x="7" y="5"/>
                    <a:pt x="7" y="3"/>
                    <a:pt x="5" y="1"/>
                  </a:cubicBezTo>
                  <a:cubicBezTo>
                    <a:pt x="4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310063" y="1525588"/>
              <a:ext cx="877887" cy="434975"/>
            </a:xfrm>
            <a:custGeom>
              <a:avLst/>
              <a:gdLst>
                <a:gd name="T0" fmla="*/ 0 w 58"/>
                <a:gd name="T1" fmla="*/ 26 h 29"/>
                <a:gd name="T2" fmla="*/ 17 w 58"/>
                <a:gd name="T3" fmla="*/ 29 h 29"/>
                <a:gd name="T4" fmla="*/ 58 w 58"/>
                <a:gd name="T5" fmla="*/ 27 h 29"/>
                <a:gd name="T6" fmla="*/ 58 w 58"/>
                <a:gd name="T7" fmla="*/ 27 h 29"/>
                <a:gd name="T8" fmla="*/ 50 w 58"/>
                <a:gd name="T9" fmla="*/ 1 h 29"/>
                <a:gd name="T10" fmla="*/ 11 w 58"/>
                <a:gd name="T11" fmla="*/ 0 h 29"/>
                <a:gd name="T12" fmla="*/ 0 w 58"/>
                <a:gd name="T13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">
                  <a:moveTo>
                    <a:pt x="0" y="26"/>
                  </a:moveTo>
                  <a:cubicBezTo>
                    <a:pt x="0" y="26"/>
                    <a:pt x="6" y="29"/>
                    <a:pt x="17" y="29"/>
                  </a:cubicBezTo>
                  <a:cubicBezTo>
                    <a:pt x="29" y="29"/>
                    <a:pt x="58" y="27"/>
                    <a:pt x="58" y="27"/>
                  </a:cubicBezTo>
                  <a:cubicBezTo>
                    <a:pt x="58" y="28"/>
                    <a:pt x="58" y="27"/>
                    <a:pt x="58" y="27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21"/>
                    <a:pt x="0" y="2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446588" y="1601788"/>
              <a:ext cx="635000" cy="1604963"/>
            </a:xfrm>
            <a:custGeom>
              <a:avLst/>
              <a:gdLst>
                <a:gd name="T0" fmla="*/ 0 w 42"/>
                <a:gd name="T1" fmla="*/ 8 h 107"/>
                <a:gd name="T2" fmla="*/ 2 w 42"/>
                <a:gd name="T3" fmla="*/ 32 h 107"/>
                <a:gd name="T4" fmla="*/ 5 w 42"/>
                <a:gd name="T5" fmla="*/ 44 h 107"/>
                <a:gd name="T6" fmla="*/ 7 w 42"/>
                <a:gd name="T7" fmla="*/ 71 h 107"/>
                <a:gd name="T8" fmla="*/ 11 w 42"/>
                <a:gd name="T9" fmla="*/ 101 h 107"/>
                <a:gd name="T10" fmla="*/ 11 w 42"/>
                <a:gd name="T11" fmla="*/ 107 h 107"/>
                <a:gd name="T12" fmla="*/ 23 w 42"/>
                <a:gd name="T13" fmla="*/ 107 h 107"/>
                <a:gd name="T14" fmla="*/ 23 w 42"/>
                <a:gd name="T15" fmla="*/ 103 h 107"/>
                <a:gd name="T16" fmla="*/ 21 w 42"/>
                <a:gd name="T17" fmla="*/ 99 h 107"/>
                <a:gd name="T18" fmla="*/ 24 w 42"/>
                <a:gd name="T19" fmla="*/ 93 h 107"/>
                <a:gd name="T20" fmla="*/ 21 w 42"/>
                <a:gd name="T21" fmla="*/ 38 h 107"/>
                <a:gd name="T22" fmla="*/ 24 w 42"/>
                <a:gd name="T23" fmla="*/ 50 h 107"/>
                <a:gd name="T24" fmla="*/ 26 w 42"/>
                <a:gd name="T25" fmla="*/ 63 h 107"/>
                <a:gd name="T26" fmla="*/ 26 w 42"/>
                <a:gd name="T27" fmla="*/ 87 h 107"/>
                <a:gd name="T28" fmla="*/ 28 w 42"/>
                <a:gd name="T29" fmla="*/ 96 h 107"/>
                <a:gd name="T30" fmla="*/ 36 w 42"/>
                <a:gd name="T31" fmla="*/ 97 h 107"/>
                <a:gd name="T32" fmla="*/ 38 w 42"/>
                <a:gd name="T33" fmla="*/ 91 h 107"/>
                <a:gd name="T34" fmla="*/ 38 w 42"/>
                <a:gd name="T35" fmla="*/ 85 h 107"/>
                <a:gd name="T36" fmla="*/ 39 w 42"/>
                <a:gd name="T37" fmla="*/ 60 h 107"/>
                <a:gd name="T38" fmla="*/ 39 w 42"/>
                <a:gd name="T39" fmla="*/ 52 h 107"/>
                <a:gd name="T40" fmla="*/ 41 w 42"/>
                <a:gd name="T41" fmla="*/ 20 h 107"/>
                <a:gd name="T42" fmla="*/ 40 w 42"/>
                <a:gd name="T43" fmla="*/ 2 h 107"/>
                <a:gd name="T44" fmla="*/ 2 w 42"/>
                <a:gd name="T45" fmla="*/ 0 h 107"/>
                <a:gd name="T46" fmla="*/ 0 w 42"/>
                <a:gd name="T47" fmla="*/ 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107">
                  <a:moveTo>
                    <a:pt x="0" y="8"/>
                  </a:moveTo>
                  <a:cubicBezTo>
                    <a:pt x="0" y="8"/>
                    <a:pt x="1" y="28"/>
                    <a:pt x="2" y="32"/>
                  </a:cubicBezTo>
                  <a:cubicBezTo>
                    <a:pt x="4" y="35"/>
                    <a:pt x="5" y="43"/>
                    <a:pt x="5" y="44"/>
                  </a:cubicBezTo>
                  <a:cubicBezTo>
                    <a:pt x="5" y="45"/>
                    <a:pt x="4" y="65"/>
                    <a:pt x="7" y="71"/>
                  </a:cubicBezTo>
                  <a:cubicBezTo>
                    <a:pt x="7" y="71"/>
                    <a:pt x="9" y="100"/>
                    <a:pt x="11" y="101"/>
                  </a:cubicBezTo>
                  <a:cubicBezTo>
                    <a:pt x="11" y="101"/>
                    <a:pt x="8" y="106"/>
                    <a:pt x="11" y="107"/>
                  </a:cubicBezTo>
                  <a:cubicBezTo>
                    <a:pt x="11" y="107"/>
                    <a:pt x="21" y="106"/>
                    <a:pt x="23" y="107"/>
                  </a:cubicBezTo>
                  <a:cubicBezTo>
                    <a:pt x="23" y="107"/>
                    <a:pt x="24" y="104"/>
                    <a:pt x="23" y="103"/>
                  </a:cubicBezTo>
                  <a:cubicBezTo>
                    <a:pt x="22" y="102"/>
                    <a:pt x="21" y="99"/>
                    <a:pt x="21" y="99"/>
                  </a:cubicBezTo>
                  <a:cubicBezTo>
                    <a:pt x="21" y="99"/>
                    <a:pt x="25" y="94"/>
                    <a:pt x="24" y="93"/>
                  </a:cubicBezTo>
                  <a:cubicBezTo>
                    <a:pt x="23" y="91"/>
                    <a:pt x="19" y="43"/>
                    <a:pt x="21" y="38"/>
                  </a:cubicBezTo>
                  <a:cubicBezTo>
                    <a:pt x="21" y="38"/>
                    <a:pt x="23" y="50"/>
                    <a:pt x="24" y="50"/>
                  </a:cubicBezTo>
                  <a:cubicBezTo>
                    <a:pt x="24" y="50"/>
                    <a:pt x="25" y="62"/>
                    <a:pt x="26" y="63"/>
                  </a:cubicBezTo>
                  <a:cubicBezTo>
                    <a:pt x="26" y="63"/>
                    <a:pt x="30" y="84"/>
                    <a:pt x="26" y="87"/>
                  </a:cubicBezTo>
                  <a:cubicBezTo>
                    <a:pt x="26" y="87"/>
                    <a:pt x="25" y="95"/>
                    <a:pt x="28" y="96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6" y="97"/>
                    <a:pt x="38" y="92"/>
                    <a:pt x="38" y="91"/>
                  </a:cubicBezTo>
                  <a:cubicBezTo>
                    <a:pt x="39" y="89"/>
                    <a:pt x="39" y="87"/>
                    <a:pt x="38" y="85"/>
                  </a:cubicBezTo>
                  <a:cubicBezTo>
                    <a:pt x="38" y="84"/>
                    <a:pt x="37" y="61"/>
                    <a:pt x="39" y="60"/>
                  </a:cubicBezTo>
                  <a:cubicBezTo>
                    <a:pt x="41" y="58"/>
                    <a:pt x="42" y="55"/>
                    <a:pt x="39" y="52"/>
                  </a:cubicBezTo>
                  <a:cubicBezTo>
                    <a:pt x="39" y="52"/>
                    <a:pt x="42" y="24"/>
                    <a:pt x="41" y="20"/>
                  </a:cubicBezTo>
                  <a:cubicBezTo>
                    <a:pt x="40" y="17"/>
                    <a:pt x="40" y="2"/>
                    <a:pt x="40" y="2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446588" y="1601788"/>
              <a:ext cx="271462" cy="223838"/>
            </a:xfrm>
            <a:custGeom>
              <a:avLst/>
              <a:gdLst>
                <a:gd name="T0" fmla="*/ 2 w 18"/>
                <a:gd name="T1" fmla="*/ 2 h 15"/>
                <a:gd name="T2" fmla="*/ 0 w 18"/>
                <a:gd name="T3" fmla="*/ 8 h 15"/>
                <a:gd name="T4" fmla="*/ 0 w 18"/>
                <a:gd name="T5" fmla="*/ 15 h 15"/>
                <a:gd name="T6" fmla="*/ 4 w 18"/>
                <a:gd name="T7" fmla="*/ 11 h 15"/>
                <a:gd name="T8" fmla="*/ 7 w 18"/>
                <a:gd name="T9" fmla="*/ 7 h 15"/>
                <a:gd name="T10" fmla="*/ 18 w 18"/>
                <a:gd name="T11" fmla="*/ 10 h 15"/>
                <a:gd name="T12" fmla="*/ 5 w 18"/>
                <a:gd name="T13" fmla="*/ 0 h 15"/>
                <a:gd name="T14" fmla="*/ 4 w 18"/>
                <a:gd name="T15" fmla="*/ 0 h 15"/>
                <a:gd name="T16" fmla="*/ 2 w 18"/>
                <a:gd name="T1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5">
                  <a:moveTo>
                    <a:pt x="2" y="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11"/>
                    <a:pt x="0" y="15"/>
                  </a:cubicBezTo>
                  <a:cubicBezTo>
                    <a:pt x="1" y="13"/>
                    <a:pt x="3" y="12"/>
                    <a:pt x="4" y="11"/>
                  </a:cubicBezTo>
                  <a:cubicBezTo>
                    <a:pt x="7" y="8"/>
                    <a:pt x="4" y="8"/>
                    <a:pt x="7" y="7"/>
                  </a:cubicBezTo>
                  <a:cubicBezTo>
                    <a:pt x="10" y="7"/>
                    <a:pt x="15" y="11"/>
                    <a:pt x="18" y="1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551363" y="1616075"/>
              <a:ext cx="530225" cy="1590675"/>
            </a:xfrm>
            <a:custGeom>
              <a:avLst/>
              <a:gdLst>
                <a:gd name="T0" fmla="*/ 27 w 35"/>
                <a:gd name="T1" fmla="*/ 84 h 106"/>
                <a:gd name="T2" fmla="*/ 25 w 35"/>
                <a:gd name="T3" fmla="*/ 71 h 106"/>
                <a:gd name="T4" fmla="*/ 19 w 35"/>
                <a:gd name="T5" fmla="*/ 36 h 106"/>
                <a:gd name="T6" fmla="*/ 17 w 35"/>
                <a:gd name="T7" fmla="*/ 23 h 106"/>
                <a:gd name="T8" fmla="*/ 29 w 35"/>
                <a:gd name="T9" fmla="*/ 25 h 106"/>
                <a:gd name="T10" fmla="*/ 33 w 35"/>
                <a:gd name="T11" fmla="*/ 37 h 106"/>
                <a:gd name="T12" fmla="*/ 34 w 35"/>
                <a:gd name="T13" fmla="*/ 19 h 106"/>
                <a:gd name="T14" fmla="*/ 33 w 35"/>
                <a:gd name="T15" fmla="*/ 1 h 106"/>
                <a:gd name="T16" fmla="*/ 8 w 35"/>
                <a:gd name="T17" fmla="*/ 0 h 106"/>
                <a:gd name="T18" fmla="*/ 0 w 35"/>
                <a:gd name="T19" fmla="*/ 3 h 106"/>
                <a:gd name="T20" fmla="*/ 12 w 35"/>
                <a:gd name="T21" fmla="*/ 17 h 106"/>
                <a:gd name="T22" fmla="*/ 0 w 35"/>
                <a:gd name="T23" fmla="*/ 19 h 106"/>
                <a:gd name="T24" fmla="*/ 4 w 35"/>
                <a:gd name="T25" fmla="*/ 20 h 106"/>
                <a:gd name="T26" fmla="*/ 7 w 35"/>
                <a:gd name="T27" fmla="*/ 25 h 106"/>
                <a:gd name="T28" fmla="*/ 0 w 35"/>
                <a:gd name="T29" fmla="*/ 25 h 106"/>
                <a:gd name="T30" fmla="*/ 9 w 35"/>
                <a:gd name="T31" fmla="*/ 29 h 106"/>
                <a:gd name="T32" fmla="*/ 0 w 35"/>
                <a:gd name="T33" fmla="*/ 30 h 106"/>
                <a:gd name="T34" fmla="*/ 7 w 35"/>
                <a:gd name="T35" fmla="*/ 30 h 106"/>
                <a:gd name="T36" fmla="*/ 9 w 35"/>
                <a:gd name="T37" fmla="*/ 56 h 106"/>
                <a:gd name="T38" fmla="*/ 13 w 35"/>
                <a:gd name="T39" fmla="*/ 76 h 106"/>
                <a:gd name="T40" fmla="*/ 11 w 35"/>
                <a:gd name="T41" fmla="*/ 85 h 106"/>
                <a:gd name="T42" fmla="*/ 4 w 35"/>
                <a:gd name="T43" fmla="*/ 39 h 106"/>
                <a:gd name="T44" fmla="*/ 9 w 35"/>
                <a:gd name="T45" fmla="*/ 86 h 106"/>
                <a:gd name="T46" fmla="*/ 12 w 35"/>
                <a:gd name="T47" fmla="*/ 96 h 106"/>
                <a:gd name="T48" fmla="*/ 12 w 35"/>
                <a:gd name="T49" fmla="*/ 100 h 106"/>
                <a:gd name="T50" fmla="*/ 2 w 35"/>
                <a:gd name="T51" fmla="*/ 94 h 106"/>
                <a:gd name="T52" fmla="*/ 4 w 35"/>
                <a:gd name="T53" fmla="*/ 100 h 106"/>
                <a:gd name="T54" fmla="*/ 4 w 35"/>
                <a:gd name="T55" fmla="*/ 106 h 106"/>
                <a:gd name="T56" fmla="*/ 16 w 35"/>
                <a:gd name="T57" fmla="*/ 106 h 106"/>
                <a:gd name="T58" fmla="*/ 17 w 35"/>
                <a:gd name="T59" fmla="*/ 101 h 106"/>
                <a:gd name="T60" fmla="*/ 17 w 35"/>
                <a:gd name="T61" fmla="*/ 98 h 106"/>
                <a:gd name="T62" fmla="*/ 17 w 35"/>
                <a:gd name="T63" fmla="*/ 92 h 106"/>
                <a:gd name="T64" fmla="*/ 14 w 35"/>
                <a:gd name="T65" fmla="*/ 37 h 106"/>
                <a:gd name="T66" fmla="*/ 16 w 35"/>
                <a:gd name="T67" fmla="*/ 49 h 106"/>
                <a:gd name="T68" fmla="*/ 19 w 35"/>
                <a:gd name="T69" fmla="*/ 63 h 106"/>
                <a:gd name="T70" fmla="*/ 19 w 35"/>
                <a:gd name="T71" fmla="*/ 86 h 106"/>
                <a:gd name="T72" fmla="*/ 21 w 35"/>
                <a:gd name="T73" fmla="*/ 95 h 106"/>
                <a:gd name="T74" fmla="*/ 29 w 35"/>
                <a:gd name="T75" fmla="*/ 96 h 106"/>
                <a:gd name="T76" fmla="*/ 31 w 35"/>
                <a:gd name="T77" fmla="*/ 90 h 106"/>
                <a:gd name="T78" fmla="*/ 31 w 35"/>
                <a:gd name="T79" fmla="*/ 84 h 106"/>
                <a:gd name="T80" fmla="*/ 31 w 35"/>
                <a:gd name="T81" fmla="*/ 84 h 106"/>
                <a:gd name="T82" fmla="*/ 27 w 35"/>
                <a:gd name="T83" fmla="*/ 8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" h="106">
                  <a:moveTo>
                    <a:pt x="27" y="84"/>
                  </a:moveTo>
                  <a:cubicBezTo>
                    <a:pt x="27" y="84"/>
                    <a:pt x="25" y="74"/>
                    <a:pt x="25" y="71"/>
                  </a:cubicBezTo>
                  <a:cubicBezTo>
                    <a:pt x="27" y="63"/>
                    <a:pt x="20" y="39"/>
                    <a:pt x="19" y="36"/>
                  </a:cubicBezTo>
                  <a:cubicBezTo>
                    <a:pt x="19" y="33"/>
                    <a:pt x="18" y="25"/>
                    <a:pt x="17" y="23"/>
                  </a:cubicBezTo>
                  <a:cubicBezTo>
                    <a:pt x="16" y="21"/>
                    <a:pt x="26" y="24"/>
                    <a:pt x="29" y="25"/>
                  </a:cubicBezTo>
                  <a:cubicBezTo>
                    <a:pt x="31" y="26"/>
                    <a:pt x="33" y="32"/>
                    <a:pt x="33" y="37"/>
                  </a:cubicBezTo>
                  <a:cubicBezTo>
                    <a:pt x="34" y="29"/>
                    <a:pt x="35" y="21"/>
                    <a:pt x="34" y="19"/>
                  </a:cubicBezTo>
                  <a:cubicBezTo>
                    <a:pt x="33" y="16"/>
                    <a:pt x="33" y="1"/>
                    <a:pt x="33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5"/>
                    <a:pt x="16" y="14"/>
                    <a:pt x="12" y="17"/>
                  </a:cubicBezTo>
                  <a:cubicBezTo>
                    <a:pt x="9" y="21"/>
                    <a:pt x="0" y="19"/>
                    <a:pt x="0" y="19"/>
                  </a:cubicBezTo>
                  <a:cubicBezTo>
                    <a:pt x="0" y="19"/>
                    <a:pt x="0" y="19"/>
                    <a:pt x="4" y="20"/>
                  </a:cubicBezTo>
                  <a:cubicBezTo>
                    <a:pt x="8" y="22"/>
                    <a:pt x="7" y="25"/>
                    <a:pt x="7" y="25"/>
                  </a:cubicBezTo>
                  <a:cubicBezTo>
                    <a:pt x="1" y="23"/>
                    <a:pt x="0" y="25"/>
                    <a:pt x="0" y="25"/>
                  </a:cubicBezTo>
                  <a:cubicBezTo>
                    <a:pt x="5" y="26"/>
                    <a:pt x="9" y="29"/>
                    <a:pt x="9" y="29"/>
                  </a:cubicBezTo>
                  <a:cubicBezTo>
                    <a:pt x="3" y="26"/>
                    <a:pt x="0" y="30"/>
                    <a:pt x="0" y="30"/>
                  </a:cubicBezTo>
                  <a:cubicBezTo>
                    <a:pt x="0" y="30"/>
                    <a:pt x="5" y="27"/>
                    <a:pt x="7" y="30"/>
                  </a:cubicBezTo>
                  <a:cubicBezTo>
                    <a:pt x="8" y="34"/>
                    <a:pt x="9" y="53"/>
                    <a:pt x="9" y="56"/>
                  </a:cubicBezTo>
                  <a:cubicBezTo>
                    <a:pt x="9" y="59"/>
                    <a:pt x="12" y="74"/>
                    <a:pt x="13" y="76"/>
                  </a:cubicBezTo>
                  <a:cubicBezTo>
                    <a:pt x="14" y="78"/>
                    <a:pt x="13" y="87"/>
                    <a:pt x="11" y="85"/>
                  </a:cubicBezTo>
                  <a:cubicBezTo>
                    <a:pt x="10" y="83"/>
                    <a:pt x="4" y="39"/>
                    <a:pt x="4" y="39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10" y="93"/>
                    <a:pt x="12" y="96"/>
                  </a:cubicBezTo>
                  <a:cubicBezTo>
                    <a:pt x="14" y="99"/>
                    <a:pt x="12" y="100"/>
                    <a:pt x="12" y="100"/>
                  </a:cubicBezTo>
                  <a:cubicBezTo>
                    <a:pt x="11" y="100"/>
                    <a:pt x="6" y="97"/>
                    <a:pt x="2" y="94"/>
                  </a:cubicBezTo>
                  <a:cubicBezTo>
                    <a:pt x="3" y="98"/>
                    <a:pt x="3" y="100"/>
                    <a:pt x="4" y="100"/>
                  </a:cubicBezTo>
                  <a:cubicBezTo>
                    <a:pt x="4" y="100"/>
                    <a:pt x="1" y="105"/>
                    <a:pt x="4" y="106"/>
                  </a:cubicBezTo>
                  <a:cubicBezTo>
                    <a:pt x="4" y="106"/>
                    <a:pt x="14" y="105"/>
                    <a:pt x="16" y="106"/>
                  </a:cubicBezTo>
                  <a:cubicBezTo>
                    <a:pt x="16" y="106"/>
                    <a:pt x="18" y="102"/>
                    <a:pt x="17" y="101"/>
                  </a:cubicBezTo>
                  <a:cubicBezTo>
                    <a:pt x="16" y="100"/>
                    <a:pt x="17" y="98"/>
                    <a:pt x="17" y="98"/>
                  </a:cubicBezTo>
                  <a:cubicBezTo>
                    <a:pt x="17" y="98"/>
                    <a:pt x="18" y="93"/>
                    <a:pt x="17" y="92"/>
                  </a:cubicBezTo>
                  <a:cubicBezTo>
                    <a:pt x="16" y="90"/>
                    <a:pt x="12" y="42"/>
                    <a:pt x="14" y="37"/>
                  </a:cubicBezTo>
                  <a:cubicBezTo>
                    <a:pt x="14" y="37"/>
                    <a:pt x="15" y="49"/>
                    <a:pt x="16" y="49"/>
                  </a:cubicBezTo>
                  <a:cubicBezTo>
                    <a:pt x="16" y="49"/>
                    <a:pt x="17" y="62"/>
                    <a:pt x="19" y="63"/>
                  </a:cubicBezTo>
                  <a:cubicBezTo>
                    <a:pt x="19" y="63"/>
                    <a:pt x="21" y="83"/>
                    <a:pt x="19" y="86"/>
                  </a:cubicBezTo>
                  <a:cubicBezTo>
                    <a:pt x="19" y="86"/>
                    <a:pt x="18" y="94"/>
                    <a:pt x="21" y="95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31" y="91"/>
                    <a:pt x="31" y="90"/>
                  </a:cubicBezTo>
                  <a:cubicBezTo>
                    <a:pt x="32" y="88"/>
                    <a:pt x="32" y="86"/>
                    <a:pt x="31" y="84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29" y="84"/>
                    <a:pt x="27" y="84"/>
                    <a:pt x="27" y="8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657725" y="790575"/>
              <a:ext cx="136525" cy="165100"/>
            </a:xfrm>
            <a:custGeom>
              <a:avLst/>
              <a:gdLst>
                <a:gd name="T0" fmla="*/ 0 w 9"/>
                <a:gd name="T1" fmla="*/ 0 h 11"/>
                <a:gd name="T2" fmla="*/ 0 w 9"/>
                <a:gd name="T3" fmla="*/ 5 h 11"/>
                <a:gd name="T4" fmla="*/ 4 w 9"/>
                <a:gd name="T5" fmla="*/ 11 h 11"/>
                <a:gd name="T6" fmla="*/ 5 w 9"/>
                <a:gd name="T7" fmla="*/ 11 h 11"/>
                <a:gd name="T8" fmla="*/ 6 w 9"/>
                <a:gd name="T9" fmla="*/ 9 h 11"/>
                <a:gd name="T10" fmla="*/ 6 w 9"/>
                <a:gd name="T11" fmla="*/ 7 h 11"/>
                <a:gd name="T12" fmla="*/ 8 w 9"/>
                <a:gd name="T13" fmla="*/ 6 h 11"/>
                <a:gd name="T14" fmla="*/ 9 w 9"/>
                <a:gd name="T15" fmla="*/ 4 h 11"/>
                <a:gd name="T16" fmla="*/ 2 w 9"/>
                <a:gd name="T17" fmla="*/ 0 h 11"/>
                <a:gd name="T18" fmla="*/ 0 w 9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1">
                  <a:moveTo>
                    <a:pt x="0" y="0"/>
                  </a:moveTo>
                  <a:cubicBezTo>
                    <a:pt x="0" y="0"/>
                    <a:pt x="0" y="5"/>
                    <a:pt x="0" y="5"/>
                  </a:cubicBezTo>
                  <a:cubicBezTo>
                    <a:pt x="0" y="5"/>
                    <a:pt x="3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9"/>
                    <a:pt x="6" y="9"/>
                  </a:cubicBezTo>
                  <a:cubicBezTo>
                    <a:pt x="7" y="8"/>
                    <a:pt x="6" y="7"/>
                    <a:pt x="6" y="7"/>
                  </a:cubicBezTo>
                  <a:cubicBezTo>
                    <a:pt x="6" y="7"/>
                    <a:pt x="8" y="7"/>
                    <a:pt x="8" y="6"/>
                  </a:cubicBezTo>
                  <a:cubicBezTo>
                    <a:pt x="8" y="5"/>
                    <a:pt x="9" y="4"/>
                    <a:pt x="9" y="4"/>
                  </a:cubicBezTo>
                  <a:cubicBezTo>
                    <a:pt x="9" y="4"/>
                    <a:pt x="5" y="2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446588" y="865188"/>
              <a:ext cx="635000" cy="901700"/>
            </a:xfrm>
            <a:custGeom>
              <a:avLst/>
              <a:gdLst>
                <a:gd name="T0" fmla="*/ 0 w 42"/>
                <a:gd name="T1" fmla="*/ 49 h 60"/>
                <a:gd name="T2" fmla="*/ 21 w 42"/>
                <a:gd name="T3" fmla="*/ 59 h 60"/>
                <a:gd name="T4" fmla="*/ 41 w 42"/>
                <a:gd name="T5" fmla="*/ 49 h 60"/>
                <a:gd name="T6" fmla="*/ 35 w 42"/>
                <a:gd name="T7" fmla="*/ 12 h 60"/>
                <a:gd name="T8" fmla="*/ 26 w 42"/>
                <a:gd name="T9" fmla="*/ 0 h 60"/>
                <a:gd name="T10" fmla="*/ 21 w 42"/>
                <a:gd name="T11" fmla="*/ 4 h 60"/>
                <a:gd name="T12" fmla="*/ 18 w 42"/>
                <a:gd name="T13" fmla="*/ 3 h 60"/>
                <a:gd name="T14" fmla="*/ 15 w 42"/>
                <a:gd name="T15" fmla="*/ 0 h 60"/>
                <a:gd name="T16" fmla="*/ 13 w 42"/>
                <a:gd name="T17" fmla="*/ 0 h 60"/>
                <a:gd name="T18" fmla="*/ 5 w 42"/>
                <a:gd name="T19" fmla="*/ 20 h 60"/>
                <a:gd name="T20" fmla="*/ 0 w 42"/>
                <a:gd name="T21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60">
                  <a:moveTo>
                    <a:pt x="0" y="49"/>
                  </a:moveTo>
                  <a:cubicBezTo>
                    <a:pt x="0" y="49"/>
                    <a:pt x="13" y="60"/>
                    <a:pt x="21" y="59"/>
                  </a:cubicBezTo>
                  <a:cubicBezTo>
                    <a:pt x="28" y="59"/>
                    <a:pt x="41" y="53"/>
                    <a:pt x="41" y="49"/>
                  </a:cubicBezTo>
                  <a:cubicBezTo>
                    <a:pt x="42" y="45"/>
                    <a:pt x="35" y="12"/>
                    <a:pt x="35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20"/>
                    <a:pt x="5" y="20"/>
                    <a:pt x="5" y="20"/>
                  </a:cubicBezTo>
                  <a:lnTo>
                    <a:pt x="0" y="49"/>
                  </a:lnTo>
                  <a:close/>
                </a:path>
              </a:pathLst>
            </a:custGeom>
            <a:solidFill>
              <a:srgbClr val="F2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446588" y="881063"/>
              <a:ext cx="241300" cy="749300"/>
            </a:xfrm>
            <a:custGeom>
              <a:avLst/>
              <a:gdLst>
                <a:gd name="T0" fmla="*/ 9 w 16"/>
                <a:gd name="T1" fmla="*/ 47 h 50"/>
                <a:gd name="T2" fmla="*/ 7 w 16"/>
                <a:gd name="T3" fmla="*/ 40 h 50"/>
                <a:gd name="T4" fmla="*/ 11 w 16"/>
                <a:gd name="T5" fmla="*/ 46 h 50"/>
                <a:gd name="T6" fmla="*/ 7 w 16"/>
                <a:gd name="T7" fmla="*/ 30 h 50"/>
                <a:gd name="T8" fmla="*/ 13 w 16"/>
                <a:gd name="T9" fmla="*/ 43 h 50"/>
                <a:gd name="T10" fmla="*/ 11 w 16"/>
                <a:gd name="T11" fmla="*/ 32 h 50"/>
                <a:gd name="T12" fmla="*/ 14 w 16"/>
                <a:gd name="T13" fmla="*/ 33 h 50"/>
                <a:gd name="T14" fmla="*/ 11 w 16"/>
                <a:gd name="T15" fmla="*/ 24 h 50"/>
                <a:gd name="T16" fmla="*/ 12 w 16"/>
                <a:gd name="T17" fmla="*/ 3 h 50"/>
                <a:gd name="T18" fmla="*/ 16 w 16"/>
                <a:gd name="T19" fmla="*/ 6 h 50"/>
                <a:gd name="T20" fmla="*/ 12 w 16"/>
                <a:gd name="T21" fmla="*/ 0 h 50"/>
                <a:gd name="T22" fmla="*/ 7 w 16"/>
                <a:gd name="T23" fmla="*/ 13 h 50"/>
                <a:gd name="T24" fmla="*/ 4 w 16"/>
                <a:gd name="T25" fmla="*/ 23 h 50"/>
                <a:gd name="T26" fmla="*/ 0 w 16"/>
                <a:gd name="T27" fmla="*/ 48 h 50"/>
                <a:gd name="T28" fmla="*/ 3 w 16"/>
                <a:gd name="T29" fmla="*/ 50 h 50"/>
                <a:gd name="T30" fmla="*/ 9 w 16"/>
                <a:gd name="T31" fmla="*/ 4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50">
                  <a:moveTo>
                    <a:pt x="9" y="47"/>
                  </a:moveTo>
                  <a:cubicBezTo>
                    <a:pt x="9" y="47"/>
                    <a:pt x="5" y="46"/>
                    <a:pt x="7" y="40"/>
                  </a:cubicBezTo>
                  <a:cubicBezTo>
                    <a:pt x="7" y="40"/>
                    <a:pt x="7" y="45"/>
                    <a:pt x="11" y="46"/>
                  </a:cubicBezTo>
                  <a:cubicBezTo>
                    <a:pt x="11" y="46"/>
                    <a:pt x="6" y="42"/>
                    <a:pt x="7" y="30"/>
                  </a:cubicBezTo>
                  <a:cubicBezTo>
                    <a:pt x="7" y="30"/>
                    <a:pt x="8" y="41"/>
                    <a:pt x="13" y="43"/>
                  </a:cubicBezTo>
                  <a:cubicBezTo>
                    <a:pt x="13" y="43"/>
                    <a:pt x="7" y="36"/>
                    <a:pt x="11" y="32"/>
                  </a:cubicBezTo>
                  <a:cubicBezTo>
                    <a:pt x="11" y="32"/>
                    <a:pt x="11" y="35"/>
                    <a:pt x="14" y="33"/>
                  </a:cubicBezTo>
                  <a:cubicBezTo>
                    <a:pt x="14" y="33"/>
                    <a:pt x="9" y="32"/>
                    <a:pt x="11" y="24"/>
                  </a:cubicBezTo>
                  <a:cubicBezTo>
                    <a:pt x="12" y="16"/>
                    <a:pt x="12" y="3"/>
                    <a:pt x="12" y="3"/>
                  </a:cubicBezTo>
                  <a:cubicBezTo>
                    <a:pt x="12" y="3"/>
                    <a:pt x="14" y="6"/>
                    <a:pt x="16" y="6"/>
                  </a:cubicBezTo>
                  <a:cubicBezTo>
                    <a:pt x="16" y="6"/>
                    <a:pt x="12" y="5"/>
                    <a:pt x="12" y="0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5" y="19"/>
                    <a:pt x="4" y="23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1" y="49"/>
                    <a:pt x="3" y="50"/>
                  </a:cubicBezTo>
                  <a:cubicBezTo>
                    <a:pt x="4" y="49"/>
                    <a:pt x="6" y="46"/>
                    <a:pt x="9" y="47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794250" y="895350"/>
              <a:ext cx="76200" cy="74613"/>
            </a:xfrm>
            <a:custGeom>
              <a:avLst/>
              <a:gdLst>
                <a:gd name="T0" fmla="*/ 5 w 5"/>
                <a:gd name="T1" fmla="*/ 0 h 5"/>
                <a:gd name="T2" fmla="*/ 0 w 5"/>
                <a:gd name="T3" fmla="*/ 5 h 5"/>
                <a:gd name="T4" fmla="*/ 5 w 5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3" y="2"/>
                    <a:pt x="2" y="4"/>
                    <a:pt x="0" y="5"/>
                  </a:cubicBezTo>
                  <a:cubicBezTo>
                    <a:pt x="0" y="5"/>
                    <a:pt x="2" y="4"/>
                    <a:pt x="5" y="0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40288" y="925513"/>
              <a:ext cx="241300" cy="750888"/>
            </a:xfrm>
            <a:custGeom>
              <a:avLst/>
              <a:gdLst>
                <a:gd name="T0" fmla="*/ 15 w 16"/>
                <a:gd name="T1" fmla="*/ 45 h 50"/>
                <a:gd name="T2" fmla="*/ 9 w 16"/>
                <a:gd name="T3" fmla="*/ 8 h 50"/>
                <a:gd name="T4" fmla="*/ 4 w 16"/>
                <a:gd name="T5" fmla="*/ 0 h 50"/>
                <a:gd name="T6" fmla="*/ 0 w 16"/>
                <a:gd name="T7" fmla="*/ 10 h 50"/>
                <a:gd name="T8" fmla="*/ 4 w 16"/>
                <a:gd name="T9" fmla="*/ 6 h 50"/>
                <a:gd name="T10" fmla="*/ 4 w 16"/>
                <a:gd name="T11" fmla="*/ 28 h 50"/>
                <a:gd name="T12" fmla="*/ 9 w 16"/>
                <a:gd name="T13" fmla="*/ 22 h 50"/>
                <a:gd name="T14" fmla="*/ 6 w 16"/>
                <a:gd name="T15" fmla="*/ 36 h 50"/>
                <a:gd name="T16" fmla="*/ 6 w 16"/>
                <a:gd name="T17" fmla="*/ 49 h 50"/>
                <a:gd name="T18" fmla="*/ 9 w 16"/>
                <a:gd name="T19" fmla="*/ 45 h 50"/>
                <a:gd name="T20" fmla="*/ 10 w 16"/>
                <a:gd name="T21" fmla="*/ 50 h 50"/>
                <a:gd name="T22" fmla="*/ 15 w 16"/>
                <a:gd name="T23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50">
                  <a:moveTo>
                    <a:pt x="15" y="45"/>
                  </a:moveTo>
                  <a:cubicBezTo>
                    <a:pt x="16" y="41"/>
                    <a:pt x="9" y="8"/>
                    <a:pt x="9" y="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4"/>
                    <a:pt x="3" y="8"/>
                    <a:pt x="0" y="10"/>
                  </a:cubicBezTo>
                  <a:cubicBezTo>
                    <a:pt x="1" y="9"/>
                    <a:pt x="3" y="8"/>
                    <a:pt x="4" y="6"/>
                  </a:cubicBezTo>
                  <a:cubicBezTo>
                    <a:pt x="4" y="6"/>
                    <a:pt x="7" y="20"/>
                    <a:pt x="4" y="2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11" y="34"/>
                    <a:pt x="6" y="36"/>
                  </a:cubicBezTo>
                  <a:cubicBezTo>
                    <a:pt x="6" y="36"/>
                    <a:pt x="7" y="46"/>
                    <a:pt x="6" y="49"/>
                  </a:cubicBezTo>
                  <a:cubicBezTo>
                    <a:pt x="6" y="49"/>
                    <a:pt x="8" y="43"/>
                    <a:pt x="9" y="45"/>
                  </a:cubicBezTo>
                  <a:cubicBezTo>
                    <a:pt x="10" y="46"/>
                    <a:pt x="11" y="48"/>
                    <a:pt x="10" y="50"/>
                  </a:cubicBezTo>
                  <a:cubicBezTo>
                    <a:pt x="13" y="48"/>
                    <a:pt x="15" y="47"/>
                    <a:pt x="15" y="45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445125" y="955675"/>
              <a:ext cx="106362" cy="150813"/>
            </a:xfrm>
            <a:custGeom>
              <a:avLst/>
              <a:gdLst>
                <a:gd name="T0" fmla="*/ 0 w 7"/>
                <a:gd name="T1" fmla="*/ 1 h 10"/>
                <a:gd name="T2" fmla="*/ 1 w 7"/>
                <a:gd name="T3" fmla="*/ 3 h 10"/>
                <a:gd name="T4" fmla="*/ 7 w 7"/>
                <a:gd name="T5" fmla="*/ 10 h 10"/>
                <a:gd name="T6" fmla="*/ 7 w 7"/>
                <a:gd name="T7" fmla="*/ 9 h 10"/>
                <a:gd name="T8" fmla="*/ 7 w 7"/>
                <a:gd name="T9" fmla="*/ 8 h 10"/>
                <a:gd name="T10" fmla="*/ 7 w 7"/>
                <a:gd name="T11" fmla="*/ 7 h 10"/>
                <a:gd name="T12" fmla="*/ 5 w 7"/>
                <a:gd name="T13" fmla="*/ 4 h 10"/>
                <a:gd name="T14" fmla="*/ 4 w 7"/>
                <a:gd name="T15" fmla="*/ 2 h 10"/>
                <a:gd name="T16" fmla="*/ 3 w 7"/>
                <a:gd name="T17" fmla="*/ 1 h 10"/>
                <a:gd name="T18" fmla="*/ 0 w 7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0" y="1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2" y="5"/>
                    <a:pt x="7" y="10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7"/>
                  </a:cubicBezTo>
                  <a:cubicBezTo>
                    <a:pt x="7" y="6"/>
                    <a:pt x="6" y="4"/>
                    <a:pt x="5" y="4"/>
                  </a:cubicBezTo>
                  <a:cubicBezTo>
                    <a:pt x="5" y="4"/>
                    <a:pt x="5" y="2"/>
                    <a:pt x="4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2" y="2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597400" y="504825"/>
              <a:ext cx="303212" cy="376238"/>
            </a:xfrm>
            <a:custGeom>
              <a:avLst/>
              <a:gdLst>
                <a:gd name="T0" fmla="*/ 10 w 20"/>
                <a:gd name="T1" fmla="*/ 25 h 25"/>
                <a:gd name="T2" fmla="*/ 13 w 20"/>
                <a:gd name="T3" fmla="*/ 24 h 25"/>
                <a:gd name="T4" fmla="*/ 16 w 20"/>
                <a:gd name="T5" fmla="*/ 20 h 25"/>
                <a:gd name="T6" fmla="*/ 17 w 20"/>
                <a:gd name="T7" fmla="*/ 16 h 25"/>
                <a:gd name="T8" fmla="*/ 19 w 20"/>
                <a:gd name="T9" fmla="*/ 15 h 25"/>
                <a:gd name="T10" fmla="*/ 19 w 20"/>
                <a:gd name="T11" fmla="*/ 10 h 25"/>
                <a:gd name="T12" fmla="*/ 16 w 20"/>
                <a:gd name="T13" fmla="*/ 2 h 25"/>
                <a:gd name="T14" fmla="*/ 7 w 20"/>
                <a:gd name="T15" fmla="*/ 1 h 25"/>
                <a:gd name="T16" fmla="*/ 2 w 20"/>
                <a:gd name="T17" fmla="*/ 8 h 25"/>
                <a:gd name="T18" fmla="*/ 2 w 20"/>
                <a:gd name="T19" fmla="*/ 11 h 25"/>
                <a:gd name="T20" fmla="*/ 0 w 20"/>
                <a:gd name="T21" fmla="*/ 11 h 25"/>
                <a:gd name="T22" fmla="*/ 2 w 20"/>
                <a:gd name="T23" fmla="*/ 16 h 25"/>
                <a:gd name="T24" fmla="*/ 3 w 20"/>
                <a:gd name="T25" fmla="*/ 16 h 25"/>
                <a:gd name="T26" fmla="*/ 4 w 20"/>
                <a:gd name="T27" fmla="*/ 20 h 25"/>
                <a:gd name="T28" fmla="*/ 10 w 20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25">
                  <a:moveTo>
                    <a:pt x="10" y="25"/>
                  </a:moveTo>
                  <a:cubicBezTo>
                    <a:pt x="11" y="24"/>
                    <a:pt x="13" y="24"/>
                    <a:pt x="13" y="24"/>
                  </a:cubicBezTo>
                  <a:cubicBezTo>
                    <a:pt x="13" y="23"/>
                    <a:pt x="16" y="21"/>
                    <a:pt x="16" y="20"/>
                  </a:cubicBezTo>
                  <a:cubicBezTo>
                    <a:pt x="17" y="20"/>
                    <a:pt x="17" y="16"/>
                    <a:pt x="17" y="16"/>
                  </a:cubicBezTo>
                  <a:cubicBezTo>
                    <a:pt x="17" y="16"/>
                    <a:pt x="18" y="16"/>
                    <a:pt x="19" y="15"/>
                  </a:cubicBezTo>
                  <a:cubicBezTo>
                    <a:pt x="19" y="15"/>
                    <a:pt x="20" y="11"/>
                    <a:pt x="19" y="10"/>
                  </a:cubicBezTo>
                  <a:cubicBezTo>
                    <a:pt x="18" y="9"/>
                    <a:pt x="18" y="3"/>
                    <a:pt x="16" y="2"/>
                  </a:cubicBezTo>
                  <a:cubicBezTo>
                    <a:pt x="14" y="1"/>
                    <a:pt x="8" y="0"/>
                    <a:pt x="7" y="1"/>
                  </a:cubicBezTo>
                  <a:cubicBezTo>
                    <a:pt x="5" y="2"/>
                    <a:pt x="2" y="7"/>
                    <a:pt x="2" y="8"/>
                  </a:cubicBezTo>
                  <a:cubicBezTo>
                    <a:pt x="2" y="9"/>
                    <a:pt x="2" y="11"/>
                    <a:pt x="2" y="11"/>
                  </a:cubicBezTo>
                  <a:cubicBezTo>
                    <a:pt x="2" y="11"/>
                    <a:pt x="0" y="11"/>
                    <a:pt x="0" y="11"/>
                  </a:cubicBezTo>
                  <a:cubicBezTo>
                    <a:pt x="0" y="11"/>
                    <a:pt x="1" y="16"/>
                    <a:pt x="2" y="16"/>
                  </a:cubicBezTo>
                  <a:cubicBezTo>
                    <a:pt x="2" y="16"/>
                    <a:pt x="2" y="16"/>
                    <a:pt x="3" y="16"/>
                  </a:cubicBezTo>
                  <a:cubicBezTo>
                    <a:pt x="3" y="16"/>
                    <a:pt x="3" y="19"/>
                    <a:pt x="4" y="20"/>
                  </a:cubicBezTo>
                  <a:cubicBezTo>
                    <a:pt x="5" y="21"/>
                    <a:pt x="7" y="25"/>
                    <a:pt x="10" y="25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430838" y="865188"/>
              <a:ext cx="196850" cy="211138"/>
            </a:xfrm>
            <a:custGeom>
              <a:avLst/>
              <a:gdLst>
                <a:gd name="T0" fmla="*/ 0 w 13"/>
                <a:gd name="T1" fmla="*/ 4 h 14"/>
                <a:gd name="T2" fmla="*/ 0 w 13"/>
                <a:gd name="T3" fmla="*/ 4 h 14"/>
                <a:gd name="T4" fmla="*/ 0 w 13"/>
                <a:gd name="T5" fmla="*/ 4 h 14"/>
                <a:gd name="T6" fmla="*/ 0 w 13"/>
                <a:gd name="T7" fmla="*/ 4 h 14"/>
                <a:gd name="T8" fmla="*/ 0 w 13"/>
                <a:gd name="T9" fmla="*/ 5 h 14"/>
                <a:gd name="T10" fmla="*/ 1 w 13"/>
                <a:gd name="T11" fmla="*/ 5 h 14"/>
                <a:gd name="T12" fmla="*/ 1 w 13"/>
                <a:gd name="T13" fmla="*/ 7 h 14"/>
                <a:gd name="T14" fmla="*/ 1 w 13"/>
                <a:gd name="T15" fmla="*/ 7 h 14"/>
                <a:gd name="T16" fmla="*/ 4 w 13"/>
                <a:gd name="T17" fmla="*/ 7 h 14"/>
                <a:gd name="T18" fmla="*/ 5 w 13"/>
                <a:gd name="T19" fmla="*/ 8 h 14"/>
                <a:gd name="T20" fmla="*/ 6 w 13"/>
                <a:gd name="T21" fmla="*/ 10 h 14"/>
                <a:gd name="T22" fmla="*/ 8 w 13"/>
                <a:gd name="T23" fmla="*/ 13 h 14"/>
                <a:gd name="T24" fmla="*/ 8 w 13"/>
                <a:gd name="T25" fmla="*/ 14 h 14"/>
                <a:gd name="T26" fmla="*/ 8 w 13"/>
                <a:gd name="T27" fmla="*/ 14 h 14"/>
                <a:gd name="T28" fmla="*/ 9 w 13"/>
                <a:gd name="T29" fmla="*/ 14 h 14"/>
                <a:gd name="T30" fmla="*/ 9 w 13"/>
                <a:gd name="T31" fmla="*/ 14 h 14"/>
                <a:gd name="T32" fmla="*/ 9 w 13"/>
                <a:gd name="T33" fmla="*/ 14 h 14"/>
                <a:gd name="T34" fmla="*/ 9 w 13"/>
                <a:gd name="T35" fmla="*/ 14 h 14"/>
                <a:gd name="T36" fmla="*/ 10 w 13"/>
                <a:gd name="T37" fmla="*/ 13 h 14"/>
                <a:gd name="T38" fmla="*/ 11 w 13"/>
                <a:gd name="T39" fmla="*/ 12 h 14"/>
                <a:gd name="T40" fmla="*/ 11 w 13"/>
                <a:gd name="T41" fmla="*/ 12 h 14"/>
                <a:gd name="T42" fmla="*/ 11 w 13"/>
                <a:gd name="T43" fmla="*/ 12 h 14"/>
                <a:gd name="T44" fmla="*/ 11 w 13"/>
                <a:gd name="T45" fmla="*/ 12 h 14"/>
                <a:gd name="T46" fmla="*/ 11 w 13"/>
                <a:gd name="T47" fmla="*/ 12 h 14"/>
                <a:gd name="T48" fmla="*/ 11 w 13"/>
                <a:gd name="T49" fmla="*/ 12 h 14"/>
                <a:gd name="T50" fmla="*/ 11 w 13"/>
                <a:gd name="T51" fmla="*/ 12 h 14"/>
                <a:gd name="T52" fmla="*/ 11 w 13"/>
                <a:gd name="T53" fmla="*/ 11 h 14"/>
                <a:gd name="T54" fmla="*/ 12 w 13"/>
                <a:gd name="T55" fmla="*/ 11 h 14"/>
                <a:gd name="T56" fmla="*/ 12 w 13"/>
                <a:gd name="T57" fmla="*/ 11 h 14"/>
                <a:gd name="T58" fmla="*/ 12 w 13"/>
                <a:gd name="T59" fmla="*/ 11 h 14"/>
                <a:gd name="T60" fmla="*/ 12 w 13"/>
                <a:gd name="T61" fmla="*/ 10 h 14"/>
                <a:gd name="T62" fmla="*/ 12 w 13"/>
                <a:gd name="T63" fmla="*/ 10 h 14"/>
                <a:gd name="T64" fmla="*/ 12 w 13"/>
                <a:gd name="T65" fmla="*/ 8 h 14"/>
                <a:gd name="T66" fmla="*/ 12 w 13"/>
                <a:gd name="T67" fmla="*/ 8 h 14"/>
                <a:gd name="T68" fmla="*/ 13 w 13"/>
                <a:gd name="T69" fmla="*/ 8 h 14"/>
                <a:gd name="T70" fmla="*/ 13 w 13"/>
                <a:gd name="T71" fmla="*/ 7 h 14"/>
                <a:gd name="T72" fmla="*/ 13 w 13"/>
                <a:gd name="T73" fmla="*/ 7 h 14"/>
                <a:gd name="T74" fmla="*/ 13 w 13"/>
                <a:gd name="T75" fmla="*/ 7 h 14"/>
                <a:gd name="T76" fmla="*/ 12 w 13"/>
                <a:gd name="T77" fmla="*/ 5 h 14"/>
                <a:gd name="T78" fmla="*/ 12 w 13"/>
                <a:gd name="T79" fmla="*/ 4 h 14"/>
                <a:gd name="T80" fmla="*/ 11 w 13"/>
                <a:gd name="T81" fmla="*/ 3 h 14"/>
                <a:gd name="T82" fmla="*/ 11 w 13"/>
                <a:gd name="T83" fmla="*/ 2 h 14"/>
                <a:gd name="T84" fmla="*/ 9 w 13"/>
                <a:gd name="T85" fmla="*/ 2 h 14"/>
                <a:gd name="T86" fmla="*/ 9 w 13"/>
                <a:gd name="T87" fmla="*/ 1 h 14"/>
                <a:gd name="T88" fmla="*/ 5 w 13"/>
                <a:gd name="T89" fmla="*/ 1 h 14"/>
                <a:gd name="T90" fmla="*/ 4 w 13"/>
                <a:gd name="T91" fmla="*/ 1 h 14"/>
                <a:gd name="T92" fmla="*/ 4 w 13"/>
                <a:gd name="T93" fmla="*/ 1 h 14"/>
                <a:gd name="T94" fmla="*/ 4 w 13"/>
                <a:gd name="T95" fmla="*/ 1 h 14"/>
                <a:gd name="T96" fmla="*/ 4 w 13"/>
                <a:gd name="T97" fmla="*/ 1 h 14"/>
                <a:gd name="T98" fmla="*/ 4 w 13"/>
                <a:gd name="T99" fmla="*/ 1 h 14"/>
                <a:gd name="T100" fmla="*/ 4 w 13"/>
                <a:gd name="T101" fmla="*/ 1 h 14"/>
                <a:gd name="T102" fmla="*/ 4 w 13"/>
                <a:gd name="T103" fmla="*/ 2 h 14"/>
                <a:gd name="T104" fmla="*/ 4 w 13"/>
                <a:gd name="T105" fmla="*/ 2 h 14"/>
                <a:gd name="T106" fmla="*/ 4 w 13"/>
                <a:gd name="T107" fmla="*/ 2 h 14"/>
                <a:gd name="T108" fmla="*/ 4 w 13"/>
                <a:gd name="T109" fmla="*/ 2 h 14"/>
                <a:gd name="T110" fmla="*/ 4 w 13"/>
                <a:gd name="T111" fmla="*/ 2 h 14"/>
                <a:gd name="T112" fmla="*/ 3 w 13"/>
                <a:gd name="T113" fmla="*/ 2 h 14"/>
                <a:gd name="T114" fmla="*/ 1 w 13"/>
                <a:gd name="T115" fmla="*/ 3 h 14"/>
                <a:gd name="T116" fmla="*/ 1 w 13"/>
                <a:gd name="T117" fmla="*/ 3 h 14"/>
                <a:gd name="T118" fmla="*/ 0 w 13"/>
                <a:gd name="T119" fmla="*/ 3 h 14"/>
                <a:gd name="T120" fmla="*/ 0 w 13"/>
                <a:gd name="T121" fmla="*/ 3 h 14"/>
                <a:gd name="T122" fmla="*/ 0 w 13"/>
                <a:gd name="T123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" h="14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3" y="8"/>
                    <a:pt x="4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6" y="8"/>
                    <a:pt x="6" y="10"/>
                    <a:pt x="6" y="10"/>
                  </a:cubicBezTo>
                  <a:cubicBezTo>
                    <a:pt x="7" y="10"/>
                    <a:pt x="8" y="12"/>
                    <a:pt x="8" y="13"/>
                  </a:cubicBezTo>
                  <a:cubicBezTo>
                    <a:pt x="8" y="13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9" y="13"/>
                    <a:pt x="10" y="13"/>
                  </a:cubicBezTo>
                  <a:cubicBezTo>
                    <a:pt x="10" y="13"/>
                    <a:pt x="10" y="13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6"/>
                    <a:pt x="12" y="5"/>
                    <a:pt x="12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4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430838" y="881063"/>
              <a:ext cx="196850" cy="195263"/>
            </a:xfrm>
            <a:custGeom>
              <a:avLst/>
              <a:gdLst>
                <a:gd name="T0" fmla="*/ 0 w 13"/>
                <a:gd name="T1" fmla="*/ 3 h 13"/>
                <a:gd name="T2" fmla="*/ 0 w 13"/>
                <a:gd name="T3" fmla="*/ 3 h 13"/>
                <a:gd name="T4" fmla="*/ 0 w 13"/>
                <a:gd name="T5" fmla="*/ 3 h 13"/>
                <a:gd name="T6" fmla="*/ 0 w 13"/>
                <a:gd name="T7" fmla="*/ 3 h 13"/>
                <a:gd name="T8" fmla="*/ 0 w 13"/>
                <a:gd name="T9" fmla="*/ 4 h 13"/>
                <a:gd name="T10" fmla="*/ 1 w 13"/>
                <a:gd name="T11" fmla="*/ 4 h 13"/>
                <a:gd name="T12" fmla="*/ 1 w 13"/>
                <a:gd name="T13" fmla="*/ 6 h 13"/>
                <a:gd name="T14" fmla="*/ 1 w 13"/>
                <a:gd name="T15" fmla="*/ 6 h 13"/>
                <a:gd name="T16" fmla="*/ 4 w 13"/>
                <a:gd name="T17" fmla="*/ 6 h 13"/>
                <a:gd name="T18" fmla="*/ 5 w 13"/>
                <a:gd name="T19" fmla="*/ 7 h 13"/>
                <a:gd name="T20" fmla="*/ 6 w 13"/>
                <a:gd name="T21" fmla="*/ 9 h 13"/>
                <a:gd name="T22" fmla="*/ 8 w 13"/>
                <a:gd name="T23" fmla="*/ 12 h 13"/>
                <a:gd name="T24" fmla="*/ 8 w 13"/>
                <a:gd name="T25" fmla="*/ 13 h 13"/>
                <a:gd name="T26" fmla="*/ 8 w 13"/>
                <a:gd name="T27" fmla="*/ 13 h 13"/>
                <a:gd name="T28" fmla="*/ 9 w 13"/>
                <a:gd name="T29" fmla="*/ 13 h 13"/>
                <a:gd name="T30" fmla="*/ 9 w 13"/>
                <a:gd name="T31" fmla="*/ 13 h 13"/>
                <a:gd name="T32" fmla="*/ 9 w 13"/>
                <a:gd name="T33" fmla="*/ 13 h 13"/>
                <a:gd name="T34" fmla="*/ 9 w 13"/>
                <a:gd name="T35" fmla="*/ 13 h 13"/>
                <a:gd name="T36" fmla="*/ 10 w 13"/>
                <a:gd name="T37" fmla="*/ 12 h 13"/>
                <a:gd name="T38" fmla="*/ 11 w 13"/>
                <a:gd name="T39" fmla="*/ 11 h 13"/>
                <a:gd name="T40" fmla="*/ 11 w 13"/>
                <a:gd name="T41" fmla="*/ 11 h 13"/>
                <a:gd name="T42" fmla="*/ 11 w 13"/>
                <a:gd name="T43" fmla="*/ 11 h 13"/>
                <a:gd name="T44" fmla="*/ 11 w 13"/>
                <a:gd name="T45" fmla="*/ 11 h 13"/>
                <a:gd name="T46" fmla="*/ 11 w 13"/>
                <a:gd name="T47" fmla="*/ 11 h 13"/>
                <a:gd name="T48" fmla="*/ 11 w 13"/>
                <a:gd name="T49" fmla="*/ 11 h 13"/>
                <a:gd name="T50" fmla="*/ 11 w 13"/>
                <a:gd name="T51" fmla="*/ 11 h 13"/>
                <a:gd name="T52" fmla="*/ 11 w 13"/>
                <a:gd name="T53" fmla="*/ 10 h 13"/>
                <a:gd name="T54" fmla="*/ 12 w 13"/>
                <a:gd name="T55" fmla="*/ 10 h 13"/>
                <a:gd name="T56" fmla="*/ 12 w 13"/>
                <a:gd name="T57" fmla="*/ 10 h 13"/>
                <a:gd name="T58" fmla="*/ 12 w 13"/>
                <a:gd name="T59" fmla="*/ 10 h 13"/>
                <a:gd name="T60" fmla="*/ 12 w 13"/>
                <a:gd name="T61" fmla="*/ 9 h 13"/>
                <a:gd name="T62" fmla="*/ 12 w 13"/>
                <a:gd name="T63" fmla="*/ 9 h 13"/>
                <a:gd name="T64" fmla="*/ 12 w 13"/>
                <a:gd name="T65" fmla="*/ 7 h 13"/>
                <a:gd name="T66" fmla="*/ 12 w 13"/>
                <a:gd name="T67" fmla="*/ 7 h 13"/>
                <a:gd name="T68" fmla="*/ 13 w 13"/>
                <a:gd name="T69" fmla="*/ 7 h 13"/>
                <a:gd name="T70" fmla="*/ 13 w 13"/>
                <a:gd name="T71" fmla="*/ 6 h 13"/>
                <a:gd name="T72" fmla="*/ 13 w 13"/>
                <a:gd name="T73" fmla="*/ 6 h 13"/>
                <a:gd name="T74" fmla="*/ 10 w 13"/>
                <a:gd name="T75" fmla="*/ 6 h 13"/>
                <a:gd name="T76" fmla="*/ 9 w 13"/>
                <a:gd name="T77" fmla="*/ 5 h 13"/>
                <a:gd name="T78" fmla="*/ 11 w 13"/>
                <a:gd name="T79" fmla="*/ 4 h 13"/>
                <a:gd name="T80" fmla="*/ 8 w 13"/>
                <a:gd name="T81" fmla="*/ 4 h 13"/>
                <a:gd name="T82" fmla="*/ 7 w 13"/>
                <a:gd name="T83" fmla="*/ 3 h 13"/>
                <a:gd name="T84" fmla="*/ 10 w 13"/>
                <a:gd name="T85" fmla="*/ 2 h 13"/>
                <a:gd name="T86" fmla="*/ 7 w 13"/>
                <a:gd name="T87" fmla="*/ 2 h 13"/>
                <a:gd name="T88" fmla="*/ 6 w 13"/>
                <a:gd name="T89" fmla="*/ 1 h 13"/>
                <a:gd name="T90" fmla="*/ 4 w 13"/>
                <a:gd name="T91" fmla="*/ 0 h 13"/>
                <a:gd name="T92" fmla="*/ 4 w 13"/>
                <a:gd name="T93" fmla="*/ 0 h 13"/>
                <a:gd name="T94" fmla="*/ 4 w 13"/>
                <a:gd name="T95" fmla="*/ 0 h 13"/>
                <a:gd name="T96" fmla="*/ 4 w 13"/>
                <a:gd name="T97" fmla="*/ 0 h 13"/>
                <a:gd name="T98" fmla="*/ 4 w 13"/>
                <a:gd name="T99" fmla="*/ 0 h 13"/>
                <a:gd name="T100" fmla="*/ 4 w 13"/>
                <a:gd name="T101" fmla="*/ 0 h 13"/>
                <a:gd name="T102" fmla="*/ 4 w 13"/>
                <a:gd name="T103" fmla="*/ 1 h 13"/>
                <a:gd name="T104" fmla="*/ 4 w 13"/>
                <a:gd name="T105" fmla="*/ 1 h 13"/>
                <a:gd name="T106" fmla="*/ 4 w 13"/>
                <a:gd name="T107" fmla="*/ 1 h 13"/>
                <a:gd name="T108" fmla="*/ 4 w 13"/>
                <a:gd name="T109" fmla="*/ 1 h 13"/>
                <a:gd name="T110" fmla="*/ 4 w 13"/>
                <a:gd name="T111" fmla="*/ 1 h 13"/>
                <a:gd name="T112" fmla="*/ 4 w 13"/>
                <a:gd name="T113" fmla="*/ 1 h 13"/>
                <a:gd name="T114" fmla="*/ 3 w 13"/>
                <a:gd name="T115" fmla="*/ 2 h 13"/>
                <a:gd name="T116" fmla="*/ 1 w 13"/>
                <a:gd name="T117" fmla="*/ 2 h 13"/>
                <a:gd name="T118" fmla="*/ 1 w 13"/>
                <a:gd name="T119" fmla="*/ 2 h 13"/>
                <a:gd name="T120" fmla="*/ 0 w 13"/>
                <a:gd name="T121" fmla="*/ 2 h 13"/>
                <a:gd name="T122" fmla="*/ 0 w 13"/>
                <a:gd name="T123" fmla="*/ 2 h 13"/>
                <a:gd name="T124" fmla="*/ 0 w 13"/>
                <a:gd name="T12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3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3" y="7"/>
                    <a:pt x="4" y="6"/>
                  </a:cubicBezTo>
                  <a:cubicBezTo>
                    <a:pt x="5" y="5"/>
                    <a:pt x="5" y="7"/>
                    <a:pt x="5" y="7"/>
                  </a:cubicBezTo>
                  <a:cubicBezTo>
                    <a:pt x="6" y="7"/>
                    <a:pt x="6" y="9"/>
                    <a:pt x="6" y="9"/>
                  </a:cubicBezTo>
                  <a:cubicBezTo>
                    <a:pt x="7" y="9"/>
                    <a:pt x="8" y="11"/>
                    <a:pt x="8" y="12"/>
                  </a:cubicBezTo>
                  <a:cubicBezTo>
                    <a:pt x="8" y="12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2"/>
                    <a:pt x="9" y="12"/>
                    <a:pt x="10" y="12"/>
                  </a:cubicBezTo>
                  <a:cubicBezTo>
                    <a:pt x="10" y="12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3" y="7"/>
                    <a:pt x="13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0" y="6"/>
                    <a:pt x="10" y="6"/>
                  </a:cubicBezTo>
                  <a:cubicBezTo>
                    <a:pt x="9" y="6"/>
                    <a:pt x="9" y="5"/>
                    <a:pt x="9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9" y="5"/>
                    <a:pt x="8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5" y="1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3"/>
                    <a:pt x="2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597400" y="520700"/>
              <a:ext cx="303212" cy="360363"/>
            </a:xfrm>
            <a:custGeom>
              <a:avLst/>
              <a:gdLst>
                <a:gd name="T0" fmla="*/ 16 w 20"/>
                <a:gd name="T1" fmla="*/ 1 h 24"/>
                <a:gd name="T2" fmla="*/ 13 w 20"/>
                <a:gd name="T3" fmla="*/ 0 h 24"/>
                <a:gd name="T4" fmla="*/ 15 w 20"/>
                <a:gd name="T5" fmla="*/ 5 h 24"/>
                <a:gd name="T6" fmla="*/ 16 w 20"/>
                <a:gd name="T7" fmla="*/ 9 h 24"/>
                <a:gd name="T8" fmla="*/ 17 w 20"/>
                <a:gd name="T9" fmla="*/ 11 h 24"/>
                <a:gd name="T10" fmla="*/ 16 w 20"/>
                <a:gd name="T11" fmla="*/ 14 h 24"/>
                <a:gd name="T12" fmla="*/ 16 w 20"/>
                <a:gd name="T13" fmla="*/ 16 h 24"/>
                <a:gd name="T14" fmla="*/ 16 w 20"/>
                <a:gd name="T15" fmla="*/ 19 h 24"/>
                <a:gd name="T16" fmla="*/ 13 w 20"/>
                <a:gd name="T17" fmla="*/ 22 h 24"/>
                <a:gd name="T18" fmla="*/ 9 w 20"/>
                <a:gd name="T19" fmla="*/ 23 h 24"/>
                <a:gd name="T20" fmla="*/ 8 w 20"/>
                <a:gd name="T21" fmla="*/ 21 h 24"/>
                <a:gd name="T22" fmla="*/ 5 w 20"/>
                <a:gd name="T23" fmla="*/ 18 h 24"/>
                <a:gd name="T24" fmla="*/ 5 w 20"/>
                <a:gd name="T25" fmla="*/ 15 h 24"/>
                <a:gd name="T26" fmla="*/ 6 w 20"/>
                <a:gd name="T27" fmla="*/ 13 h 24"/>
                <a:gd name="T28" fmla="*/ 6 w 20"/>
                <a:gd name="T29" fmla="*/ 12 h 24"/>
                <a:gd name="T30" fmla="*/ 4 w 20"/>
                <a:gd name="T31" fmla="*/ 10 h 24"/>
                <a:gd name="T32" fmla="*/ 6 w 20"/>
                <a:gd name="T33" fmla="*/ 8 h 24"/>
                <a:gd name="T34" fmla="*/ 7 w 20"/>
                <a:gd name="T35" fmla="*/ 6 h 24"/>
                <a:gd name="T36" fmla="*/ 8 w 20"/>
                <a:gd name="T37" fmla="*/ 1 h 24"/>
                <a:gd name="T38" fmla="*/ 7 w 20"/>
                <a:gd name="T39" fmla="*/ 0 h 24"/>
                <a:gd name="T40" fmla="*/ 7 w 20"/>
                <a:gd name="T41" fmla="*/ 0 h 24"/>
                <a:gd name="T42" fmla="*/ 2 w 20"/>
                <a:gd name="T43" fmla="*/ 7 h 24"/>
                <a:gd name="T44" fmla="*/ 2 w 20"/>
                <a:gd name="T45" fmla="*/ 10 h 24"/>
                <a:gd name="T46" fmla="*/ 0 w 20"/>
                <a:gd name="T47" fmla="*/ 10 h 24"/>
                <a:gd name="T48" fmla="*/ 1 w 20"/>
                <a:gd name="T49" fmla="*/ 15 h 24"/>
                <a:gd name="T50" fmla="*/ 3 w 20"/>
                <a:gd name="T51" fmla="*/ 15 h 24"/>
                <a:gd name="T52" fmla="*/ 4 w 20"/>
                <a:gd name="T53" fmla="*/ 19 h 24"/>
                <a:gd name="T54" fmla="*/ 10 w 20"/>
                <a:gd name="T55" fmla="*/ 24 h 24"/>
                <a:gd name="T56" fmla="*/ 13 w 20"/>
                <a:gd name="T57" fmla="*/ 23 h 24"/>
                <a:gd name="T58" fmla="*/ 16 w 20"/>
                <a:gd name="T59" fmla="*/ 19 h 24"/>
                <a:gd name="T60" fmla="*/ 17 w 20"/>
                <a:gd name="T61" fmla="*/ 15 h 24"/>
                <a:gd name="T62" fmla="*/ 19 w 20"/>
                <a:gd name="T63" fmla="*/ 14 h 24"/>
                <a:gd name="T64" fmla="*/ 19 w 20"/>
                <a:gd name="T65" fmla="*/ 9 h 24"/>
                <a:gd name="T66" fmla="*/ 16 w 20"/>
                <a:gd name="T67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" h="24">
                  <a:moveTo>
                    <a:pt x="16" y="1"/>
                  </a:moveTo>
                  <a:cubicBezTo>
                    <a:pt x="15" y="1"/>
                    <a:pt x="14" y="1"/>
                    <a:pt x="13" y="0"/>
                  </a:cubicBezTo>
                  <a:cubicBezTo>
                    <a:pt x="13" y="1"/>
                    <a:pt x="14" y="4"/>
                    <a:pt x="15" y="5"/>
                  </a:cubicBezTo>
                  <a:cubicBezTo>
                    <a:pt x="16" y="6"/>
                    <a:pt x="16" y="9"/>
                    <a:pt x="16" y="9"/>
                  </a:cubicBezTo>
                  <a:cubicBezTo>
                    <a:pt x="16" y="9"/>
                    <a:pt x="17" y="10"/>
                    <a:pt x="17" y="11"/>
                  </a:cubicBezTo>
                  <a:cubicBezTo>
                    <a:pt x="17" y="11"/>
                    <a:pt x="17" y="13"/>
                    <a:pt x="16" y="14"/>
                  </a:cubicBezTo>
                  <a:cubicBezTo>
                    <a:pt x="15" y="16"/>
                    <a:pt x="16" y="16"/>
                    <a:pt x="16" y="16"/>
                  </a:cubicBezTo>
                  <a:cubicBezTo>
                    <a:pt x="16" y="16"/>
                    <a:pt x="16" y="18"/>
                    <a:pt x="16" y="19"/>
                  </a:cubicBezTo>
                  <a:cubicBezTo>
                    <a:pt x="15" y="19"/>
                    <a:pt x="13" y="21"/>
                    <a:pt x="13" y="22"/>
                  </a:cubicBezTo>
                  <a:cubicBezTo>
                    <a:pt x="13" y="22"/>
                    <a:pt x="11" y="23"/>
                    <a:pt x="9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0"/>
                    <a:pt x="6" y="20"/>
                    <a:pt x="5" y="18"/>
                  </a:cubicBezTo>
                  <a:cubicBezTo>
                    <a:pt x="5" y="17"/>
                    <a:pt x="6" y="16"/>
                    <a:pt x="5" y="15"/>
                  </a:cubicBezTo>
                  <a:cubicBezTo>
                    <a:pt x="5" y="14"/>
                    <a:pt x="6" y="13"/>
                    <a:pt x="6" y="13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6" y="12"/>
                    <a:pt x="4" y="11"/>
                    <a:pt x="4" y="10"/>
                  </a:cubicBezTo>
                  <a:cubicBezTo>
                    <a:pt x="4" y="9"/>
                    <a:pt x="7" y="8"/>
                    <a:pt x="6" y="8"/>
                  </a:cubicBezTo>
                  <a:cubicBezTo>
                    <a:pt x="6" y="8"/>
                    <a:pt x="8" y="7"/>
                    <a:pt x="7" y="6"/>
                  </a:cubicBezTo>
                  <a:cubicBezTo>
                    <a:pt x="7" y="5"/>
                    <a:pt x="8" y="1"/>
                    <a:pt x="8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2" y="6"/>
                    <a:pt x="2" y="7"/>
                  </a:cubicBezTo>
                  <a:cubicBezTo>
                    <a:pt x="2" y="8"/>
                    <a:pt x="2" y="10"/>
                    <a:pt x="2" y="10"/>
                  </a:cubicBezTo>
                  <a:cubicBezTo>
                    <a:pt x="2" y="10"/>
                    <a:pt x="0" y="10"/>
                    <a:pt x="0" y="10"/>
                  </a:cubicBezTo>
                  <a:cubicBezTo>
                    <a:pt x="0" y="10"/>
                    <a:pt x="1" y="14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8"/>
                    <a:pt x="4" y="19"/>
                  </a:cubicBezTo>
                  <a:cubicBezTo>
                    <a:pt x="5" y="20"/>
                    <a:pt x="7" y="24"/>
                    <a:pt x="10" y="24"/>
                  </a:cubicBezTo>
                  <a:cubicBezTo>
                    <a:pt x="11" y="23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9"/>
                    <a:pt x="17" y="15"/>
                    <a:pt x="17" y="15"/>
                  </a:cubicBezTo>
                  <a:cubicBezTo>
                    <a:pt x="17" y="15"/>
                    <a:pt x="18" y="15"/>
                    <a:pt x="19" y="14"/>
                  </a:cubicBezTo>
                  <a:cubicBezTo>
                    <a:pt x="19" y="14"/>
                    <a:pt x="20" y="10"/>
                    <a:pt x="19" y="9"/>
                  </a:cubicBezTo>
                  <a:cubicBezTo>
                    <a:pt x="18" y="8"/>
                    <a:pt x="18" y="2"/>
                    <a:pt x="16" y="1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825875" y="881063"/>
              <a:ext cx="104775" cy="149225"/>
            </a:xfrm>
            <a:custGeom>
              <a:avLst/>
              <a:gdLst>
                <a:gd name="T0" fmla="*/ 7 w 7"/>
                <a:gd name="T1" fmla="*/ 1 h 10"/>
                <a:gd name="T2" fmla="*/ 7 w 7"/>
                <a:gd name="T3" fmla="*/ 3 h 10"/>
                <a:gd name="T4" fmla="*/ 1 w 7"/>
                <a:gd name="T5" fmla="*/ 10 h 10"/>
                <a:gd name="T6" fmla="*/ 0 w 7"/>
                <a:gd name="T7" fmla="*/ 9 h 10"/>
                <a:gd name="T8" fmla="*/ 0 w 7"/>
                <a:gd name="T9" fmla="*/ 9 h 10"/>
                <a:gd name="T10" fmla="*/ 1 w 7"/>
                <a:gd name="T11" fmla="*/ 7 h 10"/>
                <a:gd name="T12" fmla="*/ 2 w 7"/>
                <a:gd name="T13" fmla="*/ 5 h 10"/>
                <a:gd name="T14" fmla="*/ 3 w 7"/>
                <a:gd name="T15" fmla="*/ 2 h 10"/>
                <a:gd name="T16" fmla="*/ 5 w 7"/>
                <a:gd name="T17" fmla="*/ 1 h 10"/>
                <a:gd name="T18" fmla="*/ 7 w 7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7" y="1"/>
                  </a:moveTo>
                  <a:cubicBezTo>
                    <a:pt x="7" y="2"/>
                    <a:pt x="7" y="3"/>
                    <a:pt x="7" y="3"/>
                  </a:cubicBezTo>
                  <a:cubicBezTo>
                    <a:pt x="6" y="6"/>
                    <a:pt x="1" y="10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5"/>
                    <a:pt x="2" y="5"/>
                  </a:cubicBezTo>
                  <a:cubicBezTo>
                    <a:pt x="3" y="5"/>
                    <a:pt x="3" y="3"/>
                    <a:pt x="3" y="2"/>
                  </a:cubicBezTo>
                  <a:cubicBezTo>
                    <a:pt x="4" y="2"/>
                    <a:pt x="4" y="0"/>
                    <a:pt x="5" y="1"/>
                  </a:cubicBezTo>
                  <a:cubicBezTo>
                    <a:pt x="6" y="2"/>
                    <a:pt x="7" y="2"/>
                    <a:pt x="7" y="1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63963" y="806450"/>
              <a:ext cx="182562" cy="209550"/>
            </a:xfrm>
            <a:custGeom>
              <a:avLst/>
              <a:gdLst>
                <a:gd name="T0" fmla="*/ 12 w 12"/>
                <a:gd name="T1" fmla="*/ 3 h 14"/>
                <a:gd name="T2" fmla="*/ 12 w 12"/>
                <a:gd name="T3" fmla="*/ 3 h 14"/>
                <a:gd name="T4" fmla="*/ 12 w 12"/>
                <a:gd name="T5" fmla="*/ 3 h 14"/>
                <a:gd name="T6" fmla="*/ 12 w 12"/>
                <a:gd name="T7" fmla="*/ 4 h 14"/>
                <a:gd name="T8" fmla="*/ 12 w 12"/>
                <a:gd name="T9" fmla="*/ 4 h 14"/>
                <a:gd name="T10" fmla="*/ 12 w 12"/>
                <a:gd name="T11" fmla="*/ 4 h 14"/>
                <a:gd name="T12" fmla="*/ 11 w 12"/>
                <a:gd name="T13" fmla="*/ 6 h 14"/>
                <a:gd name="T14" fmla="*/ 11 w 12"/>
                <a:gd name="T15" fmla="*/ 6 h 14"/>
                <a:gd name="T16" fmla="*/ 9 w 12"/>
                <a:gd name="T17" fmla="*/ 6 h 14"/>
                <a:gd name="T18" fmla="*/ 7 w 12"/>
                <a:gd name="T19" fmla="*/ 7 h 14"/>
                <a:gd name="T20" fmla="*/ 6 w 12"/>
                <a:gd name="T21" fmla="*/ 10 h 14"/>
                <a:gd name="T22" fmla="*/ 5 w 12"/>
                <a:gd name="T23" fmla="*/ 12 h 14"/>
                <a:gd name="T24" fmla="*/ 4 w 12"/>
                <a:gd name="T25" fmla="*/ 14 h 14"/>
                <a:gd name="T26" fmla="*/ 4 w 12"/>
                <a:gd name="T27" fmla="*/ 14 h 14"/>
                <a:gd name="T28" fmla="*/ 4 w 12"/>
                <a:gd name="T29" fmla="*/ 14 h 14"/>
                <a:gd name="T30" fmla="*/ 4 w 12"/>
                <a:gd name="T31" fmla="*/ 13 h 14"/>
                <a:gd name="T32" fmla="*/ 4 w 12"/>
                <a:gd name="T33" fmla="*/ 13 h 14"/>
                <a:gd name="T34" fmla="*/ 3 w 12"/>
                <a:gd name="T35" fmla="*/ 13 h 14"/>
                <a:gd name="T36" fmla="*/ 3 w 12"/>
                <a:gd name="T37" fmla="*/ 13 h 14"/>
                <a:gd name="T38" fmla="*/ 2 w 12"/>
                <a:gd name="T39" fmla="*/ 12 h 14"/>
                <a:gd name="T40" fmla="*/ 2 w 12"/>
                <a:gd name="T41" fmla="*/ 11 h 14"/>
                <a:gd name="T42" fmla="*/ 2 w 12"/>
                <a:gd name="T43" fmla="*/ 11 h 14"/>
                <a:gd name="T44" fmla="*/ 2 w 12"/>
                <a:gd name="T45" fmla="*/ 11 h 14"/>
                <a:gd name="T46" fmla="*/ 2 w 12"/>
                <a:gd name="T47" fmla="*/ 11 h 14"/>
                <a:gd name="T48" fmla="*/ 1 w 12"/>
                <a:gd name="T49" fmla="*/ 11 h 14"/>
                <a:gd name="T50" fmla="*/ 1 w 12"/>
                <a:gd name="T51" fmla="*/ 11 h 14"/>
                <a:gd name="T52" fmla="*/ 1 w 12"/>
                <a:gd name="T53" fmla="*/ 11 h 14"/>
                <a:gd name="T54" fmla="*/ 1 w 12"/>
                <a:gd name="T55" fmla="*/ 10 h 14"/>
                <a:gd name="T56" fmla="*/ 1 w 12"/>
                <a:gd name="T57" fmla="*/ 10 h 14"/>
                <a:gd name="T58" fmla="*/ 1 w 12"/>
                <a:gd name="T59" fmla="*/ 10 h 14"/>
                <a:gd name="T60" fmla="*/ 1 w 12"/>
                <a:gd name="T61" fmla="*/ 9 h 14"/>
                <a:gd name="T62" fmla="*/ 1 w 12"/>
                <a:gd name="T63" fmla="*/ 9 h 14"/>
                <a:gd name="T64" fmla="*/ 0 w 12"/>
                <a:gd name="T65" fmla="*/ 8 h 14"/>
                <a:gd name="T66" fmla="*/ 0 w 12"/>
                <a:gd name="T67" fmla="*/ 8 h 14"/>
                <a:gd name="T68" fmla="*/ 0 w 12"/>
                <a:gd name="T69" fmla="*/ 7 h 14"/>
                <a:gd name="T70" fmla="*/ 0 w 12"/>
                <a:gd name="T71" fmla="*/ 7 h 14"/>
                <a:gd name="T72" fmla="*/ 0 w 12"/>
                <a:gd name="T73" fmla="*/ 6 h 14"/>
                <a:gd name="T74" fmla="*/ 0 w 12"/>
                <a:gd name="T75" fmla="*/ 6 h 14"/>
                <a:gd name="T76" fmla="*/ 1 w 12"/>
                <a:gd name="T77" fmla="*/ 5 h 14"/>
                <a:gd name="T78" fmla="*/ 1 w 12"/>
                <a:gd name="T79" fmla="*/ 4 h 14"/>
                <a:gd name="T80" fmla="*/ 2 w 12"/>
                <a:gd name="T81" fmla="*/ 3 h 14"/>
                <a:gd name="T82" fmla="*/ 2 w 12"/>
                <a:gd name="T83" fmla="*/ 1 h 14"/>
                <a:gd name="T84" fmla="*/ 4 w 12"/>
                <a:gd name="T85" fmla="*/ 1 h 14"/>
                <a:gd name="T86" fmla="*/ 4 w 12"/>
                <a:gd name="T87" fmla="*/ 0 h 14"/>
                <a:gd name="T88" fmla="*/ 8 w 12"/>
                <a:gd name="T89" fmla="*/ 0 h 14"/>
                <a:gd name="T90" fmla="*/ 8 w 12"/>
                <a:gd name="T91" fmla="*/ 0 h 14"/>
                <a:gd name="T92" fmla="*/ 9 w 12"/>
                <a:gd name="T93" fmla="*/ 0 h 14"/>
                <a:gd name="T94" fmla="*/ 9 w 12"/>
                <a:gd name="T95" fmla="*/ 1 h 14"/>
                <a:gd name="T96" fmla="*/ 9 w 12"/>
                <a:gd name="T97" fmla="*/ 1 h 14"/>
                <a:gd name="T98" fmla="*/ 9 w 12"/>
                <a:gd name="T99" fmla="*/ 1 h 14"/>
                <a:gd name="T100" fmla="*/ 9 w 12"/>
                <a:gd name="T101" fmla="*/ 1 h 14"/>
                <a:gd name="T102" fmla="*/ 9 w 12"/>
                <a:gd name="T103" fmla="*/ 1 h 14"/>
                <a:gd name="T104" fmla="*/ 9 w 12"/>
                <a:gd name="T105" fmla="*/ 1 h 14"/>
                <a:gd name="T106" fmla="*/ 9 w 12"/>
                <a:gd name="T107" fmla="*/ 1 h 14"/>
                <a:gd name="T108" fmla="*/ 9 w 12"/>
                <a:gd name="T109" fmla="*/ 1 h 14"/>
                <a:gd name="T110" fmla="*/ 9 w 12"/>
                <a:gd name="T111" fmla="*/ 1 h 14"/>
                <a:gd name="T112" fmla="*/ 10 w 12"/>
                <a:gd name="T113" fmla="*/ 1 h 14"/>
                <a:gd name="T114" fmla="*/ 12 w 12"/>
                <a:gd name="T115" fmla="*/ 2 h 14"/>
                <a:gd name="T116" fmla="*/ 12 w 12"/>
                <a:gd name="T117" fmla="*/ 2 h 14"/>
                <a:gd name="T118" fmla="*/ 12 w 12"/>
                <a:gd name="T119" fmla="*/ 2 h 14"/>
                <a:gd name="T120" fmla="*/ 12 w 12"/>
                <a:gd name="T121" fmla="*/ 3 h 14"/>
                <a:gd name="T122" fmla="*/ 12 w 12"/>
                <a:gd name="T12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" h="14"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0" y="7"/>
                    <a:pt x="9" y="6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7" y="8"/>
                    <a:pt x="7" y="10"/>
                    <a:pt x="6" y="10"/>
                  </a:cubicBezTo>
                  <a:cubicBezTo>
                    <a:pt x="6" y="10"/>
                    <a:pt x="5" y="12"/>
                    <a:pt x="5" y="12"/>
                  </a:cubicBezTo>
                  <a:cubicBezTo>
                    <a:pt x="5" y="13"/>
                    <a:pt x="5" y="13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ubicBezTo>
                    <a:pt x="2" y="12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1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63963" y="806450"/>
              <a:ext cx="182562" cy="209550"/>
            </a:xfrm>
            <a:custGeom>
              <a:avLst/>
              <a:gdLst>
                <a:gd name="T0" fmla="*/ 12 w 12"/>
                <a:gd name="T1" fmla="*/ 3 h 14"/>
                <a:gd name="T2" fmla="*/ 12 w 12"/>
                <a:gd name="T3" fmla="*/ 3 h 14"/>
                <a:gd name="T4" fmla="*/ 12 w 12"/>
                <a:gd name="T5" fmla="*/ 3 h 14"/>
                <a:gd name="T6" fmla="*/ 12 w 12"/>
                <a:gd name="T7" fmla="*/ 4 h 14"/>
                <a:gd name="T8" fmla="*/ 12 w 12"/>
                <a:gd name="T9" fmla="*/ 4 h 14"/>
                <a:gd name="T10" fmla="*/ 12 w 12"/>
                <a:gd name="T11" fmla="*/ 4 h 14"/>
                <a:gd name="T12" fmla="*/ 11 w 12"/>
                <a:gd name="T13" fmla="*/ 6 h 14"/>
                <a:gd name="T14" fmla="*/ 11 w 12"/>
                <a:gd name="T15" fmla="*/ 6 h 14"/>
                <a:gd name="T16" fmla="*/ 9 w 12"/>
                <a:gd name="T17" fmla="*/ 6 h 14"/>
                <a:gd name="T18" fmla="*/ 7 w 12"/>
                <a:gd name="T19" fmla="*/ 7 h 14"/>
                <a:gd name="T20" fmla="*/ 6 w 12"/>
                <a:gd name="T21" fmla="*/ 10 h 14"/>
                <a:gd name="T22" fmla="*/ 5 w 12"/>
                <a:gd name="T23" fmla="*/ 12 h 14"/>
                <a:gd name="T24" fmla="*/ 4 w 12"/>
                <a:gd name="T25" fmla="*/ 14 h 14"/>
                <a:gd name="T26" fmla="*/ 4 w 12"/>
                <a:gd name="T27" fmla="*/ 14 h 14"/>
                <a:gd name="T28" fmla="*/ 4 w 12"/>
                <a:gd name="T29" fmla="*/ 14 h 14"/>
                <a:gd name="T30" fmla="*/ 4 w 12"/>
                <a:gd name="T31" fmla="*/ 13 h 14"/>
                <a:gd name="T32" fmla="*/ 4 w 12"/>
                <a:gd name="T33" fmla="*/ 13 h 14"/>
                <a:gd name="T34" fmla="*/ 3 w 12"/>
                <a:gd name="T35" fmla="*/ 13 h 14"/>
                <a:gd name="T36" fmla="*/ 3 w 12"/>
                <a:gd name="T37" fmla="*/ 13 h 14"/>
                <a:gd name="T38" fmla="*/ 2 w 12"/>
                <a:gd name="T39" fmla="*/ 12 h 14"/>
                <a:gd name="T40" fmla="*/ 2 w 12"/>
                <a:gd name="T41" fmla="*/ 11 h 14"/>
                <a:gd name="T42" fmla="*/ 2 w 12"/>
                <a:gd name="T43" fmla="*/ 11 h 14"/>
                <a:gd name="T44" fmla="*/ 2 w 12"/>
                <a:gd name="T45" fmla="*/ 11 h 14"/>
                <a:gd name="T46" fmla="*/ 2 w 12"/>
                <a:gd name="T47" fmla="*/ 11 h 14"/>
                <a:gd name="T48" fmla="*/ 1 w 12"/>
                <a:gd name="T49" fmla="*/ 11 h 14"/>
                <a:gd name="T50" fmla="*/ 1 w 12"/>
                <a:gd name="T51" fmla="*/ 11 h 14"/>
                <a:gd name="T52" fmla="*/ 1 w 12"/>
                <a:gd name="T53" fmla="*/ 11 h 14"/>
                <a:gd name="T54" fmla="*/ 1 w 12"/>
                <a:gd name="T55" fmla="*/ 10 h 14"/>
                <a:gd name="T56" fmla="*/ 1 w 12"/>
                <a:gd name="T57" fmla="*/ 10 h 14"/>
                <a:gd name="T58" fmla="*/ 1 w 12"/>
                <a:gd name="T59" fmla="*/ 10 h 14"/>
                <a:gd name="T60" fmla="*/ 1 w 12"/>
                <a:gd name="T61" fmla="*/ 9 h 14"/>
                <a:gd name="T62" fmla="*/ 1 w 12"/>
                <a:gd name="T63" fmla="*/ 9 h 14"/>
                <a:gd name="T64" fmla="*/ 0 w 12"/>
                <a:gd name="T65" fmla="*/ 8 h 14"/>
                <a:gd name="T66" fmla="*/ 0 w 12"/>
                <a:gd name="T67" fmla="*/ 8 h 14"/>
                <a:gd name="T68" fmla="*/ 0 w 12"/>
                <a:gd name="T69" fmla="*/ 7 h 14"/>
                <a:gd name="T70" fmla="*/ 0 w 12"/>
                <a:gd name="T71" fmla="*/ 7 h 14"/>
                <a:gd name="T72" fmla="*/ 0 w 12"/>
                <a:gd name="T73" fmla="*/ 6 h 14"/>
                <a:gd name="T74" fmla="*/ 3 w 12"/>
                <a:gd name="T75" fmla="*/ 6 h 14"/>
                <a:gd name="T76" fmla="*/ 4 w 12"/>
                <a:gd name="T77" fmla="*/ 6 h 14"/>
                <a:gd name="T78" fmla="*/ 2 w 12"/>
                <a:gd name="T79" fmla="*/ 5 h 14"/>
                <a:gd name="T80" fmla="*/ 5 w 12"/>
                <a:gd name="T81" fmla="*/ 5 h 14"/>
                <a:gd name="T82" fmla="*/ 6 w 12"/>
                <a:gd name="T83" fmla="*/ 4 h 14"/>
                <a:gd name="T84" fmla="*/ 3 w 12"/>
                <a:gd name="T85" fmla="*/ 3 h 14"/>
                <a:gd name="T86" fmla="*/ 6 w 12"/>
                <a:gd name="T87" fmla="*/ 3 h 14"/>
                <a:gd name="T88" fmla="*/ 7 w 12"/>
                <a:gd name="T89" fmla="*/ 1 h 14"/>
                <a:gd name="T90" fmla="*/ 8 w 12"/>
                <a:gd name="T91" fmla="*/ 0 h 14"/>
                <a:gd name="T92" fmla="*/ 9 w 12"/>
                <a:gd name="T93" fmla="*/ 0 h 14"/>
                <a:gd name="T94" fmla="*/ 9 w 12"/>
                <a:gd name="T95" fmla="*/ 1 h 14"/>
                <a:gd name="T96" fmla="*/ 9 w 12"/>
                <a:gd name="T97" fmla="*/ 1 h 14"/>
                <a:gd name="T98" fmla="*/ 9 w 12"/>
                <a:gd name="T99" fmla="*/ 1 h 14"/>
                <a:gd name="T100" fmla="*/ 9 w 12"/>
                <a:gd name="T101" fmla="*/ 1 h 14"/>
                <a:gd name="T102" fmla="*/ 9 w 12"/>
                <a:gd name="T103" fmla="*/ 1 h 14"/>
                <a:gd name="T104" fmla="*/ 9 w 12"/>
                <a:gd name="T105" fmla="*/ 1 h 14"/>
                <a:gd name="T106" fmla="*/ 9 w 12"/>
                <a:gd name="T107" fmla="*/ 1 h 14"/>
                <a:gd name="T108" fmla="*/ 9 w 12"/>
                <a:gd name="T109" fmla="*/ 1 h 14"/>
                <a:gd name="T110" fmla="*/ 9 w 12"/>
                <a:gd name="T111" fmla="*/ 1 h 14"/>
                <a:gd name="T112" fmla="*/ 9 w 12"/>
                <a:gd name="T113" fmla="*/ 1 h 14"/>
                <a:gd name="T114" fmla="*/ 9 w 12"/>
                <a:gd name="T115" fmla="*/ 3 h 14"/>
                <a:gd name="T116" fmla="*/ 12 w 12"/>
                <a:gd name="T117" fmla="*/ 2 h 14"/>
                <a:gd name="T118" fmla="*/ 12 w 12"/>
                <a:gd name="T119" fmla="*/ 2 h 14"/>
                <a:gd name="T120" fmla="*/ 12 w 12"/>
                <a:gd name="T121" fmla="*/ 2 h 14"/>
                <a:gd name="T122" fmla="*/ 12 w 12"/>
                <a:gd name="T123" fmla="*/ 3 h 14"/>
                <a:gd name="T124" fmla="*/ 12 w 12"/>
                <a:gd name="T12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" h="14"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0" y="7"/>
                    <a:pt x="9" y="6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7" y="8"/>
                    <a:pt x="7" y="10"/>
                    <a:pt x="6" y="10"/>
                  </a:cubicBezTo>
                  <a:cubicBezTo>
                    <a:pt x="6" y="10"/>
                    <a:pt x="5" y="12"/>
                    <a:pt x="5" y="12"/>
                  </a:cubicBezTo>
                  <a:cubicBezTo>
                    <a:pt x="5" y="13"/>
                    <a:pt x="5" y="13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ubicBezTo>
                    <a:pt x="2" y="12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5" y="3"/>
                    <a:pt x="6" y="3"/>
                  </a:cubicBezTo>
                  <a:cubicBezTo>
                    <a:pt x="7" y="2"/>
                    <a:pt x="6" y="1"/>
                    <a:pt x="7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1" y="3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63963" y="865188"/>
              <a:ext cx="879475" cy="1141413"/>
            </a:xfrm>
            <a:custGeom>
              <a:avLst/>
              <a:gdLst>
                <a:gd name="T0" fmla="*/ 35 w 58"/>
                <a:gd name="T1" fmla="*/ 76 h 76"/>
                <a:gd name="T2" fmla="*/ 51 w 58"/>
                <a:gd name="T3" fmla="*/ 47 h 76"/>
                <a:gd name="T4" fmla="*/ 58 w 58"/>
                <a:gd name="T5" fmla="*/ 0 h 76"/>
                <a:gd name="T6" fmla="*/ 52 w 58"/>
                <a:gd name="T7" fmla="*/ 3 h 76"/>
                <a:gd name="T8" fmla="*/ 42 w 58"/>
                <a:gd name="T9" fmla="*/ 4 h 76"/>
                <a:gd name="T10" fmla="*/ 33 w 58"/>
                <a:gd name="T11" fmla="*/ 12 h 76"/>
                <a:gd name="T12" fmla="*/ 21 w 58"/>
                <a:gd name="T13" fmla="*/ 16 h 76"/>
                <a:gd name="T14" fmla="*/ 11 w 58"/>
                <a:gd name="T15" fmla="*/ 4 h 76"/>
                <a:gd name="T16" fmla="*/ 3 w 58"/>
                <a:gd name="T17" fmla="*/ 11 h 76"/>
                <a:gd name="T18" fmla="*/ 3 w 58"/>
                <a:gd name="T19" fmla="*/ 8 h 76"/>
                <a:gd name="T20" fmla="*/ 1 w 58"/>
                <a:gd name="T21" fmla="*/ 12 h 76"/>
                <a:gd name="T22" fmla="*/ 17 w 58"/>
                <a:gd name="T23" fmla="*/ 28 h 76"/>
                <a:gd name="T24" fmla="*/ 41 w 58"/>
                <a:gd name="T25" fmla="*/ 23 h 76"/>
                <a:gd name="T26" fmla="*/ 39 w 58"/>
                <a:gd name="T27" fmla="*/ 48 h 76"/>
                <a:gd name="T28" fmla="*/ 35 w 58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76">
                  <a:moveTo>
                    <a:pt x="35" y="76"/>
                  </a:moveTo>
                  <a:cubicBezTo>
                    <a:pt x="35" y="76"/>
                    <a:pt x="50" y="58"/>
                    <a:pt x="51" y="47"/>
                  </a:cubicBezTo>
                  <a:cubicBezTo>
                    <a:pt x="53" y="37"/>
                    <a:pt x="56" y="4"/>
                    <a:pt x="58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34" y="12"/>
                    <a:pt x="33" y="12"/>
                  </a:cubicBezTo>
                  <a:cubicBezTo>
                    <a:pt x="32" y="13"/>
                    <a:pt x="21" y="16"/>
                    <a:pt x="21" y="16"/>
                  </a:cubicBezTo>
                  <a:cubicBezTo>
                    <a:pt x="21" y="16"/>
                    <a:pt x="14" y="14"/>
                    <a:pt x="11" y="4"/>
                  </a:cubicBezTo>
                  <a:cubicBezTo>
                    <a:pt x="11" y="4"/>
                    <a:pt x="5" y="13"/>
                    <a:pt x="3" y="11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0" y="11"/>
                    <a:pt x="1" y="12"/>
                  </a:cubicBezTo>
                  <a:cubicBezTo>
                    <a:pt x="1" y="12"/>
                    <a:pt x="14" y="29"/>
                    <a:pt x="17" y="28"/>
                  </a:cubicBezTo>
                  <a:cubicBezTo>
                    <a:pt x="19" y="28"/>
                    <a:pt x="33" y="29"/>
                    <a:pt x="41" y="23"/>
                  </a:cubicBezTo>
                  <a:cubicBezTo>
                    <a:pt x="41" y="23"/>
                    <a:pt x="40" y="43"/>
                    <a:pt x="39" y="48"/>
                  </a:cubicBezTo>
                  <a:cubicBezTo>
                    <a:pt x="38" y="54"/>
                    <a:pt x="33" y="71"/>
                    <a:pt x="35" y="76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40288" y="865188"/>
              <a:ext cx="787400" cy="1125538"/>
            </a:xfrm>
            <a:custGeom>
              <a:avLst/>
              <a:gdLst>
                <a:gd name="T0" fmla="*/ 0 w 52"/>
                <a:gd name="T1" fmla="*/ 0 h 75"/>
                <a:gd name="T2" fmla="*/ 9 w 52"/>
                <a:gd name="T3" fmla="*/ 37 h 75"/>
                <a:gd name="T4" fmla="*/ 20 w 52"/>
                <a:gd name="T5" fmla="*/ 73 h 75"/>
                <a:gd name="T6" fmla="*/ 23 w 52"/>
                <a:gd name="T7" fmla="*/ 75 h 75"/>
                <a:gd name="T8" fmla="*/ 20 w 52"/>
                <a:gd name="T9" fmla="*/ 46 h 75"/>
                <a:gd name="T10" fmla="*/ 19 w 52"/>
                <a:gd name="T11" fmla="*/ 24 h 75"/>
                <a:gd name="T12" fmla="*/ 19 w 52"/>
                <a:gd name="T13" fmla="*/ 23 h 75"/>
                <a:gd name="T14" fmla="*/ 39 w 52"/>
                <a:gd name="T15" fmla="*/ 27 h 75"/>
                <a:gd name="T16" fmla="*/ 52 w 52"/>
                <a:gd name="T17" fmla="*/ 16 h 75"/>
                <a:gd name="T18" fmla="*/ 50 w 52"/>
                <a:gd name="T19" fmla="*/ 12 h 75"/>
                <a:gd name="T20" fmla="*/ 49 w 52"/>
                <a:gd name="T21" fmla="*/ 17 h 75"/>
                <a:gd name="T22" fmla="*/ 41 w 52"/>
                <a:gd name="T23" fmla="*/ 9 h 75"/>
                <a:gd name="T24" fmla="*/ 35 w 52"/>
                <a:gd name="T25" fmla="*/ 15 h 75"/>
                <a:gd name="T26" fmla="*/ 28 w 52"/>
                <a:gd name="T27" fmla="*/ 12 h 75"/>
                <a:gd name="T28" fmla="*/ 24 w 52"/>
                <a:gd name="T29" fmla="*/ 11 h 75"/>
                <a:gd name="T30" fmla="*/ 18 w 52"/>
                <a:gd name="T31" fmla="*/ 6 h 75"/>
                <a:gd name="T32" fmla="*/ 19 w 52"/>
                <a:gd name="T33" fmla="*/ 6 h 75"/>
                <a:gd name="T34" fmla="*/ 16 w 52"/>
                <a:gd name="T35" fmla="*/ 4 h 75"/>
                <a:gd name="T36" fmla="*/ 8 w 52"/>
                <a:gd name="T37" fmla="*/ 3 h 75"/>
                <a:gd name="T38" fmla="*/ 4 w 52"/>
                <a:gd name="T39" fmla="*/ 2 h 75"/>
                <a:gd name="T40" fmla="*/ 0 w 52"/>
                <a:gd name="T4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" h="75">
                  <a:moveTo>
                    <a:pt x="0" y="0"/>
                  </a:moveTo>
                  <a:cubicBezTo>
                    <a:pt x="0" y="0"/>
                    <a:pt x="7" y="33"/>
                    <a:pt x="9" y="37"/>
                  </a:cubicBezTo>
                  <a:cubicBezTo>
                    <a:pt x="11" y="41"/>
                    <a:pt x="20" y="71"/>
                    <a:pt x="20" y="73"/>
                  </a:cubicBezTo>
                  <a:cubicBezTo>
                    <a:pt x="20" y="73"/>
                    <a:pt x="22" y="75"/>
                    <a:pt x="23" y="75"/>
                  </a:cubicBezTo>
                  <a:cubicBezTo>
                    <a:pt x="23" y="75"/>
                    <a:pt x="20" y="50"/>
                    <a:pt x="20" y="46"/>
                  </a:cubicBezTo>
                  <a:cubicBezTo>
                    <a:pt x="20" y="43"/>
                    <a:pt x="17" y="28"/>
                    <a:pt x="19" y="24"/>
                  </a:cubicBezTo>
                  <a:cubicBezTo>
                    <a:pt x="20" y="21"/>
                    <a:pt x="19" y="23"/>
                    <a:pt x="19" y="23"/>
                  </a:cubicBezTo>
                  <a:cubicBezTo>
                    <a:pt x="19" y="23"/>
                    <a:pt x="31" y="30"/>
                    <a:pt x="39" y="27"/>
                  </a:cubicBezTo>
                  <a:cubicBezTo>
                    <a:pt x="47" y="24"/>
                    <a:pt x="52" y="16"/>
                    <a:pt x="52" y="1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1" y="17"/>
                    <a:pt x="49" y="17"/>
                  </a:cubicBezTo>
                  <a:cubicBezTo>
                    <a:pt x="49" y="17"/>
                    <a:pt x="42" y="9"/>
                    <a:pt x="41" y="9"/>
                  </a:cubicBezTo>
                  <a:cubicBezTo>
                    <a:pt x="41" y="9"/>
                    <a:pt x="36" y="14"/>
                    <a:pt x="35" y="15"/>
                  </a:cubicBezTo>
                  <a:cubicBezTo>
                    <a:pt x="35" y="15"/>
                    <a:pt x="30" y="12"/>
                    <a:pt x="28" y="12"/>
                  </a:cubicBezTo>
                  <a:cubicBezTo>
                    <a:pt x="28" y="12"/>
                    <a:pt x="25" y="10"/>
                    <a:pt x="24" y="11"/>
                  </a:cubicBezTo>
                  <a:cubicBezTo>
                    <a:pt x="24" y="11"/>
                    <a:pt x="19" y="6"/>
                    <a:pt x="18" y="6"/>
                  </a:cubicBezTo>
                  <a:cubicBezTo>
                    <a:pt x="16" y="6"/>
                    <a:pt x="19" y="6"/>
                    <a:pt x="19" y="6"/>
                  </a:cubicBezTo>
                  <a:cubicBezTo>
                    <a:pt x="19" y="6"/>
                    <a:pt x="18" y="6"/>
                    <a:pt x="16" y="4"/>
                  </a:cubicBezTo>
                  <a:cubicBezTo>
                    <a:pt x="14" y="3"/>
                    <a:pt x="9" y="4"/>
                    <a:pt x="8" y="3"/>
                  </a:cubicBezTo>
                  <a:cubicBezTo>
                    <a:pt x="7" y="3"/>
                    <a:pt x="4" y="2"/>
                    <a:pt x="4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930775" y="969963"/>
              <a:ext cx="696912" cy="1020763"/>
            </a:xfrm>
            <a:custGeom>
              <a:avLst/>
              <a:gdLst>
                <a:gd name="T0" fmla="*/ 43 w 46"/>
                <a:gd name="T1" fmla="*/ 10 h 68"/>
                <a:gd name="T2" fmla="*/ 38 w 46"/>
                <a:gd name="T3" fmla="*/ 4 h 68"/>
                <a:gd name="T4" fmla="*/ 31 w 46"/>
                <a:gd name="T5" fmla="*/ 13 h 68"/>
                <a:gd name="T6" fmla="*/ 22 w 46"/>
                <a:gd name="T7" fmla="*/ 16 h 68"/>
                <a:gd name="T8" fmla="*/ 26 w 46"/>
                <a:gd name="T9" fmla="*/ 12 h 68"/>
                <a:gd name="T10" fmla="*/ 20 w 46"/>
                <a:gd name="T11" fmla="*/ 12 h 68"/>
                <a:gd name="T12" fmla="*/ 14 w 46"/>
                <a:gd name="T13" fmla="*/ 11 h 68"/>
                <a:gd name="T14" fmla="*/ 12 w 46"/>
                <a:gd name="T15" fmla="*/ 6 h 68"/>
                <a:gd name="T16" fmla="*/ 9 w 46"/>
                <a:gd name="T17" fmla="*/ 0 h 68"/>
                <a:gd name="T18" fmla="*/ 11 w 46"/>
                <a:gd name="T19" fmla="*/ 9 h 68"/>
                <a:gd name="T20" fmla="*/ 9 w 46"/>
                <a:gd name="T21" fmla="*/ 4 h 68"/>
                <a:gd name="T22" fmla="*/ 9 w 46"/>
                <a:gd name="T23" fmla="*/ 17 h 68"/>
                <a:gd name="T24" fmla="*/ 8 w 46"/>
                <a:gd name="T25" fmla="*/ 34 h 68"/>
                <a:gd name="T26" fmla="*/ 3 w 46"/>
                <a:gd name="T27" fmla="*/ 21 h 68"/>
                <a:gd name="T28" fmla="*/ 3 w 46"/>
                <a:gd name="T29" fmla="*/ 1 h 68"/>
                <a:gd name="T30" fmla="*/ 0 w 46"/>
                <a:gd name="T31" fmla="*/ 22 h 68"/>
                <a:gd name="T32" fmla="*/ 3 w 46"/>
                <a:gd name="T33" fmla="*/ 30 h 68"/>
                <a:gd name="T34" fmla="*/ 14 w 46"/>
                <a:gd name="T35" fmla="*/ 66 h 68"/>
                <a:gd name="T36" fmla="*/ 17 w 46"/>
                <a:gd name="T37" fmla="*/ 68 h 68"/>
                <a:gd name="T38" fmla="*/ 14 w 46"/>
                <a:gd name="T39" fmla="*/ 39 h 68"/>
                <a:gd name="T40" fmla="*/ 13 w 46"/>
                <a:gd name="T41" fmla="*/ 17 h 68"/>
                <a:gd name="T42" fmla="*/ 13 w 46"/>
                <a:gd name="T43" fmla="*/ 16 h 68"/>
                <a:gd name="T44" fmla="*/ 33 w 46"/>
                <a:gd name="T45" fmla="*/ 20 h 68"/>
                <a:gd name="T46" fmla="*/ 46 w 46"/>
                <a:gd name="T47" fmla="*/ 9 h 68"/>
                <a:gd name="T48" fmla="*/ 44 w 46"/>
                <a:gd name="T49" fmla="*/ 5 h 68"/>
                <a:gd name="T50" fmla="*/ 43 w 46"/>
                <a:gd name="T51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6" h="68">
                  <a:moveTo>
                    <a:pt x="43" y="10"/>
                  </a:moveTo>
                  <a:cubicBezTo>
                    <a:pt x="43" y="10"/>
                    <a:pt x="40" y="6"/>
                    <a:pt x="38" y="4"/>
                  </a:cubicBezTo>
                  <a:cubicBezTo>
                    <a:pt x="35" y="7"/>
                    <a:pt x="33" y="12"/>
                    <a:pt x="31" y="13"/>
                  </a:cubicBezTo>
                  <a:cubicBezTo>
                    <a:pt x="28" y="15"/>
                    <a:pt x="25" y="15"/>
                    <a:pt x="22" y="16"/>
                  </a:cubicBezTo>
                  <a:cubicBezTo>
                    <a:pt x="20" y="16"/>
                    <a:pt x="25" y="14"/>
                    <a:pt x="26" y="12"/>
                  </a:cubicBezTo>
                  <a:cubicBezTo>
                    <a:pt x="26" y="12"/>
                    <a:pt x="22" y="13"/>
                    <a:pt x="20" y="12"/>
                  </a:cubicBezTo>
                  <a:cubicBezTo>
                    <a:pt x="18" y="11"/>
                    <a:pt x="15" y="10"/>
                    <a:pt x="14" y="11"/>
                  </a:cubicBezTo>
                  <a:cubicBezTo>
                    <a:pt x="14" y="11"/>
                    <a:pt x="13" y="7"/>
                    <a:pt x="12" y="6"/>
                  </a:cubicBezTo>
                  <a:cubicBezTo>
                    <a:pt x="11" y="4"/>
                    <a:pt x="9" y="0"/>
                    <a:pt x="9" y="0"/>
                  </a:cubicBezTo>
                  <a:cubicBezTo>
                    <a:pt x="9" y="0"/>
                    <a:pt x="13" y="7"/>
                    <a:pt x="11" y="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7" y="14"/>
                    <a:pt x="9" y="17"/>
                  </a:cubicBezTo>
                  <a:cubicBezTo>
                    <a:pt x="10" y="21"/>
                    <a:pt x="10" y="33"/>
                    <a:pt x="8" y="34"/>
                  </a:cubicBezTo>
                  <a:cubicBezTo>
                    <a:pt x="8" y="34"/>
                    <a:pt x="4" y="24"/>
                    <a:pt x="3" y="21"/>
                  </a:cubicBezTo>
                  <a:cubicBezTo>
                    <a:pt x="3" y="21"/>
                    <a:pt x="3" y="3"/>
                    <a:pt x="3" y="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26"/>
                    <a:pt x="2" y="29"/>
                    <a:pt x="3" y="30"/>
                  </a:cubicBezTo>
                  <a:cubicBezTo>
                    <a:pt x="5" y="34"/>
                    <a:pt x="14" y="64"/>
                    <a:pt x="14" y="66"/>
                  </a:cubicBezTo>
                  <a:cubicBezTo>
                    <a:pt x="14" y="66"/>
                    <a:pt x="16" y="68"/>
                    <a:pt x="17" y="68"/>
                  </a:cubicBezTo>
                  <a:cubicBezTo>
                    <a:pt x="17" y="68"/>
                    <a:pt x="14" y="43"/>
                    <a:pt x="14" y="39"/>
                  </a:cubicBezTo>
                  <a:cubicBezTo>
                    <a:pt x="14" y="36"/>
                    <a:pt x="11" y="21"/>
                    <a:pt x="13" y="17"/>
                  </a:cubicBezTo>
                  <a:cubicBezTo>
                    <a:pt x="13" y="17"/>
                    <a:pt x="13" y="16"/>
                    <a:pt x="13" y="16"/>
                  </a:cubicBezTo>
                  <a:cubicBezTo>
                    <a:pt x="15" y="17"/>
                    <a:pt x="26" y="22"/>
                    <a:pt x="33" y="20"/>
                  </a:cubicBezTo>
                  <a:cubicBezTo>
                    <a:pt x="41" y="17"/>
                    <a:pt x="46" y="9"/>
                    <a:pt x="46" y="9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5" y="10"/>
                    <a:pt x="43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460875" y="985838"/>
              <a:ext cx="152400" cy="495300"/>
            </a:xfrm>
            <a:custGeom>
              <a:avLst/>
              <a:gdLst>
                <a:gd name="T0" fmla="*/ 7 w 10"/>
                <a:gd name="T1" fmla="*/ 24 h 33"/>
                <a:gd name="T2" fmla="*/ 10 w 10"/>
                <a:gd name="T3" fmla="*/ 4 h 33"/>
                <a:gd name="T4" fmla="*/ 6 w 10"/>
                <a:gd name="T5" fmla="*/ 12 h 33"/>
                <a:gd name="T6" fmla="*/ 5 w 10"/>
                <a:gd name="T7" fmla="*/ 0 h 33"/>
                <a:gd name="T8" fmla="*/ 4 w 10"/>
                <a:gd name="T9" fmla="*/ 12 h 33"/>
                <a:gd name="T10" fmla="*/ 2 w 10"/>
                <a:gd name="T11" fmla="*/ 33 h 33"/>
                <a:gd name="T12" fmla="*/ 5 w 10"/>
                <a:gd name="T13" fmla="*/ 16 h 33"/>
                <a:gd name="T14" fmla="*/ 7 w 10"/>
                <a:gd name="T15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33">
                  <a:moveTo>
                    <a:pt x="7" y="24"/>
                  </a:moveTo>
                  <a:cubicBezTo>
                    <a:pt x="8" y="18"/>
                    <a:pt x="9" y="10"/>
                    <a:pt x="10" y="4"/>
                  </a:cubicBezTo>
                  <a:cubicBezTo>
                    <a:pt x="7" y="7"/>
                    <a:pt x="6" y="12"/>
                    <a:pt x="6" y="12"/>
                  </a:cubicBezTo>
                  <a:cubicBezTo>
                    <a:pt x="4" y="9"/>
                    <a:pt x="5" y="0"/>
                    <a:pt x="5" y="0"/>
                  </a:cubicBezTo>
                  <a:cubicBezTo>
                    <a:pt x="4" y="2"/>
                    <a:pt x="4" y="12"/>
                    <a:pt x="4" y="12"/>
                  </a:cubicBezTo>
                  <a:cubicBezTo>
                    <a:pt x="0" y="16"/>
                    <a:pt x="2" y="33"/>
                    <a:pt x="2" y="33"/>
                  </a:cubicBezTo>
                  <a:cubicBezTo>
                    <a:pt x="1" y="27"/>
                    <a:pt x="5" y="16"/>
                    <a:pt x="5" y="16"/>
                  </a:cubicBezTo>
                  <a:cubicBezTo>
                    <a:pt x="5" y="19"/>
                    <a:pt x="6" y="22"/>
                    <a:pt x="7" y="2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63963" y="955675"/>
              <a:ext cx="636587" cy="344488"/>
            </a:xfrm>
            <a:custGeom>
              <a:avLst/>
              <a:gdLst>
                <a:gd name="T0" fmla="*/ 42 w 42"/>
                <a:gd name="T1" fmla="*/ 0 h 23"/>
                <a:gd name="T2" fmla="*/ 39 w 42"/>
                <a:gd name="T3" fmla="*/ 8 h 23"/>
                <a:gd name="T4" fmla="*/ 34 w 42"/>
                <a:gd name="T5" fmla="*/ 6 h 23"/>
                <a:gd name="T6" fmla="*/ 34 w 42"/>
                <a:gd name="T7" fmla="*/ 6 h 23"/>
                <a:gd name="T8" fmla="*/ 37 w 42"/>
                <a:gd name="T9" fmla="*/ 9 h 23"/>
                <a:gd name="T10" fmla="*/ 32 w 42"/>
                <a:gd name="T11" fmla="*/ 14 h 23"/>
                <a:gd name="T12" fmla="*/ 25 w 42"/>
                <a:gd name="T13" fmla="*/ 11 h 23"/>
                <a:gd name="T14" fmla="*/ 27 w 42"/>
                <a:gd name="T15" fmla="*/ 16 h 23"/>
                <a:gd name="T16" fmla="*/ 17 w 42"/>
                <a:gd name="T17" fmla="*/ 8 h 23"/>
                <a:gd name="T18" fmla="*/ 16 w 42"/>
                <a:gd name="T19" fmla="*/ 7 h 23"/>
                <a:gd name="T20" fmla="*/ 16 w 42"/>
                <a:gd name="T21" fmla="*/ 7 h 23"/>
                <a:gd name="T22" fmla="*/ 21 w 42"/>
                <a:gd name="T23" fmla="*/ 18 h 23"/>
                <a:gd name="T24" fmla="*/ 17 w 42"/>
                <a:gd name="T25" fmla="*/ 12 h 23"/>
                <a:gd name="T26" fmla="*/ 15 w 42"/>
                <a:gd name="T27" fmla="*/ 14 h 23"/>
                <a:gd name="T28" fmla="*/ 9 w 42"/>
                <a:gd name="T29" fmla="*/ 1 h 23"/>
                <a:gd name="T30" fmla="*/ 2 w 42"/>
                <a:gd name="T31" fmla="*/ 5 h 23"/>
                <a:gd name="T32" fmla="*/ 3 w 42"/>
                <a:gd name="T33" fmla="*/ 2 h 23"/>
                <a:gd name="T34" fmla="*/ 1 w 42"/>
                <a:gd name="T35" fmla="*/ 6 h 23"/>
                <a:gd name="T36" fmla="*/ 17 w 42"/>
                <a:gd name="T37" fmla="*/ 22 h 23"/>
                <a:gd name="T38" fmla="*/ 41 w 42"/>
                <a:gd name="T39" fmla="*/ 17 h 23"/>
                <a:gd name="T40" fmla="*/ 42 w 42"/>
                <a:gd name="T4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3">
                  <a:moveTo>
                    <a:pt x="42" y="0"/>
                  </a:moveTo>
                  <a:cubicBezTo>
                    <a:pt x="41" y="2"/>
                    <a:pt x="39" y="8"/>
                    <a:pt x="39" y="8"/>
                  </a:cubicBezTo>
                  <a:cubicBezTo>
                    <a:pt x="37" y="8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5" y="10"/>
                    <a:pt x="37" y="13"/>
                    <a:pt x="32" y="14"/>
                  </a:cubicBezTo>
                  <a:cubicBezTo>
                    <a:pt x="27" y="15"/>
                    <a:pt x="25" y="11"/>
                    <a:pt x="25" y="11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22" y="14"/>
                    <a:pt x="21" y="18"/>
                    <a:pt x="21" y="18"/>
                  </a:cubicBezTo>
                  <a:cubicBezTo>
                    <a:pt x="21" y="16"/>
                    <a:pt x="17" y="12"/>
                    <a:pt x="17" y="12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3" y="13"/>
                    <a:pt x="10" y="6"/>
                    <a:pt x="9" y="1"/>
                  </a:cubicBezTo>
                  <a:cubicBezTo>
                    <a:pt x="7" y="3"/>
                    <a:pt x="4" y="7"/>
                    <a:pt x="2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0" y="5"/>
                    <a:pt x="1" y="6"/>
                  </a:cubicBezTo>
                  <a:cubicBezTo>
                    <a:pt x="1" y="6"/>
                    <a:pt x="14" y="23"/>
                    <a:pt x="17" y="22"/>
                  </a:cubicBezTo>
                  <a:cubicBezTo>
                    <a:pt x="19" y="22"/>
                    <a:pt x="33" y="23"/>
                    <a:pt x="41" y="17"/>
                  </a:cubicBezTo>
                  <a:cubicBezTo>
                    <a:pt x="41" y="13"/>
                    <a:pt x="42" y="0"/>
                    <a:pt x="42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687888" y="911225"/>
              <a:ext cx="152400" cy="795338"/>
            </a:xfrm>
            <a:custGeom>
              <a:avLst/>
              <a:gdLst>
                <a:gd name="T0" fmla="*/ 0 w 96"/>
                <a:gd name="T1" fmla="*/ 37 h 501"/>
                <a:gd name="T2" fmla="*/ 29 w 96"/>
                <a:gd name="T3" fmla="*/ 66 h 501"/>
                <a:gd name="T4" fmla="*/ 10 w 96"/>
                <a:gd name="T5" fmla="*/ 113 h 501"/>
                <a:gd name="T6" fmla="*/ 10 w 96"/>
                <a:gd name="T7" fmla="*/ 463 h 501"/>
                <a:gd name="T8" fmla="*/ 48 w 96"/>
                <a:gd name="T9" fmla="*/ 501 h 501"/>
                <a:gd name="T10" fmla="*/ 96 w 96"/>
                <a:gd name="T11" fmla="*/ 463 h 501"/>
                <a:gd name="T12" fmla="*/ 77 w 96"/>
                <a:gd name="T13" fmla="*/ 113 h 501"/>
                <a:gd name="T14" fmla="*/ 48 w 96"/>
                <a:gd name="T15" fmla="*/ 66 h 501"/>
                <a:gd name="T16" fmla="*/ 67 w 96"/>
                <a:gd name="T17" fmla="*/ 37 h 501"/>
                <a:gd name="T18" fmla="*/ 48 w 96"/>
                <a:gd name="T19" fmla="*/ 9 h 501"/>
                <a:gd name="T20" fmla="*/ 19 w 96"/>
                <a:gd name="T21" fmla="*/ 0 h 501"/>
                <a:gd name="T22" fmla="*/ 0 w 96"/>
                <a:gd name="T23" fmla="*/ 3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01">
                  <a:moveTo>
                    <a:pt x="0" y="37"/>
                  </a:moveTo>
                  <a:lnTo>
                    <a:pt x="29" y="66"/>
                  </a:lnTo>
                  <a:lnTo>
                    <a:pt x="10" y="113"/>
                  </a:lnTo>
                  <a:lnTo>
                    <a:pt x="10" y="463"/>
                  </a:lnTo>
                  <a:lnTo>
                    <a:pt x="48" y="501"/>
                  </a:lnTo>
                  <a:lnTo>
                    <a:pt x="96" y="463"/>
                  </a:lnTo>
                  <a:lnTo>
                    <a:pt x="77" y="113"/>
                  </a:lnTo>
                  <a:lnTo>
                    <a:pt x="48" y="66"/>
                  </a:lnTo>
                  <a:lnTo>
                    <a:pt x="67" y="37"/>
                  </a:lnTo>
                  <a:lnTo>
                    <a:pt x="48" y="9"/>
                  </a:lnTo>
                  <a:lnTo>
                    <a:pt x="19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613275" y="3146425"/>
              <a:ext cx="196850" cy="211138"/>
            </a:xfrm>
            <a:custGeom>
              <a:avLst/>
              <a:gdLst>
                <a:gd name="T0" fmla="*/ 2 w 13"/>
                <a:gd name="T1" fmla="*/ 2 h 14"/>
                <a:gd name="T2" fmla="*/ 2 w 13"/>
                <a:gd name="T3" fmla="*/ 8 h 14"/>
                <a:gd name="T4" fmla="*/ 0 w 13"/>
                <a:gd name="T5" fmla="*/ 13 h 14"/>
                <a:gd name="T6" fmla="*/ 8 w 13"/>
                <a:gd name="T7" fmla="*/ 14 h 14"/>
                <a:gd name="T8" fmla="*/ 12 w 13"/>
                <a:gd name="T9" fmla="*/ 11 h 14"/>
                <a:gd name="T10" fmla="*/ 12 w 13"/>
                <a:gd name="T11" fmla="*/ 2 h 14"/>
                <a:gd name="T12" fmla="*/ 2 w 13"/>
                <a:gd name="T1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4">
                  <a:moveTo>
                    <a:pt x="2" y="2"/>
                  </a:moveTo>
                  <a:cubicBezTo>
                    <a:pt x="2" y="2"/>
                    <a:pt x="3" y="7"/>
                    <a:pt x="2" y="8"/>
                  </a:cubicBezTo>
                  <a:cubicBezTo>
                    <a:pt x="1" y="8"/>
                    <a:pt x="0" y="11"/>
                    <a:pt x="0" y="13"/>
                  </a:cubicBezTo>
                  <a:cubicBezTo>
                    <a:pt x="0" y="13"/>
                    <a:pt x="5" y="14"/>
                    <a:pt x="8" y="14"/>
                  </a:cubicBezTo>
                  <a:cubicBezTo>
                    <a:pt x="11" y="13"/>
                    <a:pt x="13" y="13"/>
                    <a:pt x="12" y="11"/>
                  </a:cubicBezTo>
                  <a:cubicBezTo>
                    <a:pt x="11" y="8"/>
                    <a:pt x="11" y="5"/>
                    <a:pt x="12" y="2"/>
                  </a:cubicBezTo>
                  <a:cubicBezTo>
                    <a:pt x="13" y="0"/>
                    <a:pt x="3" y="2"/>
                    <a:pt x="2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40288" y="2981325"/>
              <a:ext cx="211137" cy="269875"/>
            </a:xfrm>
            <a:custGeom>
              <a:avLst/>
              <a:gdLst>
                <a:gd name="T0" fmla="*/ 3 w 14"/>
                <a:gd name="T1" fmla="*/ 2 h 18"/>
                <a:gd name="T2" fmla="*/ 2 w 14"/>
                <a:gd name="T3" fmla="*/ 8 h 18"/>
                <a:gd name="T4" fmla="*/ 2 w 14"/>
                <a:gd name="T5" fmla="*/ 15 h 18"/>
                <a:gd name="T6" fmla="*/ 12 w 14"/>
                <a:gd name="T7" fmla="*/ 17 h 18"/>
                <a:gd name="T8" fmla="*/ 12 w 14"/>
                <a:gd name="T9" fmla="*/ 7 h 18"/>
                <a:gd name="T10" fmla="*/ 9 w 14"/>
                <a:gd name="T11" fmla="*/ 1 h 18"/>
                <a:gd name="T12" fmla="*/ 3 w 14"/>
                <a:gd name="T1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3" y="2"/>
                  </a:moveTo>
                  <a:cubicBezTo>
                    <a:pt x="3" y="2"/>
                    <a:pt x="2" y="7"/>
                    <a:pt x="2" y="8"/>
                  </a:cubicBezTo>
                  <a:cubicBezTo>
                    <a:pt x="2" y="9"/>
                    <a:pt x="0" y="13"/>
                    <a:pt x="2" y="15"/>
                  </a:cubicBezTo>
                  <a:cubicBezTo>
                    <a:pt x="5" y="17"/>
                    <a:pt x="10" y="18"/>
                    <a:pt x="12" y="17"/>
                  </a:cubicBezTo>
                  <a:cubicBezTo>
                    <a:pt x="12" y="17"/>
                    <a:pt x="14" y="9"/>
                    <a:pt x="12" y="7"/>
                  </a:cubicBezTo>
                  <a:cubicBezTo>
                    <a:pt x="11" y="6"/>
                    <a:pt x="9" y="1"/>
                    <a:pt x="9" y="1"/>
                  </a:cubicBezTo>
                  <a:cubicBezTo>
                    <a:pt x="10" y="0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597400" y="460375"/>
              <a:ext cx="303212" cy="269875"/>
            </a:xfrm>
            <a:custGeom>
              <a:avLst/>
              <a:gdLst>
                <a:gd name="T0" fmla="*/ 3 w 20"/>
                <a:gd name="T1" fmla="*/ 18 h 18"/>
                <a:gd name="T2" fmla="*/ 3 w 20"/>
                <a:gd name="T3" fmla="*/ 12 h 18"/>
                <a:gd name="T4" fmla="*/ 4 w 20"/>
                <a:gd name="T5" fmla="*/ 8 h 18"/>
                <a:gd name="T6" fmla="*/ 11 w 20"/>
                <a:gd name="T7" fmla="*/ 6 h 18"/>
                <a:gd name="T8" fmla="*/ 16 w 20"/>
                <a:gd name="T9" fmla="*/ 8 h 18"/>
                <a:gd name="T10" fmla="*/ 17 w 20"/>
                <a:gd name="T11" fmla="*/ 13 h 18"/>
                <a:gd name="T12" fmla="*/ 17 w 20"/>
                <a:gd name="T13" fmla="*/ 18 h 18"/>
                <a:gd name="T14" fmla="*/ 18 w 20"/>
                <a:gd name="T15" fmla="*/ 18 h 18"/>
                <a:gd name="T16" fmla="*/ 19 w 20"/>
                <a:gd name="T17" fmla="*/ 14 h 18"/>
                <a:gd name="T18" fmla="*/ 20 w 20"/>
                <a:gd name="T19" fmla="*/ 10 h 18"/>
                <a:gd name="T20" fmla="*/ 16 w 20"/>
                <a:gd name="T21" fmla="*/ 4 h 18"/>
                <a:gd name="T22" fmla="*/ 11 w 20"/>
                <a:gd name="T23" fmla="*/ 0 h 18"/>
                <a:gd name="T24" fmla="*/ 4 w 20"/>
                <a:gd name="T25" fmla="*/ 3 h 18"/>
                <a:gd name="T26" fmla="*/ 0 w 20"/>
                <a:gd name="T27" fmla="*/ 9 h 18"/>
                <a:gd name="T28" fmla="*/ 1 w 20"/>
                <a:gd name="T29" fmla="*/ 14 h 18"/>
                <a:gd name="T30" fmla="*/ 2 w 20"/>
                <a:gd name="T31" fmla="*/ 18 h 18"/>
                <a:gd name="T32" fmla="*/ 3 w 20"/>
                <a:gd name="T3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8">
                  <a:moveTo>
                    <a:pt x="3" y="18"/>
                  </a:moveTo>
                  <a:cubicBezTo>
                    <a:pt x="3" y="18"/>
                    <a:pt x="3" y="13"/>
                    <a:pt x="3" y="12"/>
                  </a:cubicBezTo>
                  <a:cubicBezTo>
                    <a:pt x="3" y="11"/>
                    <a:pt x="3" y="9"/>
                    <a:pt x="4" y="8"/>
                  </a:cubicBezTo>
                  <a:cubicBezTo>
                    <a:pt x="5" y="7"/>
                    <a:pt x="7" y="6"/>
                    <a:pt x="11" y="6"/>
                  </a:cubicBezTo>
                  <a:cubicBezTo>
                    <a:pt x="11" y="6"/>
                    <a:pt x="15" y="6"/>
                    <a:pt x="16" y="8"/>
                  </a:cubicBezTo>
                  <a:cubicBezTo>
                    <a:pt x="16" y="8"/>
                    <a:pt x="17" y="12"/>
                    <a:pt x="17" y="13"/>
                  </a:cubicBezTo>
                  <a:cubicBezTo>
                    <a:pt x="17" y="13"/>
                    <a:pt x="18" y="17"/>
                    <a:pt x="17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7"/>
                    <a:pt x="19" y="14"/>
                    <a:pt x="19" y="14"/>
                  </a:cubicBezTo>
                  <a:cubicBezTo>
                    <a:pt x="20" y="13"/>
                    <a:pt x="20" y="11"/>
                    <a:pt x="20" y="10"/>
                  </a:cubicBezTo>
                  <a:cubicBezTo>
                    <a:pt x="20" y="9"/>
                    <a:pt x="19" y="4"/>
                    <a:pt x="16" y="4"/>
                  </a:cubicBezTo>
                  <a:cubicBezTo>
                    <a:pt x="16" y="4"/>
                    <a:pt x="15" y="1"/>
                    <a:pt x="11" y="0"/>
                  </a:cubicBezTo>
                  <a:cubicBezTo>
                    <a:pt x="8" y="0"/>
                    <a:pt x="5" y="2"/>
                    <a:pt x="4" y="3"/>
                  </a:cubicBezTo>
                  <a:cubicBezTo>
                    <a:pt x="2" y="4"/>
                    <a:pt x="1" y="8"/>
                    <a:pt x="0" y="9"/>
                  </a:cubicBezTo>
                  <a:cubicBezTo>
                    <a:pt x="0" y="10"/>
                    <a:pt x="1" y="13"/>
                    <a:pt x="1" y="14"/>
                  </a:cubicBezTo>
                  <a:cubicBezTo>
                    <a:pt x="1" y="14"/>
                    <a:pt x="2" y="14"/>
                    <a:pt x="2" y="18"/>
                  </a:cubicBezTo>
                  <a:lnTo>
                    <a:pt x="3" y="18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1" name="Group 50出自【趣你的PPT】(微信:qunideppt)：最优质的PPT资源库"/>
          <p:cNvGrpSpPr/>
          <p:nvPr/>
        </p:nvGrpSpPr>
        <p:grpSpPr>
          <a:xfrm>
            <a:off x="5849095" y="1363824"/>
            <a:ext cx="720080" cy="1733640"/>
            <a:chOff x="-221170" y="555042"/>
            <a:chExt cx="2224088" cy="5354636"/>
          </a:xfrm>
        </p:grpSpPr>
        <p:sp>
          <p:nvSpPr>
            <p:cNvPr id="5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10655" y="1026529"/>
              <a:ext cx="360362" cy="528637"/>
            </a:xfrm>
            <a:custGeom>
              <a:avLst/>
              <a:gdLst>
                <a:gd name="T0" fmla="*/ 0 w 12"/>
                <a:gd name="T1" fmla="*/ 8 h 18"/>
                <a:gd name="T2" fmla="*/ 0 w 12"/>
                <a:gd name="T3" fmla="*/ 1 h 18"/>
                <a:gd name="T4" fmla="*/ 8 w 12"/>
                <a:gd name="T5" fmla="*/ 4 h 18"/>
                <a:gd name="T6" fmla="*/ 11 w 12"/>
                <a:gd name="T7" fmla="*/ 12 h 18"/>
                <a:gd name="T8" fmla="*/ 6 w 12"/>
                <a:gd name="T9" fmla="*/ 18 h 18"/>
                <a:gd name="T10" fmla="*/ 0 w 12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0" y="8"/>
                  </a:moveTo>
                  <a:cubicBezTo>
                    <a:pt x="0" y="8"/>
                    <a:pt x="0" y="2"/>
                    <a:pt x="0" y="1"/>
                  </a:cubicBezTo>
                  <a:cubicBezTo>
                    <a:pt x="0" y="0"/>
                    <a:pt x="8" y="4"/>
                    <a:pt x="8" y="4"/>
                  </a:cubicBezTo>
                  <a:cubicBezTo>
                    <a:pt x="8" y="4"/>
                    <a:pt x="11" y="10"/>
                    <a:pt x="11" y="12"/>
                  </a:cubicBezTo>
                  <a:cubicBezTo>
                    <a:pt x="12" y="15"/>
                    <a:pt x="6" y="18"/>
                    <a:pt x="6" y="18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D69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40780" y="5438191"/>
              <a:ext cx="539750" cy="471487"/>
            </a:xfrm>
            <a:custGeom>
              <a:avLst/>
              <a:gdLst>
                <a:gd name="T0" fmla="*/ 3 w 18"/>
                <a:gd name="T1" fmla="*/ 1 h 16"/>
                <a:gd name="T2" fmla="*/ 2 w 18"/>
                <a:gd name="T3" fmla="*/ 9 h 16"/>
                <a:gd name="T4" fmla="*/ 1 w 18"/>
                <a:gd name="T5" fmla="*/ 11 h 16"/>
                <a:gd name="T6" fmla="*/ 4 w 18"/>
                <a:gd name="T7" fmla="*/ 11 h 16"/>
                <a:gd name="T8" fmla="*/ 12 w 18"/>
                <a:gd name="T9" fmla="*/ 16 h 16"/>
                <a:gd name="T10" fmla="*/ 18 w 18"/>
                <a:gd name="T11" fmla="*/ 14 h 16"/>
                <a:gd name="T12" fmla="*/ 15 w 18"/>
                <a:gd name="T13" fmla="*/ 8 h 16"/>
                <a:gd name="T14" fmla="*/ 11 w 18"/>
                <a:gd name="T15" fmla="*/ 1 h 16"/>
                <a:gd name="T16" fmla="*/ 3 w 18"/>
                <a:gd name="T1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6">
                  <a:moveTo>
                    <a:pt x="3" y="1"/>
                  </a:moveTo>
                  <a:cubicBezTo>
                    <a:pt x="3" y="1"/>
                    <a:pt x="0" y="7"/>
                    <a:pt x="2" y="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5" y="16"/>
                    <a:pt x="12" y="16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6" y="9"/>
                    <a:pt x="15" y="8"/>
                  </a:cubicBezTo>
                  <a:cubicBezTo>
                    <a:pt x="15" y="8"/>
                    <a:pt x="12" y="3"/>
                    <a:pt x="11" y="1"/>
                  </a:cubicBezTo>
                  <a:cubicBezTo>
                    <a:pt x="11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552068" y="1937754"/>
              <a:ext cx="450850" cy="295275"/>
            </a:xfrm>
            <a:custGeom>
              <a:avLst/>
              <a:gdLst>
                <a:gd name="T0" fmla="*/ 3 w 15"/>
                <a:gd name="T1" fmla="*/ 9 h 10"/>
                <a:gd name="T2" fmla="*/ 8 w 15"/>
                <a:gd name="T3" fmla="*/ 9 h 10"/>
                <a:gd name="T4" fmla="*/ 15 w 15"/>
                <a:gd name="T5" fmla="*/ 5 h 10"/>
                <a:gd name="T6" fmla="*/ 15 w 15"/>
                <a:gd name="T7" fmla="*/ 3 h 10"/>
                <a:gd name="T8" fmla="*/ 11 w 15"/>
                <a:gd name="T9" fmla="*/ 3 h 10"/>
                <a:gd name="T10" fmla="*/ 6 w 15"/>
                <a:gd name="T11" fmla="*/ 4 h 10"/>
                <a:gd name="T12" fmla="*/ 4 w 15"/>
                <a:gd name="T13" fmla="*/ 3 h 10"/>
                <a:gd name="T14" fmla="*/ 5 w 15"/>
                <a:gd name="T15" fmla="*/ 0 h 10"/>
                <a:gd name="T16" fmla="*/ 3 w 15"/>
                <a:gd name="T17" fmla="*/ 4 h 10"/>
                <a:gd name="T18" fmla="*/ 0 w 15"/>
                <a:gd name="T19" fmla="*/ 6 h 10"/>
                <a:gd name="T20" fmla="*/ 3 w 15"/>
                <a:gd name="T2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10">
                  <a:moveTo>
                    <a:pt x="3" y="9"/>
                  </a:moveTo>
                  <a:cubicBezTo>
                    <a:pt x="3" y="9"/>
                    <a:pt x="7" y="10"/>
                    <a:pt x="8" y="9"/>
                  </a:cubicBezTo>
                  <a:cubicBezTo>
                    <a:pt x="9" y="9"/>
                    <a:pt x="15" y="5"/>
                    <a:pt x="15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2" y="2"/>
                    <a:pt x="11" y="3"/>
                  </a:cubicBezTo>
                  <a:cubicBezTo>
                    <a:pt x="11" y="3"/>
                    <a:pt x="6" y="4"/>
                    <a:pt x="6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6" y="1"/>
                    <a:pt x="5" y="0"/>
                  </a:cubicBezTo>
                  <a:cubicBezTo>
                    <a:pt x="4" y="0"/>
                    <a:pt x="3" y="4"/>
                    <a:pt x="3" y="4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3" y="9"/>
                  </a:ln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40818" y="5320716"/>
              <a:ext cx="660400" cy="352425"/>
            </a:xfrm>
            <a:custGeom>
              <a:avLst/>
              <a:gdLst>
                <a:gd name="T0" fmla="*/ 1 w 22"/>
                <a:gd name="T1" fmla="*/ 10 h 12"/>
                <a:gd name="T2" fmla="*/ 10 w 22"/>
                <a:gd name="T3" fmla="*/ 12 h 12"/>
                <a:gd name="T4" fmla="*/ 20 w 22"/>
                <a:gd name="T5" fmla="*/ 12 h 12"/>
                <a:gd name="T6" fmla="*/ 18 w 22"/>
                <a:gd name="T7" fmla="*/ 10 h 12"/>
                <a:gd name="T8" fmla="*/ 11 w 22"/>
                <a:gd name="T9" fmla="*/ 7 h 12"/>
                <a:gd name="T10" fmla="*/ 5 w 22"/>
                <a:gd name="T11" fmla="*/ 0 h 12"/>
                <a:gd name="T12" fmla="*/ 0 w 22"/>
                <a:gd name="T13" fmla="*/ 1 h 12"/>
                <a:gd name="T14" fmla="*/ 1 w 22"/>
                <a:gd name="T1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2">
                  <a:moveTo>
                    <a:pt x="1" y="10"/>
                  </a:moveTo>
                  <a:cubicBezTo>
                    <a:pt x="1" y="10"/>
                    <a:pt x="6" y="12"/>
                    <a:pt x="1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2" y="10"/>
                    <a:pt x="18" y="10"/>
                  </a:cubicBezTo>
                  <a:cubicBezTo>
                    <a:pt x="18" y="10"/>
                    <a:pt x="15" y="10"/>
                    <a:pt x="11" y="7"/>
                  </a:cubicBezTo>
                  <a:cubicBezTo>
                    <a:pt x="7" y="5"/>
                    <a:pt x="5" y="0"/>
                    <a:pt x="5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7"/>
                    <a:pt x="1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50330" y="2850566"/>
              <a:ext cx="631825" cy="2587625"/>
            </a:xfrm>
            <a:custGeom>
              <a:avLst/>
              <a:gdLst>
                <a:gd name="T0" fmla="*/ 2 w 21"/>
                <a:gd name="T1" fmla="*/ 88 h 88"/>
                <a:gd name="T2" fmla="*/ 8 w 21"/>
                <a:gd name="T3" fmla="*/ 86 h 88"/>
                <a:gd name="T4" fmla="*/ 8 w 21"/>
                <a:gd name="T5" fmla="*/ 83 h 88"/>
                <a:gd name="T6" fmla="*/ 7 w 21"/>
                <a:gd name="T7" fmla="*/ 80 h 88"/>
                <a:gd name="T8" fmla="*/ 8 w 21"/>
                <a:gd name="T9" fmla="*/ 77 h 88"/>
                <a:gd name="T10" fmla="*/ 7 w 21"/>
                <a:gd name="T11" fmla="*/ 75 h 88"/>
                <a:gd name="T12" fmla="*/ 9 w 21"/>
                <a:gd name="T13" fmla="*/ 73 h 88"/>
                <a:gd name="T14" fmla="*/ 8 w 21"/>
                <a:gd name="T15" fmla="*/ 69 h 88"/>
                <a:gd name="T16" fmla="*/ 9 w 21"/>
                <a:gd name="T17" fmla="*/ 61 h 88"/>
                <a:gd name="T18" fmla="*/ 10 w 21"/>
                <a:gd name="T19" fmla="*/ 56 h 88"/>
                <a:gd name="T20" fmla="*/ 9 w 21"/>
                <a:gd name="T21" fmla="*/ 56 h 88"/>
                <a:gd name="T22" fmla="*/ 12 w 21"/>
                <a:gd name="T23" fmla="*/ 53 h 88"/>
                <a:gd name="T24" fmla="*/ 11 w 21"/>
                <a:gd name="T25" fmla="*/ 50 h 88"/>
                <a:gd name="T26" fmla="*/ 13 w 21"/>
                <a:gd name="T27" fmla="*/ 46 h 88"/>
                <a:gd name="T28" fmla="*/ 20 w 21"/>
                <a:gd name="T29" fmla="*/ 14 h 88"/>
                <a:gd name="T30" fmla="*/ 20 w 21"/>
                <a:gd name="T31" fmla="*/ 0 h 88"/>
                <a:gd name="T32" fmla="*/ 13 w 21"/>
                <a:gd name="T33" fmla="*/ 2 h 88"/>
                <a:gd name="T34" fmla="*/ 9 w 21"/>
                <a:gd name="T35" fmla="*/ 6 h 88"/>
                <a:gd name="T36" fmla="*/ 3 w 21"/>
                <a:gd name="T37" fmla="*/ 26 h 88"/>
                <a:gd name="T38" fmla="*/ 4 w 21"/>
                <a:gd name="T39" fmla="*/ 44 h 88"/>
                <a:gd name="T40" fmla="*/ 1 w 21"/>
                <a:gd name="T41" fmla="*/ 59 h 88"/>
                <a:gd name="T42" fmla="*/ 1 w 21"/>
                <a:gd name="T43" fmla="*/ 81 h 88"/>
                <a:gd name="T44" fmla="*/ 2 w 21"/>
                <a:gd name="T4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88">
                  <a:moveTo>
                    <a:pt x="2" y="88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9" y="83"/>
                    <a:pt x="8" y="83"/>
                  </a:cubicBezTo>
                  <a:cubicBezTo>
                    <a:pt x="8" y="82"/>
                    <a:pt x="7" y="80"/>
                    <a:pt x="7" y="80"/>
                  </a:cubicBezTo>
                  <a:cubicBezTo>
                    <a:pt x="7" y="80"/>
                    <a:pt x="8" y="79"/>
                    <a:pt x="8" y="77"/>
                  </a:cubicBezTo>
                  <a:cubicBezTo>
                    <a:pt x="7" y="76"/>
                    <a:pt x="7" y="75"/>
                    <a:pt x="7" y="75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7" y="70"/>
                    <a:pt x="8" y="69"/>
                  </a:cubicBezTo>
                  <a:cubicBezTo>
                    <a:pt x="8" y="68"/>
                    <a:pt x="9" y="61"/>
                    <a:pt x="9" y="61"/>
                  </a:cubicBezTo>
                  <a:cubicBezTo>
                    <a:pt x="9" y="61"/>
                    <a:pt x="10" y="57"/>
                    <a:pt x="10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46"/>
                    <a:pt x="21" y="16"/>
                    <a:pt x="20" y="14"/>
                  </a:cubicBezTo>
                  <a:cubicBezTo>
                    <a:pt x="19" y="13"/>
                    <a:pt x="20" y="0"/>
                    <a:pt x="20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0" y="5"/>
                    <a:pt x="9" y="6"/>
                  </a:cubicBezTo>
                  <a:cubicBezTo>
                    <a:pt x="9" y="7"/>
                    <a:pt x="3" y="26"/>
                    <a:pt x="3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59"/>
                    <a:pt x="1" y="80"/>
                    <a:pt x="1" y="81"/>
                  </a:cubicBezTo>
                  <a:cubicBezTo>
                    <a:pt x="0" y="81"/>
                    <a:pt x="2" y="88"/>
                    <a:pt x="2" y="88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50330" y="2850566"/>
              <a:ext cx="601662" cy="2587625"/>
            </a:xfrm>
            <a:custGeom>
              <a:avLst/>
              <a:gdLst>
                <a:gd name="T0" fmla="*/ 20 w 20"/>
                <a:gd name="T1" fmla="*/ 0 h 88"/>
                <a:gd name="T2" fmla="*/ 13 w 20"/>
                <a:gd name="T3" fmla="*/ 2 h 88"/>
                <a:gd name="T4" fmla="*/ 9 w 20"/>
                <a:gd name="T5" fmla="*/ 6 h 88"/>
                <a:gd name="T6" fmla="*/ 3 w 20"/>
                <a:gd name="T7" fmla="*/ 26 h 88"/>
                <a:gd name="T8" fmla="*/ 4 w 20"/>
                <a:gd name="T9" fmla="*/ 44 h 88"/>
                <a:gd name="T10" fmla="*/ 1 w 20"/>
                <a:gd name="T11" fmla="*/ 59 h 88"/>
                <a:gd name="T12" fmla="*/ 1 w 20"/>
                <a:gd name="T13" fmla="*/ 81 h 88"/>
                <a:gd name="T14" fmla="*/ 2 w 20"/>
                <a:gd name="T15" fmla="*/ 88 h 88"/>
                <a:gd name="T16" fmla="*/ 8 w 20"/>
                <a:gd name="T17" fmla="*/ 86 h 88"/>
                <a:gd name="T18" fmla="*/ 9 w 20"/>
                <a:gd name="T19" fmla="*/ 84 h 88"/>
                <a:gd name="T20" fmla="*/ 6 w 20"/>
                <a:gd name="T21" fmla="*/ 82 h 88"/>
                <a:gd name="T22" fmla="*/ 7 w 20"/>
                <a:gd name="T23" fmla="*/ 80 h 88"/>
                <a:gd name="T24" fmla="*/ 7 w 20"/>
                <a:gd name="T25" fmla="*/ 80 h 88"/>
                <a:gd name="T26" fmla="*/ 8 w 20"/>
                <a:gd name="T27" fmla="*/ 78 h 88"/>
                <a:gd name="T28" fmla="*/ 5 w 20"/>
                <a:gd name="T29" fmla="*/ 74 h 88"/>
                <a:gd name="T30" fmla="*/ 7 w 20"/>
                <a:gd name="T31" fmla="*/ 75 h 88"/>
                <a:gd name="T32" fmla="*/ 9 w 20"/>
                <a:gd name="T33" fmla="*/ 73 h 88"/>
                <a:gd name="T34" fmla="*/ 9 w 20"/>
                <a:gd name="T35" fmla="*/ 73 h 88"/>
                <a:gd name="T36" fmla="*/ 5 w 20"/>
                <a:gd name="T37" fmla="*/ 71 h 88"/>
                <a:gd name="T38" fmla="*/ 4 w 20"/>
                <a:gd name="T39" fmla="*/ 66 h 88"/>
                <a:gd name="T40" fmla="*/ 8 w 20"/>
                <a:gd name="T41" fmla="*/ 70 h 88"/>
                <a:gd name="T42" fmla="*/ 6 w 20"/>
                <a:gd name="T43" fmla="*/ 62 h 88"/>
                <a:gd name="T44" fmla="*/ 8 w 20"/>
                <a:gd name="T45" fmla="*/ 66 h 88"/>
                <a:gd name="T46" fmla="*/ 9 w 20"/>
                <a:gd name="T47" fmla="*/ 62 h 88"/>
                <a:gd name="T48" fmla="*/ 6 w 20"/>
                <a:gd name="T49" fmla="*/ 56 h 88"/>
                <a:gd name="T50" fmla="*/ 7 w 20"/>
                <a:gd name="T51" fmla="*/ 51 h 88"/>
                <a:gd name="T52" fmla="*/ 10 w 20"/>
                <a:gd name="T53" fmla="*/ 55 h 88"/>
                <a:gd name="T54" fmla="*/ 12 w 20"/>
                <a:gd name="T55" fmla="*/ 53 h 88"/>
                <a:gd name="T56" fmla="*/ 7 w 20"/>
                <a:gd name="T57" fmla="*/ 48 h 88"/>
                <a:gd name="T58" fmla="*/ 9 w 20"/>
                <a:gd name="T59" fmla="*/ 45 h 88"/>
                <a:gd name="T60" fmla="*/ 13 w 20"/>
                <a:gd name="T61" fmla="*/ 47 h 88"/>
                <a:gd name="T62" fmla="*/ 13 w 20"/>
                <a:gd name="T63" fmla="*/ 46 h 88"/>
                <a:gd name="T64" fmla="*/ 9 w 20"/>
                <a:gd name="T65" fmla="*/ 41 h 88"/>
                <a:gd name="T66" fmla="*/ 13 w 20"/>
                <a:gd name="T67" fmla="*/ 27 h 88"/>
                <a:gd name="T68" fmla="*/ 20 w 20"/>
                <a:gd name="T69" fmla="*/ 14 h 88"/>
                <a:gd name="T70" fmla="*/ 20 w 20"/>
                <a:gd name="T7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" h="88">
                  <a:moveTo>
                    <a:pt x="20" y="0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0" y="5"/>
                    <a:pt x="9" y="6"/>
                  </a:cubicBezTo>
                  <a:cubicBezTo>
                    <a:pt x="9" y="7"/>
                    <a:pt x="3" y="26"/>
                    <a:pt x="3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59"/>
                    <a:pt x="1" y="80"/>
                    <a:pt x="1" y="81"/>
                  </a:cubicBezTo>
                  <a:cubicBezTo>
                    <a:pt x="0" y="81"/>
                    <a:pt x="2" y="88"/>
                    <a:pt x="2" y="88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9" y="85"/>
                    <a:pt x="9" y="84"/>
                  </a:cubicBezTo>
                  <a:cubicBezTo>
                    <a:pt x="7" y="83"/>
                    <a:pt x="5" y="82"/>
                    <a:pt x="6" y="82"/>
                  </a:cubicBezTo>
                  <a:cubicBezTo>
                    <a:pt x="6" y="81"/>
                    <a:pt x="7" y="81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0"/>
                    <a:pt x="8" y="79"/>
                    <a:pt x="8" y="78"/>
                  </a:cubicBezTo>
                  <a:cubicBezTo>
                    <a:pt x="3" y="80"/>
                    <a:pt x="5" y="74"/>
                    <a:pt x="5" y="74"/>
                  </a:cubicBezTo>
                  <a:cubicBezTo>
                    <a:pt x="5" y="75"/>
                    <a:pt x="6" y="75"/>
                    <a:pt x="7" y="75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7" y="72"/>
                    <a:pt x="6" y="72"/>
                    <a:pt x="5" y="71"/>
                  </a:cubicBezTo>
                  <a:cubicBezTo>
                    <a:pt x="4" y="70"/>
                    <a:pt x="4" y="66"/>
                    <a:pt x="4" y="66"/>
                  </a:cubicBezTo>
                  <a:cubicBezTo>
                    <a:pt x="5" y="68"/>
                    <a:pt x="8" y="70"/>
                    <a:pt x="8" y="70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4"/>
                    <a:pt x="9" y="62"/>
                    <a:pt x="9" y="62"/>
                  </a:cubicBezTo>
                  <a:cubicBezTo>
                    <a:pt x="8" y="59"/>
                    <a:pt x="6" y="57"/>
                    <a:pt x="6" y="56"/>
                  </a:cubicBezTo>
                  <a:cubicBezTo>
                    <a:pt x="6" y="54"/>
                    <a:pt x="7" y="51"/>
                    <a:pt x="7" y="51"/>
                  </a:cubicBezTo>
                  <a:cubicBezTo>
                    <a:pt x="8" y="53"/>
                    <a:pt x="9" y="54"/>
                    <a:pt x="10" y="55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12" y="46"/>
                    <a:pt x="13" y="47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8" y="38"/>
                    <a:pt x="12" y="29"/>
                    <a:pt x="13" y="27"/>
                  </a:cubicBezTo>
                  <a:cubicBezTo>
                    <a:pt x="14" y="26"/>
                    <a:pt x="17" y="20"/>
                    <a:pt x="20" y="14"/>
                  </a:cubicBezTo>
                  <a:cubicBezTo>
                    <a:pt x="19" y="12"/>
                    <a:pt x="20" y="0"/>
                    <a:pt x="2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130" y="2791829"/>
              <a:ext cx="841375" cy="2763837"/>
            </a:xfrm>
            <a:custGeom>
              <a:avLst/>
              <a:gdLst>
                <a:gd name="T0" fmla="*/ 4 w 28"/>
                <a:gd name="T1" fmla="*/ 80 h 94"/>
                <a:gd name="T2" fmla="*/ 6 w 28"/>
                <a:gd name="T3" fmla="*/ 94 h 94"/>
                <a:gd name="T4" fmla="*/ 12 w 28"/>
                <a:gd name="T5" fmla="*/ 94 h 94"/>
                <a:gd name="T6" fmla="*/ 15 w 28"/>
                <a:gd name="T7" fmla="*/ 91 h 94"/>
                <a:gd name="T8" fmla="*/ 15 w 28"/>
                <a:gd name="T9" fmla="*/ 84 h 94"/>
                <a:gd name="T10" fmla="*/ 14 w 28"/>
                <a:gd name="T11" fmla="*/ 79 h 94"/>
                <a:gd name="T12" fmla="*/ 14 w 28"/>
                <a:gd name="T13" fmla="*/ 70 h 94"/>
                <a:gd name="T14" fmla="*/ 15 w 28"/>
                <a:gd name="T15" fmla="*/ 54 h 94"/>
                <a:gd name="T16" fmla="*/ 17 w 28"/>
                <a:gd name="T17" fmla="*/ 46 h 94"/>
                <a:gd name="T18" fmla="*/ 17 w 28"/>
                <a:gd name="T19" fmla="*/ 36 h 94"/>
                <a:gd name="T20" fmla="*/ 21 w 28"/>
                <a:gd name="T21" fmla="*/ 27 h 94"/>
                <a:gd name="T22" fmla="*/ 26 w 28"/>
                <a:gd name="T23" fmla="*/ 10 h 94"/>
                <a:gd name="T24" fmla="*/ 28 w 28"/>
                <a:gd name="T25" fmla="*/ 3 h 94"/>
                <a:gd name="T26" fmla="*/ 17 w 28"/>
                <a:gd name="T27" fmla="*/ 1 h 94"/>
                <a:gd name="T28" fmla="*/ 5 w 28"/>
                <a:gd name="T29" fmla="*/ 1 h 94"/>
                <a:gd name="T30" fmla="*/ 2 w 28"/>
                <a:gd name="T31" fmla="*/ 15 h 94"/>
                <a:gd name="T32" fmla="*/ 3 w 28"/>
                <a:gd name="T33" fmla="*/ 26 h 94"/>
                <a:gd name="T34" fmla="*/ 3 w 28"/>
                <a:gd name="T35" fmla="*/ 32 h 94"/>
                <a:gd name="T36" fmla="*/ 4 w 28"/>
                <a:gd name="T37" fmla="*/ 42 h 94"/>
                <a:gd name="T38" fmla="*/ 2 w 28"/>
                <a:gd name="T39" fmla="*/ 48 h 94"/>
                <a:gd name="T40" fmla="*/ 1 w 28"/>
                <a:gd name="T41" fmla="*/ 68 h 94"/>
                <a:gd name="T42" fmla="*/ 4 w 28"/>
                <a:gd name="T43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" h="94">
                  <a:moveTo>
                    <a:pt x="4" y="80"/>
                  </a:moveTo>
                  <a:cubicBezTo>
                    <a:pt x="4" y="80"/>
                    <a:pt x="2" y="91"/>
                    <a:pt x="6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7" y="86"/>
                    <a:pt x="15" y="84"/>
                  </a:cubicBezTo>
                  <a:cubicBezTo>
                    <a:pt x="14" y="82"/>
                    <a:pt x="14" y="79"/>
                    <a:pt x="14" y="79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4" y="70"/>
                    <a:pt x="14" y="60"/>
                    <a:pt x="15" y="54"/>
                  </a:cubicBezTo>
                  <a:cubicBezTo>
                    <a:pt x="17" y="49"/>
                    <a:pt x="17" y="46"/>
                    <a:pt x="17" y="46"/>
                  </a:cubicBezTo>
                  <a:cubicBezTo>
                    <a:pt x="17" y="46"/>
                    <a:pt x="17" y="37"/>
                    <a:pt x="17" y="36"/>
                  </a:cubicBezTo>
                  <a:cubicBezTo>
                    <a:pt x="18" y="35"/>
                    <a:pt x="21" y="28"/>
                    <a:pt x="21" y="27"/>
                  </a:cubicBezTo>
                  <a:cubicBezTo>
                    <a:pt x="21" y="26"/>
                    <a:pt x="26" y="11"/>
                    <a:pt x="26" y="10"/>
                  </a:cubicBezTo>
                  <a:cubicBezTo>
                    <a:pt x="27" y="9"/>
                    <a:pt x="28" y="3"/>
                    <a:pt x="28" y="3"/>
                  </a:cubicBezTo>
                  <a:cubicBezTo>
                    <a:pt x="28" y="3"/>
                    <a:pt x="17" y="1"/>
                    <a:pt x="17" y="1"/>
                  </a:cubicBezTo>
                  <a:cubicBezTo>
                    <a:pt x="16" y="0"/>
                    <a:pt x="5" y="1"/>
                    <a:pt x="5" y="1"/>
                  </a:cubicBezTo>
                  <a:cubicBezTo>
                    <a:pt x="5" y="1"/>
                    <a:pt x="1" y="13"/>
                    <a:pt x="2" y="15"/>
                  </a:cubicBezTo>
                  <a:cubicBezTo>
                    <a:pt x="2" y="18"/>
                    <a:pt x="3" y="25"/>
                    <a:pt x="3" y="26"/>
                  </a:cubicBezTo>
                  <a:cubicBezTo>
                    <a:pt x="2" y="28"/>
                    <a:pt x="3" y="32"/>
                    <a:pt x="3" y="32"/>
                  </a:cubicBezTo>
                  <a:cubicBezTo>
                    <a:pt x="3" y="32"/>
                    <a:pt x="4" y="40"/>
                    <a:pt x="4" y="42"/>
                  </a:cubicBezTo>
                  <a:cubicBezTo>
                    <a:pt x="4" y="43"/>
                    <a:pt x="0" y="46"/>
                    <a:pt x="2" y="48"/>
                  </a:cubicBezTo>
                  <a:cubicBezTo>
                    <a:pt x="3" y="50"/>
                    <a:pt x="1" y="66"/>
                    <a:pt x="1" y="68"/>
                  </a:cubicBezTo>
                  <a:cubicBezTo>
                    <a:pt x="2" y="70"/>
                    <a:pt x="4" y="80"/>
                    <a:pt x="4" y="80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0293" y="4026904"/>
              <a:ext cx="450850" cy="1528762"/>
            </a:xfrm>
            <a:custGeom>
              <a:avLst/>
              <a:gdLst>
                <a:gd name="T0" fmla="*/ 15 w 15"/>
                <a:gd name="T1" fmla="*/ 5 h 52"/>
                <a:gd name="T2" fmla="*/ 3 w 15"/>
                <a:gd name="T3" fmla="*/ 0 h 52"/>
                <a:gd name="T4" fmla="*/ 1 w 15"/>
                <a:gd name="T5" fmla="*/ 6 h 52"/>
                <a:gd name="T6" fmla="*/ 0 w 15"/>
                <a:gd name="T7" fmla="*/ 25 h 52"/>
                <a:gd name="T8" fmla="*/ 0 w 15"/>
                <a:gd name="T9" fmla="*/ 25 h 52"/>
                <a:gd name="T10" fmla="*/ 0 w 15"/>
                <a:gd name="T11" fmla="*/ 25 h 52"/>
                <a:gd name="T12" fmla="*/ 0 w 15"/>
                <a:gd name="T13" fmla="*/ 26 h 52"/>
                <a:gd name="T14" fmla="*/ 0 w 15"/>
                <a:gd name="T15" fmla="*/ 26 h 52"/>
                <a:gd name="T16" fmla="*/ 0 w 15"/>
                <a:gd name="T17" fmla="*/ 26 h 52"/>
                <a:gd name="T18" fmla="*/ 0 w 15"/>
                <a:gd name="T19" fmla="*/ 26 h 52"/>
                <a:gd name="T20" fmla="*/ 3 w 15"/>
                <a:gd name="T21" fmla="*/ 38 h 52"/>
                <a:gd name="T22" fmla="*/ 5 w 15"/>
                <a:gd name="T23" fmla="*/ 51 h 52"/>
                <a:gd name="T24" fmla="*/ 5 w 15"/>
                <a:gd name="T25" fmla="*/ 51 h 52"/>
                <a:gd name="T26" fmla="*/ 5 w 15"/>
                <a:gd name="T27" fmla="*/ 52 h 52"/>
                <a:gd name="T28" fmla="*/ 11 w 15"/>
                <a:gd name="T29" fmla="*/ 52 h 52"/>
                <a:gd name="T30" fmla="*/ 14 w 15"/>
                <a:gd name="T31" fmla="*/ 49 h 52"/>
                <a:gd name="T32" fmla="*/ 12 w 15"/>
                <a:gd name="T33" fmla="*/ 46 h 52"/>
                <a:gd name="T34" fmla="*/ 6 w 15"/>
                <a:gd name="T35" fmla="*/ 46 h 52"/>
                <a:gd name="T36" fmla="*/ 14 w 15"/>
                <a:gd name="T37" fmla="*/ 42 h 52"/>
                <a:gd name="T38" fmla="*/ 4 w 15"/>
                <a:gd name="T39" fmla="*/ 44 h 52"/>
                <a:gd name="T40" fmla="*/ 4 w 15"/>
                <a:gd name="T41" fmla="*/ 38 h 52"/>
                <a:gd name="T42" fmla="*/ 8 w 15"/>
                <a:gd name="T43" fmla="*/ 40 h 52"/>
                <a:gd name="T44" fmla="*/ 4 w 15"/>
                <a:gd name="T45" fmla="*/ 34 h 52"/>
                <a:gd name="T46" fmla="*/ 8 w 15"/>
                <a:gd name="T47" fmla="*/ 35 h 52"/>
                <a:gd name="T48" fmla="*/ 4 w 15"/>
                <a:gd name="T49" fmla="*/ 31 h 52"/>
                <a:gd name="T50" fmla="*/ 8 w 15"/>
                <a:gd name="T51" fmla="*/ 27 h 52"/>
                <a:gd name="T52" fmla="*/ 7 w 15"/>
                <a:gd name="T53" fmla="*/ 22 h 52"/>
                <a:gd name="T54" fmla="*/ 3 w 15"/>
                <a:gd name="T55" fmla="*/ 21 h 52"/>
                <a:gd name="T56" fmla="*/ 3 w 15"/>
                <a:gd name="T57" fmla="*/ 21 h 52"/>
                <a:gd name="T58" fmla="*/ 8 w 15"/>
                <a:gd name="T59" fmla="*/ 14 h 52"/>
                <a:gd name="T60" fmla="*/ 3 w 15"/>
                <a:gd name="T61" fmla="*/ 14 h 52"/>
                <a:gd name="T62" fmla="*/ 9 w 15"/>
                <a:gd name="T63" fmla="*/ 10 h 52"/>
                <a:gd name="T64" fmla="*/ 8 w 15"/>
                <a:gd name="T65" fmla="*/ 9 h 52"/>
                <a:gd name="T66" fmla="*/ 3 w 15"/>
                <a:gd name="T67" fmla="*/ 8 h 52"/>
                <a:gd name="T68" fmla="*/ 6 w 15"/>
                <a:gd name="T69" fmla="*/ 7 h 52"/>
                <a:gd name="T70" fmla="*/ 3 w 15"/>
                <a:gd name="T71" fmla="*/ 5 h 52"/>
                <a:gd name="T72" fmla="*/ 15 w 15"/>
                <a:gd name="T73" fmla="*/ 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" h="52">
                  <a:moveTo>
                    <a:pt x="15" y="5"/>
                  </a:moveTo>
                  <a:cubicBezTo>
                    <a:pt x="13" y="4"/>
                    <a:pt x="7" y="1"/>
                    <a:pt x="3" y="0"/>
                  </a:cubicBezTo>
                  <a:cubicBezTo>
                    <a:pt x="3" y="1"/>
                    <a:pt x="0" y="4"/>
                    <a:pt x="1" y="6"/>
                  </a:cubicBezTo>
                  <a:cubicBezTo>
                    <a:pt x="2" y="8"/>
                    <a:pt x="0" y="22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8"/>
                    <a:pt x="3" y="38"/>
                    <a:pt x="3" y="38"/>
                  </a:cubicBezTo>
                  <a:cubicBezTo>
                    <a:pt x="3" y="38"/>
                    <a:pt x="1" y="49"/>
                    <a:pt x="5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2"/>
                    <a:pt x="5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3" y="48"/>
                    <a:pt x="12" y="46"/>
                    <a:pt x="12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7" y="43"/>
                    <a:pt x="14" y="42"/>
                    <a:pt x="14" y="42"/>
                  </a:cubicBezTo>
                  <a:cubicBezTo>
                    <a:pt x="13" y="41"/>
                    <a:pt x="7" y="43"/>
                    <a:pt x="4" y="44"/>
                  </a:cubicBezTo>
                  <a:cubicBezTo>
                    <a:pt x="3" y="42"/>
                    <a:pt x="4" y="39"/>
                    <a:pt x="4" y="38"/>
                  </a:cubicBezTo>
                  <a:cubicBezTo>
                    <a:pt x="6" y="38"/>
                    <a:pt x="8" y="40"/>
                    <a:pt x="8" y="40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3"/>
                    <a:pt x="8" y="35"/>
                    <a:pt x="8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7" y="30"/>
                    <a:pt x="8" y="27"/>
                  </a:cubicBezTo>
                  <a:cubicBezTo>
                    <a:pt x="10" y="24"/>
                    <a:pt x="7" y="22"/>
                    <a:pt x="7" y="22"/>
                  </a:cubicBezTo>
                  <a:cubicBezTo>
                    <a:pt x="7" y="22"/>
                    <a:pt x="2" y="25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5" y="17"/>
                    <a:pt x="8" y="14"/>
                    <a:pt x="8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1"/>
                    <a:pt x="11" y="12"/>
                    <a:pt x="9" y="10"/>
                  </a:cubicBezTo>
                  <a:cubicBezTo>
                    <a:pt x="9" y="10"/>
                    <a:pt x="9" y="9"/>
                    <a:pt x="8" y="9"/>
                  </a:cubicBezTo>
                  <a:cubicBezTo>
                    <a:pt x="6" y="8"/>
                    <a:pt x="3" y="8"/>
                    <a:pt x="3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6" y="4"/>
                    <a:pt x="15" y="5"/>
                    <a:pt x="1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130" y="2791829"/>
              <a:ext cx="841375" cy="1146175"/>
            </a:xfrm>
            <a:custGeom>
              <a:avLst/>
              <a:gdLst>
                <a:gd name="T0" fmla="*/ 17 w 28"/>
                <a:gd name="T1" fmla="*/ 1 h 39"/>
                <a:gd name="T2" fmla="*/ 5 w 28"/>
                <a:gd name="T3" fmla="*/ 1 h 39"/>
                <a:gd name="T4" fmla="*/ 0 w 28"/>
                <a:gd name="T5" fmla="*/ 14 h 39"/>
                <a:gd name="T6" fmla="*/ 0 w 28"/>
                <a:gd name="T7" fmla="*/ 25 h 39"/>
                <a:gd name="T8" fmla="*/ 1 w 28"/>
                <a:gd name="T9" fmla="*/ 32 h 39"/>
                <a:gd name="T10" fmla="*/ 4 w 28"/>
                <a:gd name="T11" fmla="*/ 39 h 39"/>
                <a:gd name="T12" fmla="*/ 9 w 28"/>
                <a:gd name="T13" fmla="*/ 31 h 39"/>
                <a:gd name="T14" fmla="*/ 5 w 28"/>
                <a:gd name="T15" fmla="*/ 33 h 39"/>
                <a:gd name="T16" fmla="*/ 8 w 28"/>
                <a:gd name="T17" fmla="*/ 20 h 39"/>
                <a:gd name="T18" fmla="*/ 9 w 28"/>
                <a:gd name="T19" fmla="*/ 10 h 39"/>
                <a:gd name="T20" fmla="*/ 21 w 28"/>
                <a:gd name="T21" fmla="*/ 10 h 39"/>
                <a:gd name="T22" fmla="*/ 26 w 28"/>
                <a:gd name="T23" fmla="*/ 11 h 39"/>
                <a:gd name="T24" fmla="*/ 26 w 28"/>
                <a:gd name="T25" fmla="*/ 10 h 39"/>
                <a:gd name="T26" fmla="*/ 28 w 28"/>
                <a:gd name="T27" fmla="*/ 3 h 39"/>
                <a:gd name="T28" fmla="*/ 17 w 28"/>
                <a:gd name="T2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9">
                  <a:moveTo>
                    <a:pt x="17" y="1"/>
                  </a:moveTo>
                  <a:cubicBezTo>
                    <a:pt x="16" y="0"/>
                    <a:pt x="5" y="1"/>
                    <a:pt x="5" y="1"/>
                  </a:cubicBezTo>
                  <a:cubicBezTo>
                    <a:pt x="5" y="1"/>
                    <a:pt x="0" y="11"/>
                    <a:pt x="0" y="14"/>
                  </a:cubicBezTo>
                  <a:cubicBezTo>
                    <a:pt x="1" y="16"/>
                    <a:pt x="1" y="23"/>
                    <a:pt x="0" y="25"/>
                  </a:cubicBezTo>
                  <a:cubicBezTo>
                    <a:pt x="0" y="27"/>
                    <a:pt x="1" y="32"/>
                    <a:pt x="1" y="32"/>
                  </a:cubicBezTo>
                  <a:cubicBezTo>
                    <a:pt x="1" y="32"/>
                    <a:pt x="4" y="36"/>
                    <a:pt x="4" y="39"/>
                  </a:cubicBezTo>
                  <a:cubicBezTo>
                    <a:pt x="7" y="36"/>
                    <a:pt x="9" y="31"/>
                    <a:pt x="9" y="31"/>
                  </a:cubicBezTo>
                  <a:cubicBezTo>
                    <a:pt x="8" y="32"/>
                    <a:pt x="5" y="33"/>
                    <a:pt x="5" y="33"/>
                  </a:cubicBezTo>
                  <a:cubicBezTo>
                    <a:pt x="5" y="30"/>
                    <a:pt x="8" y="20"/>
                    <a:pt x="8" y="20"/>
                  </a:cubicBezTo>
                  <a:cubicBezTo>
                    <a:pt x="8" y="20"/>
                    <a:pt x="18" y="12"/>
                    <a:pt x="9" y="10"/>
                  </a:cubicBezTo>
                  <a:cubicBezTo>
                    <a:pt x="10" y="6"/>
                    <a:pt x="21" y="10"/>
                    <a:pt x="21" y="1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0"/>
                    <a:pt x="26" y="10"/>
                  </a:cubicBezTo>
                  <a:cubicBezTo>
                    <a:pt x="27" y="9"/>
                    <a:pt x="28" y="3"/>
                    <a:pt x="28" y="3"/>
                  </a:cubicBezTo>
                  <a:cubicBezTo>
                    <a:pt x="28" y="3"/>
                    <a:pt x="17" y="1"/>
                    <a:pt x="1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0005" y="2672766"/>
              <a:ext cx="661987" cy="236537"/>
            </a:xfrm>
            <a:custGeom>
              <a:avLst/>
              <a:gdLst>
                <a:gd name="T0" fmla="*/ 0 w 22"/>
                <a:gd name="T1" fmla="*/ 4 h 8"/>
                <a:gd name="T2" fmla="*/ 18 w 22"/>
                <a:gd name="T3" fmla="*/ 8 h 8"/>
                <a:gd name="T4" fmla="*/ 22 w 22"/>
                <a:gd name="T5" fmla="*/ 6 h 8"/>
                <a:gd name="T6" fmla="*/ 21 w 22"/>
                <a:gd name="T7" fmla="*/ 2 h 8"/>
                <a:gd name="T8" fmla="*/ 1 w 22"/>
                <a:gd name="T9" fmla="*/ 0 h 8"/>
                <a:gd name="T10" fmla="*/ 0 w 22"/>
                <a:gd name="T1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8">
                  <a:moveTo>
                    <a:pt x="0" y="4"/>
                  </a:moveTo>
                  <a:cubicBezTo>
                    <a:pt x="0" y="4"/>
                    <a:pt x="13" y="8"/>
                    <a:pt x="18" y="8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50330" y="1202741"/>
              <a:ext cx="571500" cy="1617662"/>
            </a:xfrm>
            <a:custGeom>
              <a:avLst/>
              <a:gdLst>
                <a:gd name="T0" fmla="*/ 0 w 19"/>
                <a:gd name="T1" fmla="*/ 49 h 55"/>
                <a:gd name="T2" fmla="*/ 6 w 19"/>
                <a:gd name="T3" fmla="*/ 54 h 55"/>
                <a:gd name="T4" fmla="*/ 19 w 19"/>
                <a:gd name="T5" fmla="*/ 53 h 55"/>
                <a:gd name="T6" fmla="*/ 17 w 19"/>
                <a:gd name="T7" fmla="*/ 36 h 55"/>
                <a:gd name="T8" fmla="*/ 18 w 19"/>
                <a:gd name="T9" fmla="*/ 25 h 55"/>
                <a:gd name="T10" fmla="*/ 13 w 19"/>
                <a:gd name="T11" fmla="*/ 10 h 55"/>
                <a:gd name="T12" fmla="*/ 13 w 19"/>
                <a:gd name="T13" fmla="*/ 3 h 55"/>
                <a:gd name="T14" fmla="*/ 11 w 19"/>
                <a:gd name="T15" fmla="*/ 7 h 55"/>
                <a:gd name="T16" fmla="*/ 2 w 19"/>
                <a:gd name="T17" fmla="*/ 0 h 55"/>
                <a:gd name="T18" fmla="*/ 0 w 19"/>
                <a:gd name="T19" fmla="*/ 3 h 55"/>
                <a:gd name="T20" fmla="*/ 0 w 19"/>
                <a:gd name="T21" fmla="*/ 4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5">
                  <a:moveTo>
                    <a:pt x="0" y="49"/>
                  </a:moveTo>
                  <a:cubicBezTo>
                    <a:pt x="0" y="49"/>
                    <a:pt x="0" y="53"/>
                    <a:pt x="6" y="54"/>
                  </a:cubicBezTo>
                  <a:cubicBezTo>
                    <a:pt x="13" y="55"/>
                    <a:pt x="18" y="55"/>
                    <a:pt x="19" y="53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9" y="28"/>
                    <a:pt x="18" y="25"/>
                  </a:cubicBezTo>
                  <a:cubicBezTo>
                    <a:pt x="18" y="21"/>
                    <a:pt x="13" y="10"/>
                    <a:pt x="13" y="10"/>
                  </a:cubicBezTo>
                  <a:cubicBezTo>
                    <a:pt x="13" y="10"/>
                    <a:pt x="14" y="5"/>
                    <a:pt x="13" y="3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9" y="7"/>
                    <a:pt x="2" y="0"/>
                  </a:cubicBezTo>
                  <a:cubicBezTo>
                    <a:pt x="2" y="0"/>
                    <a:pt x="0" y="2"/>
                    <a:pt x="0" y="3"/>
                  </a:cubicBezTo>
                  <a:lnTo>
                    <a:pt x="0" y="49"/>
                  </a:ln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50330" y="1202741"/>
              <a:ext cx="571500" cy="1617662"/>
            </a:xfrm>
            <a:custGeom>
              <a:avLst/>
              <a:gdLst>
                <a:gd name="T0" fmla="*/ 13 w 19"/>
                <a:gd name="T1" fmla="*/ 53 h 55"/>
                <a:gd name="T2" fmla="*/ 3 w 19"/>
                <a:gd name="T3" fmla="*/ 47 h 55"/>
                <a:gd name="T4" fmla="*/ 4 w 19"/>
                <a:gd name="T5" fmla="*/ 43 h 55"/>
                <a:gd name="T6" fmla="*/ 13 w 19"/>
                <a:gd name="T7" fmla="*/ 49 h 55"/>
                <a:gd name="T8" fmla="*/ 4 w 19"/>
                <a:gd name="T9" fmla="*/ 34 h 55"/>
                <a:gd name="T10" fmla="*/ 3 w 19"/>
                <a:gd name="T11" fmla="*/ 7 h 55"/>
                <a:gd name="T12" fmla="*/ 7 w 19"/>
                <a:gd name="T13" fmla="*/ 11 h 55"/>
                <a:gd name="T14" fmla="*/ 4 w 19"/>
                <a:gd name="T15" fmla="*/ 6 h 55"/>
                <a:gd name="T16" fmla="*/ 8 w 19"/>
                <a:gd name="T17" fmla="*/ 6 h 55"/>
                <a:gd name="T18" fmla="*/ 2 w 19"/>
                <a:gd name="T19" fmla="*/ 0 h 55"/>
                <a:gd name="T20" fmla="*/ 0 w 19"/>
                <a:gd name="T21" fmla="*/ 3 h 55"/>
                <a:gd name="T22" fmla="*/ 0 w 19"/>
                <a:gd name="T23" fmla="*/ 49 h 55"/>
                <a:gd name="T24" fmla="*/ 6 w 19"/>
                <a:gd name="T25" fmla="*/ 54 h 55"/>
                <a:gd name="T26" fmla="*/ 19 w 19"/>
                <a:gd name="T27" fmla="*/ 53 h 55"/>
                <a:gd name="T28" fmla="*/ 19 w 19"/>
                <a:gd name="T29" fmla="*/ 53 h 55"/>
                <a:gd name="T30" fmla="*/ 13 w 19"/>
                <a:gd name="T31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" h="55">
                  <a:moveTo>
                    <a:pt x="13" y="53"/>
                  </a:moveTo>
                  <a:cubicBezTo>
                    <a:pt x="6" y="53"/>
                    <a:pt x="3" y="47"/>
                    <a:pt x="3" y="47"/>
                  </a:cubicBezTo>
                  <a:cubicBezTo>
                    <a:pt x="3" y="47"/>
                    <a:pt x="1" y="43"/>
                    <a:pt x="4" y="43"/>
                  </a:cubicBezTo>
                  <a:cubicBezTo>
                    <a:pt x="6" y="43"/>
                    <a:pt x="13" y="49"/>
                    <a:pt x="13" y="49"/>
                  </a:cubicBezTo>
                  <a:cubicBezTo>
                    <a:pt x="12" y="45"/>
                    <a:pt x="7" y="39"/>
                    <a:pt x="4" y="34"/>
                  </a:cubicBezTo>
                  <a:cubicBezTo>
                    <a:pt x="1" y="29"/>
                    <a:pt x="3" y="7"/>
                    <a:pt x="3" y="7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6" y="8"/>
                    <a:pt x="8" y="7"/>
                    <a:pt x="8" y="6"/>
                  </a:cubicBezTo>
                  <a:cubicBezTo>
                    <a:pt x="7" y="5"/>
                    <a:pt x="5" y="3"/>
                    <a:pt x="2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3"/>
                    <a:pt x="6" y="54"/>
                  </a:cubicBezTo>
                  <a:cubicBezTo>
                    <a:pt x="13" y="55"/>
                    <a:pt x="18" y="55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7" y="53"/>
                    <a:pt x="15" y="53"/>
                    <a:pt x="13" y="53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-221170" y="1261479"/>
              <a:ext cx="871537" cy="2058987"/>
            </a:xfrm>
            <a:custGeom>
              <a:avLst/>
              <a:gdLst>
                <a:gd name="T0" fmla="*/ 0 w 29"/>
                <a:gd name="T1" fmla="*/ 67 h 70"/>
                <a:gd name="T2" fmla="*/ 10 w 29"/>
                <a:gd name="T3" fmla="*/ 70 h 70"/>
                <a:gd name="T4" fmla="*/ 24 w 29"/>
                <a:gd name="T5" fmla="*/ 45 h 70"/>
                <a:gd name="T6" fmla="*/ 28 w 29"/>
                <a:gd name="T7" fmla="*/ 33 h 70"/>
                <a:gd name="T8" fmla="*/ 18 w 29"/>
                <a:gd name="T9" fmla="*/ 0 h 70"/>
                <a:gd name="T10" fmla="*/ 10 w 29"/>
                <a:gd name="T11" fmla="*/ 4 h 70"/>
                <a:gd name="T12" fmla="*/ 10 w 29"/>
                <a:gd name="T13" fmla="*/ 22 h 70"/>
                <a:gd name="T14" fmla="*/ 0 w 29"/>
                <a:gd name="T15" fmla="*/ 6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70">
                  <a:moveTo>
                    <a:pt x="0" y="67"/>
                  </a:moveTo>
                  <a:cubicBezTo>
                    <a:pt x="10" y="70"/>
                    <a:pt x="10" y="70"/>
                    <a:pt x="10" y="70"/>
                  </a:cubicBezTo>
                  <a:cubicBezTo>
                    <a:pt x="10" y="70"/>
                    <a:pt x="23" y="46"/>
                    <a:pt x="24" y="45"/>
                  </a:cubicBezTo>
                  <a:cubicBezTo>
                    <a:pt x="25" y="44"/>
                    <a:pt x="29" y="40"/>
                    <a:pt x="28" y="33"/>
                  </a:cubicBezTo>
                  <a:cubicBezTo>
                    <a:pt x="27" y="26"/>
                    <a:pt x="26" y="9"/>
                    <a:pt x="18" y="0"/>
                  </a:cubicBezTo>
                  <a:cubicBezTo>
                    <a:pt x="18" y="0"/>
                    <a:pt x="15" y="5"/>
                    <a:pt x="10" y="4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8" y="51"/>
                    <a:pt x="0" y="67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90043" y="1409116"/>
              <a:ext cx="361950" cy="1382712"/>
            </a:xfrm>
            <a:custGeom>
              <a:avLst/>
              <a:gdLst>
                <a:gd name="T0" fmla="*/ 6 w 12"/>
                <a:gd name="T1" fmla="*/ 44 h 47"/>
                <a:gd name="T2" fmla="*/ 9 w 12"/>
                <a:gd name="T3" fmla="*/ 47 h 47"/>
                <a:gd name="T4" fmla="*/ 12 w 12"/>
                <a:gd name="T5" fmla="*/ 44 h 47"/>
                <a:gd name="T6" fmla="*/ 9 w 12"/>
                <a:gd name="T7" fmla="*/ 20 h 47"/>
                <a:gd name="T8" fmla="*/ 4 w 12"/>
                <a:gd name="T9" fmla="*/ 5 h 47"/>
                <a:gd name="T10" fmla="*/ 3 w 12"/>
                <a:gd name="T11" fmla="*/ 0 h 47"/>
                <a:gd name="T12" fmla="*/ 0 w 12"/>
                <a:gd name="T13" fmla="*/ 3 h 47"/>
                <a:gd name="T14" fmla="*/ 1 w 12"/>
                <a:gd name="T15" fmla="*/ 6 h 47"/>
                <a:gd name="T16" fmla="*/ 4 w 12"/>
                <a:gd name="T17" fmla="*/ 17 h 47"/>
                <a:gd name="T18" fmla="*/ 6 w 12"/>
                <a:gd name="T19" fmla="*/ 4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47">
                  <a:moveTo>
                    <a:pt x="6" y="44"/>
                  </a:moveTo>
                  <a:cubicBezTo>
                    <a:pt x="9" y="47"/>
                    <a:pt x="9" y="47"/>
                    <a:pt x="9" y="47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0" y="25"/>
                    <a:pt x="9" y="20"/>
                  </a:cubicBezTo>
                  <a:cubicBezTo>
                    <a:pt x="8" y="16"/>
                    <a:pt x="4" y="5"/>
                    <a:pt x="4" y="5"/>
                  </a:cubicBezTo>
                  <a:cubicBezTo>
                    <a:pt x="4" y="5"/>
                    <a:pt x="6" y="2"/>
                    <a:pt x="3" y="0"/>
                  </a:cubicBezTo>
                  <a:cubicBezTo>
                    <a:pt x="3" y="0"/>
                    <a:pt x="1" y="1"/>
                    <a:pt x="0" y="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3" y="14"/>
                    <a:pt x="4" y="17"/>
                  </a:cubicBezTo>
                  <a:cubicBezTo>
                    <a:pt x="4" y="21"/>
                    <a:pt x="5" y="42"/>
                    <a:pt x="6" y="44"/>
                  </a:cubicBezTo>
                  <a:close/>
                </a:path>
              </a:pathLst>
            </a:custGeom>
            <a:solidFill>
              <a:srgbClr val="A41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51993" y="1937754"/>
              <a:ext cx="781050" cy="530225"/>
            </a:xfrm>
            <a:custGeom>
              <a:avLst/>
              <a:gdLst>
                <a:gd name="T0" fmla="*/ 25 w 26"/>
                <a:gd name="T1" fmla="*/ 13 h 18"/>
                <a:gd name="T2" fmla="*/ 22 w 26"/>
                <a:gd name="T3" fmla="*/ 4 h 18"/>
                <a:gd name="T4" fmla="*/ 14 w 26"/>
                <a:gd name="T5" fmla="*/ 6 h 18"/>
                <a:gd name="T6" fmla="*/ 11 w 26"/>
                <a:gd name="T7" fmla="*/ 8 h 18"/>
                <a:gd name="T8" fmla="*/ 8 w 26"/>
                <a:gd name="T9" fmla="*/ 8 h 18"/>
                <a:gd name="T10" fmla="*/ 4 w 26"/>
                <a:gd name="T11" fmla="*/ 8 h 18"/>
                <a:gd name="T12" fmla="*/ 3 w 26"/>
                <a:gd name="T13" fmla="*/ 7 h 18"/>
                <a:gd name="T14" fmla="*/ 1 w 26"/>
                <a:gd name="T15" fmla="*/ 0 h 18"/>
                <a:gd name="T16" fmla="*/ 0 w 26"/>
                <a:gd name="T17" fmla="*/ 16 h 18"/>
                <a:gd name="T18" fmla="*/ 0 w 26"/>
                <a:gd name="T19" fmla="*/ 18 h 18"/>
                <a:gd name="T20" fmla="*/ 11 w 26"/>
                <a:gd name="T21" fmla="*/ 17 h 18"/>
                <a:gd name="T22" fmla="*/ 25 w 26"/>
                <a:gd name="T2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18">
                  <a:moveTo>
                    <a:pt x="25" y="13"/>
                  </a:moveTo>
                  <a:cubicBezTo>
                    <a:pt x="25" y="13"/>
                    <a:pt x="26" y="8"/>
                    <a:pt x="22" y="4"/>
                  </a:cubicBezTo>
                  <a:cubicBezTo>
                    <a:pt x="22" y="4"/>
                    <a:pt x="14" y="6"/>
                    <a:pt x="14" y="6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1" y="8"/>
                    <a:pt x="8" y="8"/>
                    <a:pt x="8" y="8"/>
                  </a:cubicBezTo>
                  <a:cubicBezTo>
                    <a:pt x="7" y="8"/>
                    <a:pt x="5" y="7"/>
                    <a:pt x="4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4" y="3"/>
                    <a:pt x="1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9" y="18"/>
                    <a:pt x="11" y="17"/>
                  </a:cubicBezTo>
                  <a:cubicBezTo>
                    <a:pt x="13" y="16"/>
                    <a:pt x="24" y="15"/>
                    <a:pt x="25" y="13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10730" y="2055229"/>
              <a:ext cx="692150" cy="382587"/>
            </a:xfrm>
            <a:custGeom>
              <a:avLst/>
              <a:gdLst>
                <a:gd name="T0" fmla="*/ 20 w 23"/>
                <a:gd name="T1" fmla="*/ 0 h 13"/>
                <a:gd name="T2" fmla="*/ 12 w 23"/>
                <a:gd name="T3" fmla="*/ 2 h 13"/>
                <a:gd name="T4" fmla="*/ 9 w 23"/>
                <a:gd name="T5" fmla="*/ 4 h 13"/>
                <a:gd name="T6" fmla="*/ 6 w 23"/>
                <a:gd name="T7" fmla="*/ 4 h 13"/>
                <a:gd name="T8" fmla="*/ 3 w 23"/>
                <a:gd name="T9" fmla="*/ 3 h 13"/>
                <a:gd name="T10" fmla="*/ 2 w 23"/>
                <a:gd name="T11" fmla="*/ 7 h 13"/>
                <a:gd name="T12" fmla="*/ 4 w 23"/>
                <a:gd name="T13" fmla="*/ 6 h 13"/>
                <a:gd name="T14" fmla="*/ 0 w 23"/>
                <a:gd name="T15" fmla="*/ 13 h 13"/>
                <a:gd name="T16" fmla="*/ 6 w 23"/>
                <a:gd name="T17" fmla="*/ 6 h 13"/>
                <a:gd name="T18" fmla="*/ 11 w 23"/>
                <a:gd name="T19" fmla="*/ 5 h 13"/>
                <a:gd name="T20" fmla="*/ 8 w 23"/>
                <a:gd name="T21" fmla="*/ 11 h 13"/>
                <a:gd name="T22" fmla="*/ 15 w 23"/>
                <a:gd name="T23" fmla="*/ 4 h 13"/>
                <a:gd name="T24" fmla="*/ 19 w 23"/>
                <a:gd name="T25" fmla="*/ 5 h 13"/>
                <a:gd name="T26" fmla="*/ 23 w 23"/>
                <a:gd name="T27" fmla="*/ 6 h 13"/>
                <a:gd name="T28" fmla="*/ 23 w 23"/>
                <a:gd name="T29" fmla="*/ 6 h 13"/>
                <a:gd name="T30" fmla="*/ 20 w 23"/>
                <a:gd name="T3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13">
                  <a:moveTo>
                    <a:pt x="20" y="0"/>
                  </a:moveTo>
                  <a:cubicBezTo>
                    <a:pt x="20" y="0"/>
                    <a:pt x="12" y="2"/>
                    <a:pt x="12" y="2"/>
                  </a:cubicBezTo>
                  <a:cubicBezTo>
                    <a:pt x="12" y="3"/>
                    <a:pt x="9" y="4"/>
                    <a:pt x="9" y="4"/>
                  </a:cubicBezTo>
                  <a:cubicBezTo>
                    <a:pt x="9" y="4"/>
                    <a:pt x="6" y="4"/>
                    <a:pt x="6" y="4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3" y="5"/>
                    <a:pt x="2" y="6"/>
                    <a:pt x="2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1" y="12"/>
                    <a:pt x="0" y="13"/>
                  </a:cubicBezTo>
                  <a:cubicBezTo>
                    <a:pt x="0" y="13"/>
                    <a:pt x="6" y="9"/>
                    <a:pt x="6" y="6"/>
                  </a:cubicBezTo>
                  <a:cubicBezTo>
                    <a:pt x="6" y="4"/>
                    <a:pt x="11" y="5"/>
                    <a:pt x="11" y="5"/>
                  </a:cubicBezTo>
                  <a:cubicBezTo>
                    <a:pt x="11" y="5"/>
                    <a:pt x="13" y="7"/>
                    <a:pt x="8" y="11"/>
                  </a:cubicBezTo>
                  <a:cubicBezTo>
                    <a:pt x="8" y="11"/>
                    <a:pt x="14" y="7"/>
                    <a:pt x="15" y="4"/>
                  </a:cubicBezTo>
                  <a:cubicBezTo>
                    <a:pt x="17" y="0"/>
                    <a:pt x="19" y="5"/>
                    <a:pt x="19" y="5"/>
                  </a:cubicBezTo>
                  <a:cubicBezTo>
                    <a:pt x="19" y="5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4"/>
                    <a:pt x="22" y="2"/>
                    <a:pt x="2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59843" y="1291641"/>
              <a:ext cx="330200" cy="1470025"/>
            </a:xfrm>
            <a:custGeom>
              <a:avLst/>
              <a:gdLst>
                <a:gd name="T0" fmla="*/ 4 w 11"/>
                <a:gd name="T1" fmla="*/ 50 h 50"/>
                <a:gd name="T2" fmla="*/ 8 w 11"/>
                <a:gd name="T3" fmla="*/ 44 h 50"/>
                <a:gd name="T4" fmla="*/ 11 w 11"/>
                <a:gd name="T5" fmla="*/ 40 h 50"/>
                <a:gd name="T6" fmla="*/ 11 w 11"/>
                <a:gd name="T7" fmla="*/ 31 h 50"/>
                <a:gd name="T8" fmla="*/ 2 w 11"/>
                <a:gd name="T9" fmla="*/ 7 h 50"/>
                <a:gd name="T10" fmla="*/ 3 w 11"/>
                <a:gd name="T11" fmla="*/ 6 h 50"/>
                <a:gd name="T12" fmla="*/ 1 w 11"/>
                <a:gd name="T13" fmla="*/ 0 h 50"/>
                <a:gd name="T14" fmla="*/ 0 w 11"/>
                <a:gd name="T15" fmla="*/ 1 h 50"/>
                <a:gd name="T16" fmla="*/ 1 w 11"/>
                <a:gd name="T17" fmla="*/ 5 h 50"/>
                <a:gd name="T18" fmla="*/ 1 w 11"/>
                <a:gd name="T19" fmla="*/ 7 h 50"/>
                <a:gd name="T20" fmla="*/ 10 w 11"/>
                <a:gd name="T21" fmla="*/ 31 h 50"/>
                <a:gd name="T22" fmla="*/ 6 w 11"/>
                <a:gd name="T23" fmla="*/ 43 h 50"/>
                <a:gd name="T24" fmla="*/ 4 w 11"/>
                <a:gd name="T2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50">
                  <a:moveTo>
                    <a:pt x="4" y="50"/>
                  </a:moveTo>
                  <a:cubicBezTo>
                    <a:pt x="6" y="47"/>
                    <a:pt x="7" y="44"/>
                    <a:pt x="8" y="44"/>
                  </a:cubicBezTo>
                  <a:cubicBezTo>
                    <a:pt x="8" y="43"/>
                    <a:pt x="10" y="42"/>
                    <a:pt x="11" y="40"/>
                  </a:cubicBezTo>
                  <a:cubicBezTo>
                    <a:pt x="11" y="36"/>
                    <a:pt x="11" y="32"/>
                    <a:pt x="11" y="31"/>
                  </a:cubicBezTo>
                  <a:cubicBezTo>
                    <a:pt x="10" y="28"/>
                    <a:pt x="2" y="7"/>
                    <a:pt x="2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9" y="29"/>
                    <a:pt x="10" y="31"/>
                  </a:cubicBezTo>
                  <a:cubicBezTo>
                    <a:pt x="11" y="34"/>
                    <a:pt x="7" y="40"/>
                    <a:pt x="6" y="43"/>
                  </a:cubicBezTo>
                  <a:cubicBezTo>
                    <a:pt x="6" y="44"/>
                    <a:pt x="5" y="47"/>
                    <a:pt x="4" y="5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-10032" y="1409116"/>
              <a:ext cx="390525" cy="1587500"/>
            </a:xfrm>
            <a:custGeom>
              <a:avLst/>
              <a:gdLst>
                <a:gd name="T0" fmla="*/ 9 w 13"/>
                <a:gd name="T1" fmla="*/ 12 h 54"/>
                <a:gd name="T2" fmla="*/ 13 w 13"/>
                <a:gd name="T3" fmla="*/ 15 h 54"/>
                <a:gd name="T4" fmla="*/ 6 w 13"/>
                <a:gd name="T5" fmla="*/ 4 h 54"/>
                <a:gd name="T6" fmla="*/ 3 w 13"/>
                <a:gd name="T7" fmla="*/ 0 h 54"/>
                <a:gd name="T8" fmla="*/ 3 w 13"/>
                <a:gd name="T9" fmla="*/ 17 h 54"/>
                <a:gd name="T10" fmla="*/ 0 w 13"/>
                <a:gd name="T11" fmla="*/ 37 h 54"/>
                <a:gd name="T12" fmla="*/ 3 w 13"/>
                <a:gd name="T13" fmla="*/ 43 h 54"/>
                <a:gd name="T14" fmla="*/ 9 w 13"/>
                <a:gd name="T15" fmla="*/ 54 h 54"/>
                <a:gd name="T16" fmla="*/ 12 w 13"/>
                <a:gd name="T17" fmla="*/ 48 h 54"/>
                <a:gd name="T18" fmla="*/ 8 w 13"/>
                <a:gd name="T19" fmla="*/ 36 h 54"/>
                <a:gd name="T20" fmla="*/ 11 w 13"/>
                <a:gd name="T21" fmla="*/ 36 h 54"/>
                <a:gd name="T22" fmla="*/ 8 w 13"/>
                <a:gd name="T23" fmla="*/ 35 h 54"/>
                <a:gd name="T24" fmla="*/ 7 w 13"/>
                <a:gd name="T25" fmla="*/ 27 h 54"/>
                <a:gd name="T26" fmla="*/ 8 w 13"/>
                <a:gd name="T27" fmla="*/ 22 h 54"/>
                <a:gd name="T28" fmla="*/ 9 w 13"/>
                <a:gd name="T29" fmla="*/ 18 h 54"/>
                <a:gd name="T30" fmla="*/ 9 w 13"/>
                <a:gd name="T31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54">
                  <a:moveTo>
                    <a:pt x="9" y="12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6" y="6"/>
                    <a:pt x="6" y="4"/>
                  </a:cubicBezTo>
                  <a:cubicBezTo>
                    <a:pt x="5" y="3"/>
                    <a:pt x="4" y="2"/>
                    <a:pt x="3" y="0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26"/>
                    <a:pt x="0" y="37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2"/>
                    <a:pt x="11" y="50"/>
                    <a:pt x="12" y="48"/>
                  </a:cubicBezTo>
                  <a:cubicBezTo>
                    <a:pt x="11" y="44"/>
                    <a:pt x="8" y="37"/>
                    <a:pt x="8" y="36"/>
                  </a:cubicBezTo>
                  <a:cubicBezTo>
                    <a:pt x="8" y="36"/>
                    <a:pt x="10" y="36"/>
                    <a:pt x="11" y="36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9" y="24"/>
                    <a:pt x="8" y="22"/>
                  </a:cubicBezTo>
                  <a:cubicBezTo>
                    <a:pt x="8" y="20"/>
                    <a:pt x="9" y="18"/>
                    <a:pt x="9" y="18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40780" y="1378954"/>
              <a:ext cx="149225" cy="234950"/>
            </a:xfrm>
            <a:custGeom>
              <a:avLst/>
              <a:gdLst>
                <a:gd name="T0" fmla="*/ 5 w 5"/>
                <a:gd name="T1" fmla="*/ 8 h 8"/>
                <a:gd name="T2" fmla="*/ 2 w 5"/>
                <a:gd name="T3" fmla="*/ 0 h 8"/>
                <a:gd name="T4" fmla="*/ 0 w 5"/>
                <a:gd name="T5" fmla="*/ 0 h 8"/>
                <a:gd name="T6" fmla="*/ 5 w 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8">
                  <a:moveTo>
                    <a:pt x="5" y="8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2"/>
                    <a:pt x="3" y="4"/>
                    <a:pt x="5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69355" y="2937879"/>
              <a:ext cx="241300" cy="382587"/>
            </a:xfrm>
            <a:custGeom>
              <a:avLst/>
              <a:gdLst>
                <a:gd name="T0" fmla="*/ 0 w 8"/>
                <a:gd name="T1" fmla="*/ 4 h 13"/>
                <a:gd name="T2" fmla="*/ 1 w 8"/>
                <a:gd name="T3" fmla="*/ 10 h 13"/>
                <a:gd name="T4" fmla="*/ 1 w 8"/>
                <a:gd name="T5" fmla="*/ 13 h 13"/>
                <a:gd name="T6" fmla="*/ 8 w 8"/>
                <a:gd name="T7" fmla="*/ 8 h 13"/>
                <a:gd name="T8" fmla="*/ 5 w 8"/>
                <a:gd name="T9" fmla="*/ 2 h 13"/>
                <a:gd name="T10" fmla="*/ 0 w 8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0" y="4"/>
                  </a:moveTo>
                  <a:cubicBezTo>
                    <a:pt x="0" y="4"/>
                    <a:pt x="0" y="10"/>
                    <a:pt x="1" y="1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7" y="4"/>
                    <a:pt x="5" y="2"/>
                  </a:cubicBezTo>
                  <a:cubicBezTo>
                    <a:pt x="4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-191007" y="1378954"/>
              <a:ext cx="541337" cy="1765300"/>
            </a:xfrm>
            <a:custGeom>
              <a:avLst/>
              <a:gdLst>
                <a:gd name="T0" fmla="*/ 10 w 18"/>
                <a:gd name="T1" fmla="*/ 60 h 60"/>
                <a:gd name="T2" fmla="*/ 18 w 18"/>
                <a:gd name="T3" fmla="*/ 54 h 60"/>
                <a:gd name="T4" fmla="*/ 12 w 18"/>
                <a:gd name="T5" fmla="*/ 36 h 60"/>
                <a:gd name="T6" fmla="*/ 13 w 18"/>
                <a:gd name="T7" fmla="*/ 23 h 60"/>
                <a:gd name="T8" fmla="*/ 15 w 18"/>
                <a:gd name="T9" fmla="*/ 13 h 60"/>
                <a:gd name="T10" fmla="*/ 9 w 18"/>
                <a:gd name="T11" fmla="*/ 0 h 60"/>
                <a:gd name="T12" fmla="*/ 5 w 18"/>
                <a:gd name="T13" fmla="*/ 3 h 60"/>
                <a:gd name="T14" fmla="*/ 4 w 18"/>
                <a:gd name="T15" fmla="*/ 4 h 60"/>
                <a:gd name="T16" fmla="*/ 2 w 18"/>
                <a:gd name="T17" fmla="*/ 9 h 60"/>
                <a:gd name="T18" fmla="*/ 2 w 18"/>
                <a:gd name="T19" fmla="*/ 15 h 60"/>
                <a:gd name="T20" fmla="*/ 0 w 18"/>
                <a:gd name="T21" fmla="*/ 16 h 60"/>
                <a:gd name="T22" fmla="*/ 0 w 18"/>
                <a:gd name="T23" fmla="*/ 20 h 60"/>
                <a:gd name="T24" fmla="*/ 2 w 18"/>
                <a:gd name="T25" fmla="*/ 21 h 60"/>
                <a:gd name="T26" fmla="*/ 1 w 18"/>
                <a:gd name="T27" fmla="*/ 27 h 60"/>
                <a:gd name="T28" fmla="*/ 1 w 18"/>
                <a:gd name="T29" fmla="*/ 33 h 60"/>
                <a:gd name="T30" fmla="*/ 2 w 18"/>
                <a:gd name="T31" fmla="*/ 40 h 60"/>
                <a:gd name="T32" fmla="*/ 10 w 18"/>
                <a:gd name="T3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60">
                  <a:moveTo>
                    <a:pt x="10" y="60"/>
                  </a:moveTo>
                  <a:cubicBezTo>
                    <a:pt x="10" y="60"/>
                    <a:pt x="15" y="55"/>
                    <a:pt x="18" y="54"/>
                  </a:cubicBezTo>
                  <a:cubicBezTo>
                    <a:pt x="18" y="54"/>
                    <a:pt x="13" y="38"/>
                    <a:pt x="12" y="36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6" y="15"/>
                    <a:pt x="15" y="13"/>
                  </a:cubicBezTo>
                  <a:cubicBezTo>
                    <a:pt x="15" y="10"/>
                    <a:pt x="9" y="0"/>
                    <a:pt x="9" y="0"/>
                  </a:cubicBezTo>
                  <a:cubicBezTo>
                    <a:pt x="9" y="0"/>
                    <a:pt x="6" y="2"/>
                    <a:pt x="5" y="3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2" y="8"/>
                    <a:pt x="2" y="9"/>
                  </a:cubicBezTo>
                  <a:cubicBezTo>
                    <a:pt x="1" y="9"/>
                    <a:pt x="2" y="15"/>
                    <a:pt x="2" y="15"/>
                  </a:cubicBezTo>
                  <a:cubicBezTo>
                    <a:pt x="2" y="15"/>
                    <a:pt x="0" y="15"/>
                    <a:pt x="0" y="16"/>
                  </a:cubicBezTo>
                  <a:cubicBezTo>
                    <a:pt x="1" y="17"/>
                    <a:pt x="0" y="19"/>
                    <a:pt x="0" y="20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1" y="26"/>
                    <a:pt x="1" y="27"/>
                  </a:cubicBezTo>
                  <a:cubicBezTo>
                    <a:pt x="1" y="28"/>
                    <a:pt x="1" y="32"/>
                    <a:pt x="1" y="33"/>
                  </a:cubicBezTo>
                  <a:cubicBezTo>
                    <a:pt x="1" y="35"/>
                    <a:pt x="2" y="40"/>
                    <a:pt x="2" y="40"/>
                  </a:cubicBezTo>
                  <a:cubicBezTo>
                    <a:pt x="2" y="40"/>
                    <a:pt x="8" y="58"/>
                    <a:pt x="10" y="60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3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-191007" y="1437691"/>
              <a:ext cx="420687" cy="1706562"/>
            </a:xfrm>
            <a:custGeom>
              <a:avLst/>
              <a:gdLst>
                <a:gd name="T0" fmla="*/ 6 w 14"/>
                <a:gd name="T1" fmla="*/ 45 h 58"/>
                <a:gd name="T2" fmla="*/ 2 w 14"/>
                <a:gd name="T3" fmla="*/ 31 h 58"/>
                <a:gd name="T4" fmla="*/ 4 w 14"/>
                <a:gd name="T5" fmla="*/ 31 h 58"/>
                <a:gd name="T6" fmla="*/ 10 w 14"/>
                <a:gd name="T7" fmla="*/ 27 h 58"/>
                <a:gd name="T8" fmla="*/ 5 w 14"/>
                <a:gd name="T9" fmla="*/ 30 h 58"/>
                <a:gd name="T10" fmla="*/ 2 w 14"/>
                <a:gd name="T11" fmla="*/ 27 h 58"/>
                <a:gd name="T12" fmla="*/ 4 w 14"/>
                <a:gd name="T13" fmla="*/ 23 h 58"/>
                <a:gd name="T14" fmla="*/ 5 w 14"/>
                <a:gd name="T15" fmla="*/ 18 h 58"/>
                <a:gd name="T16" fmla="*/ 12 w 14"/>
                <a:gd name="T17" fmla="*/ 22 h 58"/>
                <a:gd name="T18" fmla="*/ 9 w 14"/>
                <a:gd name="T19" fmla="*/ 18 h 58"/>
                <a:gd name="T20" fmla="*/ 5 w 14"/>
                <a:gd name="T21" fmla="*/ 16 h 58"/>
                <a:gd name="T22" fmla="*/ 11 w 14"/>
                <a:gd name="T23" fmla="*/ 16 h 58"/>
                <a:gd name="T24" fmla="*/ 6 w 14"/>
                <a:gd name="T25" fmla="*/ 13 h 58"/>
                <a:gd name="T26" fmla="*/ 9 w 14"/>
                <a:gd name="T27" fmla="*/ 12 h 58"/>
                <a:gd name="T28" fmla="*/ 2 w 14"/>
                <a:gd name="T29" fmla="*/ 12 h 58"/>
                <a:gd name="T30" fmla="*/ 5 w 14"/>
                <a:gd name="T31" fmla="*/ 9 h 58"/>
                <a:gd name="T32" fmla="*/ 3 w 14"/>
                <a:gd name="T33" fmla="*/ 10 h 58"/>
                <a:gd name="T34" fmla="*/ 3 w 14"/>
                <a:gd name="T35" fmla="*/ 8 h 58"/>
                <a:gd name="T36" fmla="*/ 5 w 14"/>
                <a:gd name="T37" fmla="*/ 3 h 58"/>
                <a:gd name="T38" fmla="*/ 5 w 14"/>
                <a:gd name="T39" fmla="*/ 0 h 58"/>
                <a:gd name="T40" fmla="*/ 5 w 14"/>
                <a:gd name="T41" fmla="*/ 1 h 58"/>
                <a:gd name="T42" fmla="*/ 4 w 14"/>
                <a:gd name="T43" fmla="*/ 1 h 58"/>
                <a:gd name="T44" fmla="*/ 2 w 14"/>
                <a:gd name="T45" fmla="*/ 7 h 58"/>
                <a:gd name="T46" fmla="*/ 2 w 14"/>
                <a:gd name="T47" fmla="*/ 13 h 58"/>
                <a:gd name="T48" fmla="*/ 0 w 14"/>
                <a:gd name="T49" fmla="*/ 14 h 58"/>
                <a:gd name="T50" fmla="*/ 0 w 14"/>
                <a:gd name="T51" fmla="*/ 18 h 58"/>
                <a:gd name="T52" fmla="*/ 2 w 14"/>
                <a:gd name="T53" fmla="*/ 19 h 58"/>
                <a:gd name="T54" fmla="*/ 1 w 14"/>
                <a:gd name="T55" fmla="*/ 25 h 58"/>
                <a:gd name="T56" fmla="*/ 1 w 14"/>
                <a:gd name="T57" fmla="*/ 31 h 58"/>
                <a:gd name="T58" fmla="*/ 2 w 14"/>
                <a:gd name="T59" fmla="*/ 38 h 58"/>
                <a:gd name="T60" fmla="*/ 10 w 14"/>
                <a:gd name="T61" fmla="*/ 58 h 58"/>
                <a:gd name="T62" fmla="*/ 14 w 14"/>
                <a:gd name="T63" fmla="*/ 55 h 58"/>
                <a:gd name="T64" fmla="*/ 10 w 14"/>
                <a:gd name="T65" fmla="*/ 53 h 58"/>
                <a:gd name="T66" fmla="*/ 6 w 14"/>
                <a:gd name="T67" fmla="*/ 45 h 58"/>
                <a:gd name="T68" fmla="*/ 3 w 14"/>
                <a:gd name="T69" fmla="*/ 10 h 58"/>
                <a:gd name="T70" fmla="*/ 3 w 14"/>
                <a:gd name="T71" fmla="*/ 10 h 58"/>
                <a:gd name="T72" fmla="*/ 3 w 14"/>
                <a:gd name="T73" fmla="*/ 1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" h="58">
                  <a:moveTo>
                    <a:pt x="6" y="45"/>
                  </a:moveTo>
                  <a:cubicBezTo>
                    <a:pt x="5" y="44"/>
                    <a:pt x="2" y="31"/>
                    <a:pt x="2" y="31"/>
                  </a:cubicBezTo>
                  <a:cubicBezTo>
                    <a:pt x="2" y="31"/>
                    <a:pt x="1" y="30"/>
                    <a:pt x="4" y="31"/>
                  </a:cubicBezTo>
                  <a:cubicBezTo>
                    <a:pt x="7" y="31"/>
                    <a:pt x="10" y="27"/>
                    <a:pt x="10" y="27"/>
                  </a:cubicBezTo>
                  <a:cubicBezTo>
                    <a:pt x="10" y="27"/>
                    <a:pt x="6" y="29"/>
                    <a:pt x="5" y="30"/>
                  </a:cubicBezTo>
                  <a:cubicBezTo>
                    <a:pt x="4" y="30"/>
                    <a:pt x="2" y="28"/>
                    <a:pt x="2" y="27"/>
                  </a:cubicBezTo>
                  <a:cubicBezTo>
                    <a:pt x="3" y="27"/>
                    <a:pt x="3" y="24"/>
                    <a:pt x="4" y="23"/>
                  </a:cubicBezTo>
                  <a:cubicBezTo>
                    <a:pt x="5" y="22"/>
                    <a:pt x="5" y="20"/>
                    <a:pt x="5" y="18"/>
                  </a:cubicBezTo>
                  <a:cubicBezTo>
                    <a:pt x="9" y="17"/>
                    <a:pt x="12" y="22"/>
                    <a:pt x="12" y="22"/>
                  </a:cubicBezTo>
                  <a:cubicBezTo>
                    <a:pt x="12" y="22"/>
                    <a:pt x="11" y="19"/>
                    <a:pt x="9" y="18"/>
                  </a:cubicBezTo>
                  <a:cubicBezTo>
                    <a:pt x="7" y="16"/>
                    <a:pt x="5" y="16"/>
                    <a:pt x="5" y="16"/>
                  </a:cubicBezTo>
                  <a:cubicBezTo>
                    <a:pt x="7" y="15"/>
                    <a:pt x="10" y="16"/>
                    <a:pt x="11" y="16"/>
                  </a:cubicBezTo>
                  <a:cubicBezTo>
                    <a:pt x="10" y="15"/>
                    <a:pt x="7" y="14"/>
                    <a:pt x="6" y="13"/>
                  </a:cubicBezTo>
                  <a:cubicBezTo>
                    <a:pt x="7" y="11"/>
                    <a:pt x="9" y="12"/>
                    <a:pt x="9" y="12"/>
                  </a:cubicBezTo>
                  <a:cubicBezTo>
                    <a:pt x="7" y="9"/>
                    <a:pt x="2" y="12"/>
                    <a:pt x="2" y="12"/>
                  </a:cubicBezTo>
                  <a:cubicBezTo>
                    <a:pt x="2" y="11"/>
                    <a:pt x="5" y="9"/>
                    <a:pt x="5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2" y="6"/>
                    <a:pt x="2" y="7"/>
                  </a:cubicBezTo>
                  <a:cubicBezTo>
                    <a:pt x="1" y="7"/>
                    <a:pt x="2" y="13"/>
                    <a:pt x="2" y="13"/>
                  </a:cubicBezTo>
                  <a:cubicBezTo>
                    <a:pt x="2" y="13"/>
                    <a:pt x="0" y="13"/>
                    <a:pt x="0" y="14"/>
                  </a:cubicBezTo>
                  <a:cubicBezTo>
                    <a:pt x="1" y="15"/>
                    <a:pt x="0" y="17"/>
                    <a:pt x="0" y="18"/>
                  </a:cubicBezTo>
                  <a:cubicBezTo>
                    <a:pt x="1" y="19"/>
                    <a:pt x="2" y="19"/>
                    <a:pt x="2" y="19"/>
                  </a:cubicBezTo>
                  <a:cubicBezTo>
                    <a:pt x="2" y="19"/>
                    <a:pt x="1" y="24"/>
                    <a:pt x="1" y="25"/>
                  </a:cubicBezTo>
                  <a:cubicBezTo>
                    <a:pt x="1" y="26"/>
                    <a:pt x="1" y="30"/>
                    <a:pt x="1" y="31"/>
                  </a:cubicBezTo>
                  <a:cubicBezTo>
                    <a:pt x="1" y="33"/>
                    <a:pt x="2" y="38"/>
                    <a:pt x="2" y="38"/>
                  </a:cubicBezTo>
                  <a:cubicBezTo>
                    <a:pt x="2" y="38"/>
                    <a:pt x="8" y="56"/>
                    <a:pt x="10" y="58"/>
                  </a:cubicBezTo>
                  <a:cubicBezTo>
                    <a:pt x="10" y="58"/>
                    <a:pt x="12" y="56"/>
                    <a:pt x="14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53"/>
                    <a:pt x="7" y="46"/>
                    <a:pt x="6" y="45"/>
                  </a:cubicBezTo>
                  <a:close/>
                  <a:moveTo>
                    <a:pt x="3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69355" y="1909179"/>
              <a:ext cx="60325" cy="28575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1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50330" y="702679"/>
              <a:ext cx="541337" cy="676275"/>
            </a:xfrm>
            <a:custGeom>
              <a:avLst/>
              <a:gdLst>
                <a:gd name="T0" fmla="*/ 10 w 18"/>
                <a:gd name="T1" fmla="*/ 22 h 23"/>
                <a:gd name="T2" fmla="*/ 13 w 18"/>
                <a:gd name="T3" fmla="*/ 20 h 23"/>
                <a:gd name="T4" fmla="*/ 16 w 18"/>
                <a:gd name="T5" fmla="*/ 14 h 23"/>
                <a:gd name="T6" fmla="*/ 17 w 18"/>
                <a:gd name="T7" fmla="*/ 14 h 23"/>
                <a:gd name="T8" fmla="*/ 18 w 18"/>
                <a:gd name="T9" fmla="*/ 11 h 23"/>
                <a:gd name="T10" fmla="*/ 17 w 18"/>
                <a:gd name="T11" fmla="*/ 8 h 23"/>
                <a:gd name="T12" fmla="*/ 18 w 18"/>
                <a:gd name="T13" fmla="*/ 1 h 23"/>
                <a:gd name="T14" fmla="*/ 7 w 18"/>
                <a:gd name="T15" fmla="*/ 0 h 23"/>
                <a:gd name="T16" fmla="*/ 3 w 18"/>
                <a:gd name="T17" fmla="*/ 2 h 23"/>
                <a:gd name="T18" fmla="*/ 3 w 18"/>
                <a:gd name="T19" fmla="*/ 8 h 23"/>
                <a:gd name="T20" fmla="*/ 1 w 18"/>
                <a:gd name="T21" fmla="*/ 8 h 23"/>
                <a:gd name="T22" fmla="*/ 3 w 18"/>
                <a:gd name="T23" fmla="*/ 14 h 23"/>
                <a:gd name="T24" fmla="*/ 4 w 18"/>
                <a:gd name="T25" fmla="*/ 20 h 23"/>
                <a:gd name="T26" fmla="*/ 10 w 18"/>
                <a:gd name="T2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23">
                  <a:moveTo>
                    <a:pt x="10" y="22"/>
                  </a:moveTo>
                  <a:cubicBezTo>
                    <a:pt x="11" y="23"/>
                    <a:pt x="12" y="21"/>
                    <a:pt x="13" y="20"/>
                  </a:cubicBezTo>
                  <a:cubicBezTo>
                    <a:pt x="13" y="20"/>
                    <a:pt x="16" y="16"/>
                    <a:pt x="16" y="14"/>
                  </a:cubicBezTo>
                  <a:cubicBezTo>
                    <a:pt x="16" y="14"/>
                    <a:pt x="17" y="15"/>
                    <a:pt x="17" y="14"/>
                  </a:cubicBezTo>
                  <a:cubicBezTo>
                    <a:pt x="17" y="14"/>
                    <a:pt x="17" y="12"/>
                    <a:pt x="18" y="11"/>
                  </a:cubicBezTo>
                  <a:cubicBezTo>
                    <a:pt x="18" y="11"/>
                    <a:pt x="18" y="8"/>
                    <a:pt x="17" y="8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8"/>
                    <a:pt x="0" y="14"/>
                    <a:pt x="3" y="14"/>
                  </a:cubicBezTo>
                  <a:cubicBezTo>
                    <a:pt x="3" y="14"/>
                    <a:pt x="3" y="18"/>
                    <a:pt x="4" y="20"/>
                  </a:cubicBezTo>
                  <a:cubicBezTo>
                    <a:pt x="6" y="21"/>
                    <a:pt x="7" y="22"/>
                    <a:pt x="10" y="22"/>
                  </a:cubicBez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50330" y="702679"/>
              <a:ext cx="269875" cy="647700"/>
            </a:xfrm>
            <a:custGeom>
              <a:avLst/>
              <a:gdLst>
                <a:gd name="T0" fmla="*/ 7 w 9"/>
                <a:gd name="T1" fmla="*/ 22 h 22"/>
                <a:gd name="T2" fmla="*/ 5 w 9"/>
                <a:gd name="T3" fmla="*/ 16 h 22"/>
                <a:gd name="T4" fmla="*/ 6 w 9"/>
                <a:gd name="T5" fmla="*/ 12 h 22"/>
                <a:gd name="T6" fmla="*/ 5 w 9"/>
                <a:gd name="T7" fmla="*/ 10 h 22"/>
                <a:gd name="T8" fmla="*/ 7 w 9"/>
                <a:gd name="T9" fmla="*/ 9 h 22"/>
                <a:gd name="T10" fmla="*/ 8 w 9"/>
                <a:gd name="T11" fmla="*/ 5 h 22"/>
                <a:gd name="T12" fmla="*/ 9 w 9"/>
                <a:gd name="T13" fmla="*/ 0 h 22"/>
                <a:gd name="T14" fmla="*/ 7 w 9"/>
                <a:gd name="T15" fmla="*/ 0 h 22"/>
                <a:gd name="T16" fmla="*/ 3 w 9"/>
                <a:gd name="T17" fmla="*/ 2 h 22"/>
                <a:gd name="T18" fmla="*/ 3 w 9"/>
                <a:gd name="T19" fmla="*/ 8 h 22"/>
                <a:gd name="T20" fmla="*/ 1 w 9"/>
                <a:gd name="T21" fmla="*/ 8 h 22"/>
                <a:gd name="T22" fmla="*/ 3 w 9"/>
                <a:gd name="T23" fmla="*/ 14 h 22"/>
                <a:gd name="T24" fmla="*/ 4 w 9"/>
                <a:gd name="T25" fmla="*/ 20 h 22"/>
                <a:gd name="T26" fmla="*/ 7 w 9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22">
                  <a:moveTo>
                    <a:pt x="7" y="22"/>
                  </a:moveTo>
                  <a:cubicBezTo>
                    <a:pt x="6" y="20"/>
                    <a:pt x="5" y="16"/>
                    <a:pt x="5" y="16"/>
                  </a:cubicBezTo>
                  <a:cubicBezTo>
                    <a:pt x="5" y="14"/>
                    <a:pt x="6" y="12"/>
                    <a:pt x="6" y="1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7" y="9"/>
                    <a:pt x="7" y="9"/>
                  </a:cubicBezTo>
                  <a:cubicBezTo>
                    <a:pt x="7" y="9"/>
                    <a:pt x="8" y="6"/>
                    <a:pt x="8" y="5"/>
                  </a:cubicBezTo>
                  <a:cubicBezTo>
                    <a:pt x="8" y="5"/>
                    <a:pt x="8" y="2"/>
                    <a:pt x="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8"/>
                    <a:pt x="0" y="14"/>
                    <a:pt x="3" y="14"/>
                  </a:cubicBezTo>
                  <a:cubicBezTo>
                    <a:pt x="3" y="14"/>
                    <a:pt x="3" y="18"/>
                    <a:pt x="4" y="20"/>
                  </a:cubicBezTo>
                  <a:cubicBezTo>
                    <a:pt x="5" y="21"/>
                    <a:pt x="6" y="21"/>
                    <a:pt x="7" y="22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71018" y="937629"/>
              <a:ext cx="120650" cy="323850"/>
            </a:xfrm>
            <a:custGeom>
              <a:avLst/>
              <a:gdLst>
                <a:gd name="T0" fmla="*/ 2 w 4"/>
                <a:gd name="T1" fmla="*/ 6 h 11"/>
                <a:gd name="T2" fmla="*/ 3 w 4"/>
                <a:gd name="T3" fmla="*/ 6 h 11"/>
                <a:gd name="T4" fmla="*/ 4 w 4"/>
                <a:gd name="T5" fmla="*/ 2 h 11"/>
                <a:gd name="T6" fmla="*/ 3 w 4"/>
                <a:gd name="T7" fmla="*/ 0 h 11"/>
                <a:gd name="T8" fmla="*/ 2 w 4"/>
                <a:gd name="T9" fmla="*/ 6 h 11"/>
                <a:gd name="T10" fmla="*/ 0 w 4"/>
                <a:gd name="T11" fmla="*/ 7 h 11"/>
                <a:gd name="T12" fmla="*/ 0 w 4"/>
                <a:gd name="T13" fmla="*/ 11 h 11"/>
                <a:gd name="T14" fmla="*/ 2 w 4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11">
                  <a:moveTo>
                    <a:pt x="2" y="6"/>
                  </a:moveTo>
                  <a:cubicBezTo>
                    <a:pt x="2" y="6"/>
                    <a:pt x="3" y="7"/>
                    <a:pt x="3" y="6"/>
                  </a:cubicBezTo>
                  <a:cubicBezTo>
                    <a:pt x="3" y="6"/>
                    <a:pt x="4" y="4"/>
                    <a:pt x="4" y="2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2" y="5"/>
                    <a:pt x="2" y="6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0" y="8"/>
                    <a:pt x="0" y="9"/>
                    <a:pt x="0" y="11"/>
                  </a:cubicBezTo>
                  <a:cubicBezTo>
                    <a:pt x="1" y="10"/>
                    <a:pt x="2" y="7"/>
                    <a:pt x="2" y="6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80493" y="555042"/>
              <a:ext cx="541337" cy="500062"/>
            </a:xfrm>
            <a:custGeom>
              <a:avLst/>
              <a:gdLst>
                <a:gd name="T0" fmla="*/ 17 w 18"/>
                <a:gd name="T1" fmla="*/ 7 h 17"/>
                <a:gd name="T2" fmla="*/ 12 w 18"/>
                <a:gd name="T3" fmla="*/ 0 h 17"/>
                <a:gd name="T4" fmla="*/ 9 w 18"/>
                <a:gd name="T5" fmla="*/ 1 h 17"/>
                <a:gd name="T6" fmla="*/ 6 w 18"/>
                <a:gd name="T7" fmla="*/ 1 h 17"/>
                <a:gd name="T8" fmla="*/ 4 w 18"/>
                <a:gd name="T9" fmla="*/ 2 h 17"/>
                <a:gd name="T10" fmla="*/ 0 w 18"/>
                <a:gd name="T11" fmla="*/ 7 h 17"/>
                <a:gd name="T12" fmla="*/ 1 w 18"/>
                <a:gd name="T13" fmla="*/ 13 h 17"/>
                <a:gd name="T14" fmla="*/ 1 w 18"/>
                <a:gd name="T15" fmla="*/ 13 h 17"/>
                <a:gd name="T16" fmla="*/ 2 w 18"/>
                <a:gd name="T17" fmla="*/ 16 h 17"/>
                <a:gd name="T18" fmla="*/ 2 w 18"/>
                <a:gd name="T19" fmla="*/ 15 h 17"/>
                <a:gd name="T20" fmla="*/ 3 w 18"/>
                <a:gd name="T21" fmla="*/ 12 h 17"/>
                <a:gd name="T22" fmla="*/ 3 w 18"/>
                <a:gd name="T23" fmla="*/ 9 h 17"/>
                <a:gd name="T24" fmla="*/ 4 w 18"/>
                <a:gd name="T25" fmla="*/ 8 h 17"/>
                <a:gd name="T26" fmla="*/ 8 w 18"/>
                <a:gd name="T27" fmla="*/ 9 h 17"/>
                <a:gd name="T28" fmla="*/ 10 w 18"/>
                <a:gd name="T29" fmla="*/ 10 h 17"/>
                <a:gd name="T30" fmla="*/ 11 w 18"/>
                <a:gd name="T31" fmla="*/ 10 h 17"/>
                <a:gd name="T32" fmla="*/ 12 w 18"/>
                <a:gd name="T33" fmla="*/ 10 h 17"/>
                <a:gd name="T34" fmla="*/ 14 w 18"/>
                <a:gd name="T35" fmla="*/ 11 h 17"/>
                <a:gd name="T36" fmla="*/ 14 w 18"/>
                <a:gd name="T37" fmla="*/ 9 h 17"/>
                <a:gd name="T38" fmla="*/ 14 w 18"/>
                <a:gd name="T39" fmla="*/ 9 h 17"/>
                <a:gd name="T40" fmla="*/ 15 w 18"/>
                <a:gd name="T41" fmla="*/ 10 h 17"/>
                <a:gd name="T42" fmla="*/ 15 w 18"/>
                <a:gd name="T43" fmla="*/ 13 h 17"/>
                <a:gd name="T44" fmla="*/ 15 w 18"/>
                <a:gd name="T45" fmla="*/ 16 h 17"/>
                <a:gd name="T46" fmla="*/ 15 w 18"/>
                <a:gd name="T47" fmla="*/ 17 h 17"/>
                <a:gd name="T48" fmla="*/ 16 w 18"/>
                <a:gd name="T49" fmla="*/ 13 h 17"/>
                <a:gd name="T50" fmla="*/ 17 w 18"/>
                <a:gd name="T51" fmla="*/ 14 h 17"/>
                <a:gd name="T52" fmla="*/ 17 w 18"/>
                <a:gd name="T53" fmla="*/ 11 h 17"/>
                <a:gd name="T54" fmla="*/ 17 w 18"/>
                <a:gd name="T5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" h="17">
                  <a:moveTo>
                    <a:pt x="17" y="7"/>
                  </a:moveTo>
                  <a:cubicBezTo>
                    <a:pt x="17" y="7"/>
                    <a:pt x="17" y="2"/>
                    <a:pt x="12" y="0"/>
                  </a:cubicBezTo>
                  <a:cubicBezTo>
                    <a:pt x="12" y="0"/>
                    <a:pt x="11" y="0"/>
                    <a:pt x="9" y="1"/>
                  </a:cubicBezTo>
                  <a:cubicBezTo>
                    <a:pt x="9" y="1"/>
                    <a:pt x="6" y="1"/>
                    <a:pt x="6" y="1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1" y="3"/>
                    <a:pt x="0" y="7"/>
                  </a:cubicBezTo>
                  <a:cubicBezTo>
                    <a:pt x="0" y="7"/>
                    <a:pt x="0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3"/>
                    <a:pt x="3" y="12"/>
                  </a:cubicBezTo>
                  <a:cubicBezTo>
                    <a:pt x="3" y="11"/>
                    <a:pt x="3" y="9"/>
                    <a:pt x="3" y="9"/>
                  </a:cubicBezTo>
                  <a:cubicBezTo>
                    <a:pt x="3" y="9"/>
                    <a:pt x="4" y="8"/>
                    <a:pt x="4" y="8"/>
                  </a:cubicBezTo>
                  <a:cubicBezTo>
                    <a:pt x="4" y="8"/>
                    <a:pt x="7" y="8"/>
                    <a:pt x="8" y="9"/>
                  </a:cubicBezTo>
                  <a:cubicBezTo>
                    <a:pt x="8" y="9"/>
                    <a:pt x="8" y="10"/>
                    <a:pt x="10" y="10"/>
                  </a:cubicBezTo>
                  <a:cubicBezTo>
                    <a:pt x="10" y="10"/>
                    <a:pt x="10" y="10"/>
                    <a:pt x="11" y="10"/>
                  </a:cubicBezTo>
                  <a:cubicBezTo>
                    <a:pt x="11" y="10"/>
                    <a:pt x="11" y="10"/>
                    <a:pt x="12" y="10"/>
                  </a:cubicBezTo>
                  <a:cubicBezTo>
                    <a:pt x="14" y="9"/>
                    <a:pt x="14" y="11"/>
                    <a:pt x="14" y="11"/>
                  </a:cubicBezTo>
                  <a:cubicBezTo>
                    <a:pt x="14" y="10"/>
                    <a:pt x="14" y="10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5" y="9"/>
                    <a:pt x="15" y="10"/>
                  </a:cubicBezTo>
                  <a:cubicBezTo>
                    <a:pt x="15" y="11"/>
                    <a:pt x="15" y="12"/>
                    <a:pt x="15" y="13"/>
                  </a:cubicBezTo>
                  <a:cubicBezTo>
                    <a:pt x="15" y="14"/>
                    <a:pt x="15" y="16"/>
                    <a:pt x="15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7" y="13"/>
                    <a:pt x="17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8" y="8"/>
                    <a:pt x="17" y="7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51993" y="1937754"/>
              <a:ext cx="88900" cy="530225"/>
            </a:xfrm>
            <a:custGeom>
              <a:avLst/>
              <a:gdLst>
                <a:gd name="T0" fmla="*/ 2 w 3"/>
                <a:gd name="T1" fmla="*/ 10 h 18"/>
                <a:gd name="T2" fmla="*/ 1 w 3"/>
                <a:gd name="T3" fmla="*/ 0 h 18"/>
                <a:gd name="T4" fmla="*/ 1 w 3"/>
                <a:gd name="T5" fmla="*/ 0 h 18"/>
                <a:gd name="T6" fmla="*/ 0 w 3"/>
                <a:gd name="T7" fmla="*/ 16 h 18"/>
                <a:gd name="T8" fmla="*/ 0 w 3"/>
                <a:gd name="T9" fmla="*/ 18 h 18"/>
                <a:gd name="T10" fmla="*/ 3 w 3"/>
                <a:gd name="T11" fmla="*/ 18 h 18"/>
                <a:gd name="T12" fmla="*/ 2 w 3"/>
                <a:gd name="T1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8">
                  <a:moveTo>
                    <a:pt x="2" y="10"/>
                  </a:moveTo>
                  <a:cubicBezTo>
                    <a:pt x="3" y="8"/>
                    <a:pt x="2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1" y="18"/>
                    <a:pt x="3" y="18"/>
                  </a:cubicBezTo>
                  <a:cubicBezTo>
                    <a:pt x="2" y="16"/>
                    <a:pt x="2" y="12"/>
                    <a:pt x="2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40855" y="1467854"/>
              <a:ext cx="330200" cy="1911350"/>
            </a:xfrm>
            <a:custGeom>
              <a:avLst/>
              <a:gdLst>
                <a:gd name="T0" fmla="*/ 5 w 11"/>
                <a:gd name="T1" fmla="*/ 63 h 65"/>
                <a:gd name="T2" fmla="*/ 10 w 11"/>
                <a:gd name="T3" fmla="*/ 65 h 65"/>
                <a:gd name="T4" fmla="*/ 11 w 11"/>
                <a:gd name="T5" fmla="*/ 64 h 65"/>
                <a:gd name="T6" fmla="*/ 8 w 11"/>
                <a:gd name="T7" fmla="*/ 33 h 65"/>
                <a:gd name="T8" fmla="*/ 8 w 11"/>
                <a:gd name="T9" fmla="*/ 20 h 65"/>
                <a:gd name="T10" fmla="*/ 8 w 11"/>
                <a:gd name="T11" fmla="*/ 11 h 65"/>
                <a:gd name="T12" fmla="*/ 5 w 11"/>
                <a:gd name="T13" fmla="*/ 3 h 65"/>
                <a:gd name="T14" fmla="*/ 0 w 11"/>
                <a:gd name="T15" fmla="*/ 0 h 65"/>
                <a:gd name="T16" fmla="*/ 0 w 11"/>
                <a:gd name="T17" fmla="*/ 3 h 65"/>
                <a:gd name="T18" fmla="*/ 5 w 11"/>
                <a:gd name="T19" fmla="*/ 17 h 65"/>
                <a:gd name="T20" fmla="*/ 4 w 11"/>
                <a:gd name="T21" fmla="*/ 27 h 65"/>
                <a:gd name="T22" fmla="*/ 6 w 11"/>
                <a:gd name="T23" fmla="*/ 46 h 65"/>
                <a:gd name="T24" fmla="*/ 5 w 11"/>
                <a:gd name="T25" fmla="*/ 6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65">
                  <a:moveTo>
                    <a:pt x="5" y="63"/>
                  </a:moveTo>
                  <a:cubicBezTo>
                    <a:pt x="10" y="65"/>
                    <a:pt x="10" y="65"/>
                    <a:pt x="10" y="6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4"/>
                    <a:pt x="10" y="40"/>
                    <a:pt x="8" y="33"/>
                  </a:cubicBezTo>
                  <a:cubicBezTo>
                    <a:pt x="8" y="33"/>
                    <a:pt x="8" y="22"/>
                    <a:pt x="8" y="20"/>
                  </a:cubicBezTo>
                  <a:cubicBezTo>
                    <a:pt x="8" y="17"/>
                    <a:pt x="8" y="12"/>
                    <a:pt x="8" y="11"/>
                  </a:cubicBezTo>
                  <a:cubicBezTo>
                    <a:pt x="8" y="10"/>
                    <a:pt x="6" y="5"/>
                    <a:pt x="5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6" y="14"/>
                    <a:pt x="5" y="17"/>
                  </a:cubicBezTo>
                  <a:cubicBezTo>
                    <a:pt x="5" y="17"/>
                    <a:pt x="4" y="26"/>
                    <a:pt x="4" y="27"/>
                  </a:cubicBezTo>
                  <a:cubicBezTo>
                    <a:pt x="4" y="28"/>
                    <a:pt x="6" y="45"/>
                    <a:pt x="6" y="46"/>
                  </a:cubicBezTo>
                  <a:cubicBezTo>
                    <a:pt x="6" y="48"/>
                    <a:pt x="5" y="63"/>
                    <a:pt x="5" y="63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1" name="Group 80出自【趣你的PPT】(微信:qunideppt)：最优质的PPT资源库"/>
          <p:cNvGrpSpPr/>
          <p:nvPr/>
        </p:nvGrpSpPr>
        <p:grpSpPr>
          <a:xfrm>
            <a:off x="2926460" y="1950705"/>
            <a:ext cx="518601" cy="1961055"/>
            <a:chOff x="1730731" y="964677"/>
            <a:chExt cx="1350963" cy="5108576"/>
          </a:xfrm>
        </p:grpSpPr>
        <p:sp>
          <p:nvSpPr>
            <p:cNvPr id="8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27619" y="4400028"/>
              <a:ext cx="400050" cy="1485900"/>
            </a:xfrm>
            <a:custGeom>
              <a:avLst/>
              <a:gdLst>
                <a:gd name="T0" fmla="*/ 4 w 55"/>
                <a:gd name="T1" fmla="*/ 196 h 206"/>
                <a:gd name="T2" fmla="*/ 38 w 55"/>
                <a:gd name="T3" fmla="*/ 177 h 206"/>
                <a:gd name="T4" fmla="*/ 48 w 55"/>
                <a:gd name="T5" fmla="*/ 151 h 206"/>
                <a:gd name="T6" fmla="*/ 42 w 55"/>
                <a:gd name="T7" fmla="*/ 124 h 206"/>
                <a:gd name="T8" fmla="*/ 55 w 55"/>
                <a:gd name="T9" fmla="*/ 77 h 206"/>
                <a:gd name="T10" fmla="*/ 33 w 55"/>
                <a:gd name="T11" fmla="*/ 2 h 206"/>
                <a:gd name="T12" fmla="*/ 0 w 55"/>
                <a:gd name="T13" fmla="*/ 0 h 206"/>
                <a:gd name="T14" fmla="*/ 8 w 55"/>
                <a:gd name="T15" fmla="*/ 25 h 206"/>
                <a:gd name="T16" fmla="*/ 18 w 55"/>
                <a:gd name="T17" fmla="*/ 142 h 206"/>
                <a:gd name="T18" fmla="*/ 19 w 55"/>
                <a:gd name="T19" fmla="*/ 160 h 206"/>
                <a:gd name="T20" fmla="*/ 9 w 55"/>
                <a:gd name="T21" fmla="*/ 189 h 206"/>
                <a:gd name="T22" fmla="*/ 4 w 55"/>
                <a:gd name="T23" fmla="*/ 19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206">
                  <a:moveTo>
                    <a:pt x="4" y="196"/>
                  </a:moveTo>
                  <a:cubicBezTo>
                    <a:pt x="4" y="196"/>
                    <a:pt x="28" y="206"/>
                    <a:pt x="38" y="177"/>
                  </a:cubicBezTo>
                  <a:cubicBezTo>
                    <a:pt x="48" y="148"/>
                    <a:pt x="48" y="151"/>
                    <a:pt x="48" y="151"/>
                  </a:cubicBezTo>
                  <a:cubicBezTo>
                    <a:pt x="48" y="151"/>
                    <a:pt x="42" y="136"/>
                    <a:pt x="42" y="124"/>
                  </a:cubicBezTo>
                  <a:cubicBezTo>
                    <a:pt x="42" y="113"/>
                    <a:pt x="54" y="82"/>
                    <a:pt x="55" y="77"/>
                  </a:cubicBezTo>
                  <a:cubicBezTo>
                    <a:pt x="55" y="72"/>
                    <a:pt x="33" y="2"/>
                    <a:pt x="33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0"/>
                    <a:pt x="8" y="25"/>
                  </a:cubicBezTo>
                  <a:cubicBezTo>
                    <a:pt x="8" y="25"/>
                    <a:pt x="19" y="135"/>
                    <a:pt x="18" y="142"/>
                  </a:cubicBezTo>
                  <a:cubicBezTo>
                    <a:pt x="18" y="149"/>
                    <a:pt x="20" y="157"/>
                    <a:pt x="19" y="160"/>
                  </a:cubicBezTo>
                  <a:cubicBezTo>
                    <a:pt x="18" y="163"/>
                    <a:pt x="15" y="181"/>
                    <a:pt x="9" y="189"/>
                  </a:cubicBezTo>
                  <a:cubicBezTo>
                    <a:pt x="9" y="189"/>
                    <a:pt x="7" y="195"/>
                    <a:pt x="4" y="196"/>
                  </a:cubicBez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430819" y="5503340"/>
              <a:ext cx="160338" cy="303213"/>
            </a:xfrm>
            <a:custGeom>
              <a:avLst/>
              <a:gdLst>
                <a:gd name="T0" fmla="*/ 0 w 22"/>
                <a:gd name="T1" fmla="*/ 42 h 42"/>
                <a:gd name="T2" fmla="*/ 5 w 22"/>
                <a:gd name="T3" fmla="*/ 27 h 42"/>
                <a:gd name="T4" fmla="*/ 15 w 22"/>
                <a:gd name="T5" fmla="*/ 0 h 42"/>
                <a:gd name="T6" fmla="*/ 22 w 22"/>
                <a:gd name="T7" fmla="*/ 2 h 42"/>
                <a:gd name="T8" fmla="*/ 0 w 22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2">
                  <a:moveTo>
                    <a:pt x="0" y="42"/>
                  </a:moveTo>
                  <a:cubicBezTo>
                    <a:pt x="0" y="42"/>
                    <a:pt x="3" y="28"/>
                    <a:pt x="5" y="27"/>
                  </a:cubicBezTo>
                  <a:cubicBezTo>
                    <a:pt x="6" y="27"/>
                    <a:pt x="15" y="2"/>
                    <a:pt x="15" y="0"/>
                  </a:cubicBezTo>
                  <a:cubicBezTo>
                    <a:pt x="22" y="2"/>
                    <a:pt x="22" y="2"/>
                    <a:pt x="22" y="2"/>
                  </a:cubicBezTo>
                  <a:lnTo>
                    <a:pt x="0" y="42"/>
                  </a:ln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132369" y="5684315"/>
              <a:ext cx="379413" cy="303213"/>
            </a:xfrm>
            <a:custGeom>
              <a:avLst/>
              <a:gdLst>
                <a:gd name="T0" fmla="*/ 1 w 52"/>
                <a:gd name="T1" fmla="*/ 32 h 42"/>
                <a:gd name="T2" fmla="*/ 1 w 52"/>
                <a:gd name="T3" fmla="*/ 37 h 42"/>
                <a:gd name="T4" fmla="*/ 21 w 52"/>
                <a:gd name="T5" fmla="*/ 40 h 42"/>
                <a:gd name="T6" fmla="*/ 50 w 52"/>
                <a:gd name="T7" fmla="*/ 17 h 42"/>
                <a:gd name="T8" fmla="*/ 52 w 52"/>
                <a:gd name="T9" fmla="*/ 0 h 42"/>
                <a:gd name="T10" fmla="*/ 31 w 52"/>
                <a:gd name="T11" fmla="*/ 18 h 42"/>
                <a:gd name="T12" fmla="*/ 17 w 52"/>
                <a:gd name="T13" fmla="*/ 18 h 42"/>
                <a:gd name="T14" fmla="*/ 1 w 52"/>
                <a:gd name="T15" fmla="*/ 3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42">
                  <a:moveTo>
                    <a:pt x="1" y="32"/>
                  </a:moveTo>
                  <a:cubicBezTo>
                    <a:pt x="1" y="32"/>
                    <a:pt x="0" y="34"/>
                    <a:pt x="1" y="37"/>
                  </a:cubicBezTo>
                  <a:cubicBezTo>
                    <a:pt x="6" y="41"/>
                    <a:pt x="15" y="42"/>
                    <a:pt x="21" y="40"/>
                  </a:cubicBezTo>
                  <a:cubicBezTo>
                    <a:pt x="41" y="32"/>
                    <a:pt x="50" y="17"/>
                    <a:pt x="50" y="17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36" y="17"/>
                    <a:pt x="31" y="18"/>
                  </a:cubicBezTo>
                  <a:cubicBezTo>
                    <a:pt x="26" y="19"/>
                    <a:pt x="17" y="18"/>
                    <a:pt x="17" y="18"/>
                  </a:cubicBezTo>
                  <a:lnTo>
                    <a:pt x="1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27619" y="4400028"/>
              <a:ext cx="400050" cy="1168400"/>
            </a:xfrm>
            <a:custGeom>
              <a:avLst/>
              <a:gdLst>
                <a:gd name="T0" fmla="*/ 0 w 55"/>
                <a:gd name="T1" fmla="*/ 0 h 162"/>
                <a:gd name="T2" fmla="*/ 3 w 55"/>
                <a:gd name="T3" fmla="*/ 14 h 162"/>
                <a:gd name="T4" fmla="*/ 7 w 55"/>
                <a:gd name="T5" fmla="*/ 7 h 162"/>
                <a:gd name="T6" fmla="*/ 35 w 55"/>
                <a:gd name="T7" fmla="*/ 26 h 162"/>
                <a:gd name="T8" fmla="*/ 40 w 55"/>
                <a:gd name="T9" fmla="*/ 83 h 162"/>
                <a:gd name="T10" fmla="*/ 34 w 55"/>
                <a:gd name="T11" fmla="*/ 130 h 162"/>
                <a:gd name="T12" fmla="*/ 27 w 55"/>
                <a:gd name="T13" fmla="*/ 157 h 162"/>
                <a:gd name="T14" fmla="*/ 37 w 55"/>
                <a:gd name="T15" fmla="*/ 157 h 162"/>
                <a:gd name="T16" fmla="*/ 44 w 55"/>
                <a:gd name="T17" fmla="*/ 156 h 162"/>
                <a:gd name="T18" fmla="*/ 48 w 55"/>
                <a:gd name="T19" fmla="*/ 151 h 162"/>
                <a:gd name="T20" fmla="*/ 42 w 55"/>
                <a:gd name="T21" fmla="*/ 124 h 162"/>
                <a:gd name="T22" fmla="*/ 55 w 55"/>
                <a:gd name="T23" fmla="*/ 77 h 162"/>
                <a:gd name="T24" fmla="*/ 33 w 55"/>
                <a:gd name="T25" fmla="*/ 2 h 162"/>
                <a:gd name="T26" fmla="*/ 0 w 55"/>
                <a:gd name="T27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162">
                  <a:moveTo>
                    <a:pt x="0" y="0"/>
                  </a:moveTo>
                  <a:cubicBezTo>
                    <a:pt x="0" y="0"/>
                    <a:pt x="1" y="7"/>
                    <a:pt x="3" y="14"/>
                  </a:cubicBezTo>
                  <a:cubicBezTo>
                    <a:pt x="4" y="10"/>
                    <a:pt x="7" y="7"/>
                    <a:pt x="7" y="7"/>
                  </a:cubicBezTo>
                  <a:cubicBezTo>
                    <a:pt x="7" y="7"/>
                    <a:pt x="32" y="18"/>
                    <a:pt x="35" y="26"/>
                  </a:cubicBezTo>
                  <a:cubicBezTo>
                    <a:pt x="37" y="35"/>
                    <a:pt x="44" y="70"/>
                    <a:pt x="40" y="83"/>
                  </a:cubicBezTo>
                  <a:cubicBezTo>
                    <a:pt x="37" y="96"/>
                    <a:pt x="34" y="124"/>
                    <a:pt x="34" y="130"/>
                  </a:cubicBezTo>
                  <a:cubicBezTo>
                    <a:pt x="34" y="136"/>
                    <a:pt x="36" y="152"/>
                    <a:pt x="27" y="157"/>
                  </a:cubicBezTo>
                  <a:cubicBezTo>
                    <a:pt x="27" y="157"/>
                    <a:pt x="30" y="162"/>
                    <a:pt x="37" y="157"/>
                  </a:cubicBezTo>
                  <a:cubicBezTo>
                    <a:pt x="40" y="155"/>
                    <a:pt x="42" y="155"/>
                    <a:pt x="44" y="156"/>
                  </a:cubicBezTo>
                  <a:cubicBezTo>
                    <a:pt x="47" y="149"/>
                    <a:pt x="48" y="151"/>
                    <a:pt x="48" y="151"/>
                  </a:cubicBezTo>
                  <a:cubicBezTo>
                    <a:pt x="48" y="151"/>
                    <a:pt x="42" y="136"/>
                    <a:pt x="42" y="124"/>
                  </a:cubicBezTo>
                  <a:cubicBezTo>
                    <a:pt x="42" y="113"/>
                    <a:pt x="54" y="82"/>
                    <a:pt x="55" y="77"/>
                  </a:cubicBezTo>
                  <a:cubicBezTo>
                    <a:pt x="55" y="72"/>
                    <a:pt x="33" y="2"/>
                    <a:pt x="33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78419" y="4579415"/>
              <a:ext cx="131763" cy="58738"/>
            </a:xfrm>
            <a:custGeom>
              <a:avLst/>
              <a:gdLst>
                <a:gd name="T0" fmla="*/ 0 w 18"/>
                <a:gd name="T1" fmla="*/ 0 h 8"/>
                <a:gd name="T2" fmla="*/ 1 w 18"/>
                <a:gd name="T3" fmla="*/ 0 h 8"/>
                <a:gd name="T4" fmla="*/ 1 w 18"/>
                <a:gd name="T5" fmla="*/ 8 h 8"/>
                <a:gd name="T6" fmla="*/ 18 w 18"/>
                <a:gd name="T7" fmla="*/ 2 h 8"/>
                <a:gd name="T8" fmla="*/ 0 w 1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8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3"/>
                    <a:pt x="1" y="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7" y="3"/>
                    <a:pt x="0" y="0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402244" y="4377803"/>
              <a:ext cx="554038" cy="1573213"/>
            </a:xfrm>
            <a:custGeom>
              <a:avLst/>
              <a:gdLst>
                <a:gd name="T0" fmla="*/ 0 w 76"/>
                <a:gd name="T1" fmla="*/ 211 h 218"/>
                <a:gd name="T2" fmla="*/ 14 w 76"/>
                <a:gd name="T3" fmla="*/ 175 h 218"/>
                <a:gd name="T4" fmla="*/ 24 w 76"/>
                <a:gd name="T5" fmla="*/ 142 h 218"/>
                <a:gd name="T6" fmla="*/ 19 w 76"/>
                <a:gd name="T7" fmla="*/ 35 h 218"/>
                <a:gd name="T8" fmla="*/ 10 w 76"/>
                <a:gd name="T9" fmla="*/ 7 h 218"/>
                <a:gd name="T10" fmla="*/ 61 w 76"/>
                <a:gd name="T11" fmla="*/ 0 h 218"/>
                <a:gd name="T12" fmla="*/ 62 w 76"/>
                <a:gd name="T13" fmla="*/ 29 h 218"/>
                <a:gd name="T14" fmla="*/ 65 w 76"/>
                <a:gd name="T15" fmla="*/ 104 h 218"/>
                <a:gd name="T16" fmla="*/ 52 w 76"/>
                <a:gd name="T17" fmla="*/ 166 h 218"/>
                <a:gd name="T18" fmla="*/ 24 w 76"/>
                <a:gd name="T19" fmla="*/ 218 h 218"/>
                <a:gd name="T20" fmla="*/ 0 w 76"/>
                <a:gd name="T21" fmla="*/ 211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218">
                  <a:moveTo>
                    <a:pt x="0" y="211"/>
                  </a:moveTo>
                  <a:cubicBezTo>
                    <a:pt x="0" y="211"/>
                    <a:pt x="10" y="183"/>
                    <a:pt x="14" y="175"/>
                  </a:cubicBezTo>
                  <a:cubicBezTo>
                    <a:pt x="18" y="167"/>
                    <a:pt x="23" y="146"/>
                    <a:pt x="24" y="142"/>
                  </a:cubicBezTo>
                  <a:cubicBezTo>
                    <a:pt x="26" y="138"/>
                    <a:pt x="23" y="42"/>
                    <a:pt x="19" y="35"/>
                  </a:cubicBezTo>
                  <a:cubicBezTo>
                    <a:pt x="14" y="28"/>
                    <a:pt x="6" y="8"/>
                    <a:pt x="10" y="7"/>
                  </a:cubicBezTo>
                  <a:cubicBezTo>
                    <a:pt x="13" y="5"/>
                    <a:pt x="61" y="0"/>
                    <a:pt x="61" y="0"/>
                  </a:cubicBezTo>
                  <a:cubicBezTo>
                    <a:pt x="61" y="0"/>
                    <a:pt x="59" y="24"/>
                    <a:pt x="62" y="29"/>
                  </a:cubicBezTo>
                  <a:cubicBezTo>
                    <a:pt x="64" y="34"/>
                    <a:pt x="76" y="73"/>
                    <a:pt x="65" y="104"/>
                  </a:cubicBezTo>
                  <a:cubicBezTo>
                    <a:pt x="53" y="136"/>
                    <a:pt x="46" y="148"/>
                    <a:pt x="52" y="166"/>
                  </a:cubicBezTo>
                  <a:cubicBezTo>
                    <a:pt x="24" y="218"/>
                    <a:pt x="24" y="218"/>
                    <a:pt x="24" y="218"/>
                  </a:cubicBezTo>
                  <a:lnTo>
                    <a:pt x="0" y="211"/>
                  </a:ln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672119" y="4400028"/>
              <a:ext cx="284163" cy="1176338"/>
            </a:xfrm>
            <a:custGeom>
              <a:avLst/>
              <a:gdLst>
                <a:gd name="T0" fmla="*/ 9 w 39"/>
                <a:gd name="T1" fmla="*/ 9 h 163"/>
                <a:gd name="T2" fmla="*/ 16 w 39"/>
                <a:gd name="T3" fmla="*/ 34 h 163"/>
                <a:gd name="T4" fmla="*/ 7 w 39"/>
                <a:gd name="T5" fmla="*/ 130 h 163"/>
                <a:gd name="T6" fmla="*/ 8 w 39"/>
                <a:gd name="T7" fmla="*/ 163 h 163"/>
                <a:gd name="T8" fmla="*/ 13 w 39"/>
                <a:gd name="T9" fmla="*/ 156 h 163"/>
                <a:gd name="T10" fmla="*/ 13 w 39"/>
                <a:gd name="T11" fmla="*/ 156 h 163"/>
                <a:gd name="T12" fmla="*/ 28 w 39"/>
                <a:gd name="T13" fmla="*/ 101 h 163"/>
                <a:gd name="T14" fmla="*/ 25 w 39"/>
                <a:gd name="T15" fmla="*/ 26 h 163"/>
                <a:gd name="T16" fmla="*/ 23 w 39"/>
                <a:gd name="T17" fmla="*/ 0 h 163"/>
                <a:gd name="T18" fmla="*/ 9 w 39"/>
                <a:gd name="T19" fmla="*/ 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163">
                  <a:moveTo>
                    <a:pt x="9" y="9"/>
                  </a:moveTo>
                  <a:cubicBezTo>
                    <a:pt x="9" y="9"/>
                    <a:pt x="13" y="30"/>
                    <a:pt x="16" y="34"/>
                  </a:cubicBezTo>
                  <a:cubicBezTo>
                    <a:pt x="20" y="38"/>
                    <a:pt x="26" y="86"/>
                    <a:pt x="7" y="130"/>
                  </a:cubicBezTo>
                  <a:cubicBezTo>
                    <a:pt x="7" y="130"/>
                    <a:pt x="0" y="150"/>
                    <a:pt x="8" y="163"/>
                  </a:cubicBezTo>
                  <a:cubicBezTo>
                    <a:pt x="8" y="163"/>
                    <a:pt x="12" y="149"/>
                    <a:pt x="13" y="156"/>
                  </a:cubicBezTo>
                  <a:cubicBezTo>
                    <a:pt x="13" y="156"/>
                    <a:pt x="13" y="156"/>
                    <a:pt x="13" y="156"/>
                  </a:cubicBezTo>
                  <a:cubicBezTo>
                    <a:pt x="11" y="141"/>
                    <a:pt x="17" y="129"/>
                    <a:pt x="28" y="101"/>
                  </a:cubicBezTo>
                  <a:cubicBezTo>
                    <a:pt x="39" y="70"/>
                    <a:pt x="27" y="31"/>
                    <a:pt x="25" y="26"/>
                  </a:cubicBezTo>
                  <a:cubicBezTo>
                    <a:pt x="23" y="22"/>
                    <a:pt x="23" y="7"/>
                    <a:pt x="23" y="0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29181" y="2920478"/>
              <a:ext cx="898525" cy="1687513"/>
            </a:xfrm>
            <a:custGeom>
              <a:avLst/>
              <a:gdLst>
                <a:gd name="T0" fmla="*/ 0 w 123"/>
                <a:gd name="T1" fmla="*/ 29 h 234"/>
                <a:gd name="T2" fmla="*/ 24 w 123"/>
                <a:gd name="T3" fmla="*/ 218 h 234"/>
                <a:gd name="T4" fmla="*/ 112 w 123"/>
                <a:gd name="T5" fmla="*/ 218 h 234"/>
                <a:gd name="T6" fmla="*/ 116 w 123"/>
                <a:gd name="T7" fmla="*/ 94 h 234"/>
                <a:gd name="T8" fmla="*/ 120 w 123"/>
                <a:gd name="T9" fmla="*/ 41 h 234"/>
                <a:gd name="T10" fmla="*/ 110 w 123"/>
                <a:gd name="T11" fmla="*/ 17 h 234"/>
                <a:gd name="T12" fmla="*/ 16 w 123"/>
                <a:gd name="T13" fmla="*/ 0 h 234"/>
                <a:gd name="T14" fmla="*/ 0 w 123"/>
                <a:gd name="T15" fmla="*/ 2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234">
                  <a:moveTo>
                    <a:pt x="0" y="29"/>
                  </a:moveTo>
                  <a:cubicBezTo>
                    <a:pt x="0" y="29"/>
                    <a:pt x="13" y="189"/>
                    <a:pt x="24" y="218"/>
                  </a:cubicBezTo>
                  <a:cubicBezTo>
                    <a:pt x="24" y="218"/>
                    <a:pt x="88" y="234"/>
                    <a:pt x="112" y="218"/>
                  </a:cubicBezTo>
                  <a:cubicBezTo>
                    <a:pt x="112" y="218"/>
                    <a:pt x="112" y="106"/>
                    <a:pt x="116" y="94"/>
                  </a:cubicBezTo>
                  <a:cubicBezTo>
                    <a:pt x="121" y="82"/>
                    <a:pt x="123" y="50"/>
                    <a:pt x="120" y="41"/>
                  </a:cubicBezTo>
                  <a:cubicBezTo>
                    <a:pt x="117" y="33"/>
                    <a:pt x="110" y="17"/>
                    <a:pt x="110" y="17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503844" y="1483790"/>
              <a:ext cx="241300" cy="231775"/>
            </a:xfrm>
            <a:custGeom>
              <a:avLst/>
              <a:gdLst>
                <a:gd name="T0" fmla="*/ 0 w 152"/>
                <a:gd name="T1" fmla="*/ 82 h 146"/>
                <a:gd name="T2" fmla="*/ 10 w 152"/>
                <a:gd name="T3" fmla="*/ 146 h 146"/>
                <a:gd name="T4" fmla="*/ 92 w 152"/>
                <a:gd name="T5" fmla="*/ 141 h 146"/>
                <a:gd name="T6" fmla="*/ 152 w 152"/>
                <a:gd name="T7" fmla="*/ 0 h 146"/>
                <a:gd name="T8" fmla="*/ 106 w 152"/>
                <a:gd name="T9" fmla="*/ 9 h 146"/>
                <a:gd name="T10" fmla="*/ 0 w 152"/>
                <a:gd name="T11" fmla="*/ 8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46">
                  <a:moveTo>
                    <a:pt x="0" y="82"/>
                  </a:moveTo>
                  <a:lnTo>
                    <a:pt x="10" y="146"/>
                  </a:lnTo>
                  <a:lnTo>
                    <a:pt x="92" y="141"/>
                  </a:lnTo>
                  <a:lnTo>
                    <a:pt x="152" y="0"/>
                  </a:lnTo>
                  <a:lnTo>
                    <a:pt x="106" y="9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56194" y="1015478"/>
              <a:ext cx="269875" cy="836613"/>
            </a:xfrm>
            <a:custGeom>
              <a:avLst/>
              <a:gdLst>
                <a:gd name="T0" fmla="*/ 31 w 37"/>
                <a:gd name="T1" fmla="*/ 116 h 116"/>
                <a:gd name="T2" fmla="*/ 14 w 37"/>
                <a:gd name="T3" fmla="*/ 93 h 116"/>
                <a:gd name="T4" fmla="*/ 15 w 37"/>
                <a:gd name="T5" fmla="*/ 75 h 116"/>
                <a:gd name="T6" fmla="*/ 7 w 37"/>
                <a:gd name="T7" fmla="*/ 57 h 116"/>
                <a:gd name="T8" fmla="*/ 12 w 37"/>
                <a:gd name="T9" fmla="*/ 11 h 116"/>
                <a:gd name="T10" fmla="*/ 37 w 37"/>
                <a:gd name="T11" fmla="*/ 0 h 116"/>
                <a:gd name="T12" fmla="*/ 31 w 37"/>
                <a:gd name="T13" fmla="*/ 16 h 116"/>
                <a:gd name="T14" fmla="*/ 37 w 37"/>
                <a:gd name="T15" fmla="*/ 92 h 116"/>
                <a:gd name="T16" fmla="*/ 31 w 37"/>
                <a:gd name="T1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16">
                  <a:moveTo>
                    <a:pt x="31" y="116"/>
                  </a:moveTo>
                  <a:cubicBezTo>
                    <a:pt x="31" y="116"/>
                    <a:pt x="18" y="99"/>
                    <a:pt x="14" y="93"/>
                  </a:cubicBezTo>
                  <a:cubicBezTo>
                    <a:pt x="10" y="88"/>
                    <a:pt x="13" y="80"/>
                    <a:pt x="15" y="75"/>
                  </a:cubicBezTo>
                  <a:cubicBezTo>
                    <a:pt x="15" y="75"/>
                    <a:pt x="7" y="67"/>
                    <a:pt x="7" y="57"/>
                  </a:cubicBezTo>
                  <a:cubicBezTo>
                    <a:pt x="6" y="48"/>
                    <a:pt x="0" y="20"/>
                    <a:pt x="12" y="11"/>
                  </a:cubicBezTo>
                  <a:cubicBezTo>
                    <a:pt x="24" y="2"/>
                    <a:pt x="37" y="0"/>
                    <a:pt x="37" y="0"/>
                  </a:cubicBezTo>
                  <a:cubicBezTo>
                    <a:pt x="37" y="0"/>
                    <a:pt x="35" y="14"/>
                    <a:pt x="31" y="16"/>
                  </a:cubicBezTo>
                  <a:cubicBezTo>
                    <a:pt x="28" y="18"/>
                    <a:pt x="37" y="92"/>
                    <a:pt x="37" y="92"/>
                  </a:cubicBezTo>
                  <a:lnTo>
                    <a:pt x="31" y="116"/>
                  </a:lnTo>
                  <a:close/>
                </a:path>
              </a:pathLst>
            </a:custGeom>
            <a:solidFill>
              <a:srgbClr val="412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21281" y="1679053"/>
              <a:ext cx="358775" cy="295275"/>
            </a:xfrm>
            <a:custGeom>
              <a:avLst/>
              <a:gdLst>
                <a:gd name="T0" fmla="*/ 0 w 49"/>
                <a:gd name="T1" fmla="*/ 36 h 41"/>
                <a:gd name="T2" fmla="*/ 13 w 49"/>
                <a:gd name="T3" fmla="*/ 8 h 41"/>
                <a:gd name="T4" fmla="*/ 25 w 49"/>
                <a:gd name="T5" fmla="*/ 2 h 41"/>
                <a:gd name="T6" fmla="*/ 43 w 49"/>
                <a:gd name="T7" fmla="*/ 0 h 41"/>
                <a:gd name="T8" fmla="*/ 49 w 49"/>
                <a:gd name="T9" fmla="*/ 10 h 41"/>
                <a:gd name="T10" fmla="*/ 11 w 49"/>
                <a:gd name="T11" fmla="*/ 41 h 41"/>
                <a:gd name="T12" fmla="*/ 0 w 49"/>
                <a:gd name="T13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1">
                  <a:moveTo>
                    <a:pt x="0" y="36"/>
                  </a:moveTo>
                  <a:cubicBezTo>
                    <a:pt x="0" y="36"/>
                    <a:pt x="7" y="11"/>
                    <a:pt x="13" y="8"/>
                  </a:cubicBezTo>
                  <a:cubicBezTo>
                    <a:pt x="18" y="6"/>
                    <a:pt x="25" y="2"/>
                    <a:pt x="25" y="2"/>
                  </a:cubicBezTo>
                  <a:cubicBezTo>
                    <a:pt x="25" y="2"/>
                    <a:pt x="35" y="4"/>
                    <a:pt x="43" y="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11" y="41"/>
                    <a:pt x="11" y="41"/>
                    <a:pt x="11" y="41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DC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29181" y="2920478"/>
              <a:ext cx="890588" cy="1608138"/>
            </a:xfrm>
            <a:custGeom>
              <a:avLst/>
              <a:gdLst>
                <a:gd name="T0" fmla="*/ 110 w 122"/>
                <a:gd name="T1" fmla="*/ 17 h 223"/>
                <a:gd name="T2" fmla="*/ 16 w 122"/>
                <a:gd name="T3" fmla="*/ 0 h 223"/>
                <a:gd name="T4" fmla="*/ 0 w 122"/>
                <a:gd name="T5" fmla="*/ 29 h 223"/>
                <a:gd name="T6" fmla="*/ 2 w 122"/>
                <a:gd name="T7" fmla="*/ 45 h 223"/>
                <a:gd name="T8" fmla="*/ 8 w 122"/>
                <a:gd name="T9" fmla="*/ 41 h 223"/>
                <a:gd name="T10" fmla="*/ 22 w 122"/>
                <a:gd name="T11" fmla="*/ 20 h 223"/>
                <a:gd name="T12" fmla="*/ 24 w 122"/>
                <a:gd name="T13" fmla="*/ 31 h 223"/>
                <a:gd name="T14" fmla="*/ 44 w 122"/>
                <a:gd name="T15" fmla="*/ 40 h 223"/>
                <a:gd name="T16" fmla="*/ 102 w 122"/>
                <a:gd name="T17" fmla="*/ 38 h 223"/>
                <a:gd name="T18" fmla="*/ 109 w 122"/>
                <a:gd name="T19" fmla="*/ 45 h 223"/>
                <a:gd name="T20" fmla="*/ 88 w 122"/>
                <a:gd name="T21" fmla="*/ 43 h 223"/>
                <a:gd name="T22" fmla="*/ 110 w 122"/>
                <a:gd name="T23" fmla="*/ 56 h 223"/>
                <a:gd name="T24" fmla="*/ 106 w 122"/>
                <a:gd name="T25" fmla="*/ 70 h 223"/>
                <a:gd name="T26" fmla="*/ 102 w 122"/>
                <a:gd name="T27" fmla="*/ 92 h 223"/>
                <a:gd name="T28" fmla="*/ 108 w 122"/>
                <a:gd name="T29" fmla="*/ 178 h 223"/>
                <a:gd name="T30" fmla="*/ 98 w 122"/>
                <a:gd name="T31" fmla="*/ 223 h 223"/>
                <a:gd name="T32" fmla="*/ 112 w 122"/>
                <a:gd name="T33" fmla="*/ 218 h 223"/>
                <a:gd name="T34" fmla="*/ 116 w 122"/>
                <a:gd name="T35" fmla="*/ 94 h 223"/>
                <a:gd name="T36" fmla="*/ 119 w 122"/>
                <a:gd name="T37" fmla="*/ 37 h 223"/>
                <a:gd name="T38" fmla="*/ 110 w 122"/>
                <a:gd name="T39" fmla="*/ 17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223">
                  <a:moveTo>
                    <a:pt x="110" y="17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1" y="35"/>
                    <a:pt x="2" y="45"/>
                  </a:cubicBezTo>
                  <a:cubicBezTo>
                    <a:pt x="4" y="44"/>
                    <a:pt x="7" y="43"/>
                    <a:pt x="8" y="41"/>
                  </a:cubicBezTo>
                  <a:cubicBezTo>
                    <a:pt x="12" y="38"/>
                    <a:pt x="22" y="20"/>
                    <a:pt x="22" y="2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31"/>
                    <a:pt x="37" y="39"/>
                    <a:pt x="44" y="40"/>
                  </a:cubicBezTo>
                  <a:cubicBezTo>
                    <a:pt x="52" y="41"/>
                    <a:pt x="99" y="36"/>
                    <a:pt x="102" y="38"/>
                  </a:cubicBezTo>
                  <a:cubicBezTo>
                    <a:pt x="106" y="41"/>
                    <a:pt x="107" y="42"/>
                    <a:pt x="109" y="45"/>
                  </a:cubicBezTo>
                  <a:cubicBezTo>
                    <a:pt x="109" y="45"/>
                    <a:pt x="95" y="40"/>
                    <a:pt x="88" y="43"/>
                  </a:cubicBezTo>
                  <a:cubicBezTo>
                    <a:pt x="88" y="43"/>
                    <a:pt x="105" y="45"/>
                    <a:pt x="110" y="56"/>
                  </a:cubicBezTo>
                  <a:cubicBezTo>
                    <a:pt x="115" y="66"/>
                    <a:pt x="106" y="70"/>
                    <a:pt x="106" y="70"/>
                  </a:cubicBezTo>
                  <a:cubicBezTo>
                    <a:pt x="102" y="92"/>
                    <a:pt x="102" y="92"/>
                    <a:pt x="102" y="92"/>
                  </a:cubicBezTo>
                  <a:cubicBezTo>
                    <a:pt x="102" y="92"/>
                    <a:pt x="109" y="157"/>
                    <a:pt x="108" y="178"/>
                  </a:cubicBezTo>
                  <a:cubicBezTo>
                    <a:pt x="107" y="195"/>
                    <a:pt x="101" y="213"/>
                    <a:pt x="98" y="223"/>
                  </a:cubicBezTo>
                  <a:cubicBezTo>
                    <a:pt x="103" y="222"/>
                    <a:pt x="108" y="220"/>
                    <a:pt x="112" y="218"/>
                  </a:cubicBezTo>
                  <a:cubicBezTo>
                    <a:pt x="112" y="218"/>
                    <a:pt x="112" y="106"/>
                    <a:pt x="116" y="94"/>
                  </a:cubicBezTo>
                  <a:cubicBezTo>
                    <a:pt x="121" y="82"/>
                    <a:pt x="122" y="46"/>
                    <a:pt x="119" y="37"/>
                  </a:cubicBezTo>
                  <a:cubicBezTo>
                    <a:pt x="116" y="28"/>
                    <a:pt x="110" y="17"/>
                    <a:pt x="110" y="1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138719" y="2487090"/>
              <a:ext cx="774700" cy="700088"/>
            </a:xfrm>
            <a:custGeom>
              <a:avLst/>
              <a:gdLst>
                <a:gd name="T0" fmla="*/ 2 w 106"/>
                <a:gd name="T1" fmla="*/ 73 h 97"/>
                <a:gd name="T2" fmla="*/ 13 w 106"/>
                <a:gd name="T3" fmla="*/ 92 h 97"/>
                <a:gd name="T4" fmla="*/ 45 w 106"/>
                <a:gd name="T5" fmla="*/ 96 h 97"/>
                <a:gd name="T6" fmla="*/ 99 w 106"/>
                <a:gd name="T7" fmla="*/ 94 h 97"/>
                <a:gd name="T8" fmla="*/ 106 w 106"/>
                <a:gd name="T9" fmla="*/ 89 h 97"/>
                <a:gd name="T10" fmla="*/ 83 w 106"/>
                <a:gd name="T11" fmla="*/ 41 h 97"/>
                <a:gd name="T12" fmla="*/ 87 w 106"/>
                <a:gd name="T13" fmla="*/ 0 h 97"/>
                <a:gd name="T14" fmla="*/ 11 w 106"/>
                <a:gd name="T15" fmla="*/ 21 h 97"/>
                <a:gd name="T16" fmla="*/ 2 w 106"/>
                <a:gd name="T17" fmla="*/ 7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97">
                  <a:moveTo>
                    <a:pt x="2" y="73"/>
                  </a:moveTo>
                  <a:cubicBezTo>
                    <a:pt x="2" y="73"/>
                    <a:pt x="0" y="90"/>
                    <a:pt x="13" y="92"/>
                  </a:cubicBezTo>
                  <a:cubicBezTo>
                    <a:pt x="25" y="94"/>
                    <a:pt x="37" y="97"/>
                    <a:pt x="45" y="96"/>
                  </a:cubicBezTo>
                  <a:cubicBezTo>
                    <a:pt x="53" y="95"/>
                    <a:pt x="99" y="94"/>
                    <a:pt x="99" y="94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6" y="89"/>
                    <a:pt x="84" y="57"/>
                    <a:pt x="83" y="41"/>
                  </a:cubicBezTo>
                  <a:cubicBezTo>
                    <a:pt x="82" y="24"/>
                    <a:pt x="87" y="0"/>
                    <a:pt x="87" y="0"/>
                  </a:cubicBezTo>
                  <a:cubicBezTo>
                    <a:pt x="11" y="21"/>
                    <a:pt x="11" y="21"/>
                    <a:pt x="11" y="21"/>
                  </a:cubicBezTo>
                  <a:lnTo>
                    <a:pt x="2" y="73"/>
                  </a:ln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73669" y="2761728"/>
              <a:ext cx="28575" cy="417513"/>
            </a:xfrm>
            <a:custGeom>
              <a:avLst/>
              <a:gdLst>
                <a:gd name="T0" fmla="*/ 0 w 4"/>
                <a:gd name="T1" fmla="*/ 57 h 58"/>
                <a:gd name="T2" fmla="*/ 3 w 4"/>
                <a:gd name="T3" fmla="*/ 58 h 58"/>
                <a:gd name="T4" fmla="*/ 4 w 4"/>
                <a:gd name="T5" fmla="*/ 0 h 58"/>
                <a:gd name="T6" fmla="*/ 0 w 4"/>
                <a:gd name="T7" fmla="*/ 5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8">
                  <a:moveTo>
                    <a:pt x="0" y="57"/>
                  </a:moveTo>
                  <a:cubicBezTo>
                    <a:pt x="1" y="58"/>
                    <a:pt x="2" y="58"/>
                    <a:pt x="3" y="58"/>
                  </a:cubicBezTo>
                  <a:cubicBezTo>
                    <a:pt x="2" y="41"/>
                    <a:pt x="4" y="0"/>
                    <a:pt x="4" y="0"/>
                  </a:cubicBezTo>
                  <a:lnTo>
                    <a:pt x="0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716569" y="2501378"/>
              <a:ext cx="196850" cy="663575"/>
            </a:xfrm>
            <a:custGeom>
              <a:avLst/>
              <a:gdLst>
                <a:gd name="T0" fmla="*/ 20 w 27"/>
                <a:gd name="T1" fmla="*/ 92 h 92"/>
                <a:gd name="T2" fmla="*/ 27 w 27"/>
                <a:gd name="T3" fmla="*/ 87 h 92"/>
                <a:gd name="T4" fmla="*/ 4 w 27"/>
                <a:gd name="T5" fmla="*/ 39 h 92"/>
                <a:gd name="T6" fmla="*/ 7 w 27"/>
                <a:gd name="T7" fmla="*/ 0 h 92"/>
                <a:gd name="T8" fmla="*/ 2 w 27"/>
                <a:gd name="T9" fmla="*/ 9 h 92"/>
                <a:gd name="T10" fmla="*/ 1 w 27"/>
                <a:gd name="T11" fmla="*/ 39 h 92"/>
                <a:gd name="T12" fmla="*/ 7 w 27"/>
                <a:gd name="T13" fmla="*/ 77 h 92"/>
                <a:gd name="T14" fmla="*/ 7 w 27"/>
                <a:gd name="T15" fmla="*/ 92 h 92"/>
                <a:gd name="T16" fmla="*/ 20 w 27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92">
                  <a:moveTo>
                    <a:pt x="20" y="92"/>
                  </a:moveTo>
                  <a:cubicBezTo>
                    <a:pt x="27" y="87"/>
                    <a:pt x="27" y="87"/>
                    <a:pt x="27" y="87"/>
                  </a:cubicBezTo>
                  <a:cubicBezTo>
                    <a:pt x="27" y="87"/>
                    <a:pt x="5" y="55"/>
                    <a:pt x="4" y="39"/>
                  </a:cubicBezTo>
                  <a:cubicBezTo>
                    <a:pt x="3" y="25"/>
                    <a:pt x="7" y="5"/>
                    <a:pt x="7" y="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0" y="32"/>
                    <a:pt x="1" y="39"/>
                  </a:cubicBezTo>
                  <a:cubicBezTo>
                    <a:pt x="1" y="46"/>
                    <a:pt x="3" y="73"/>
                    <a:pt x="7" y="77"/>
                  </a:cubicBezTo>
                  <a:cubicBezTo>
                    <a:pt x="10" y="79"/>
                    <a:pt x="9" y="86"/>
                    <a:pt x="7" y="92"/>
                  </a:cubicBezTo>
                  <a:cubicBezTo>
                    <a:pt x="15" y="92"/>
                    <a:pt x="20" y="92"/>
                    <a:pt x="20" y="9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154594" y="2768078"/>
              <a:ext cx="130175" cy="303213"/>
            </a:xfrm>
            <a:custGeom>
              <a:avLst/>
              <a:gdLst>
                <a:gd name="T0" fmla="*/ 0 w 18"/>
                <a:gd name="T1" fmla="*/ 42 h 42"/>
                <a:gd name="T2" fmla="*/ 18 w 18"/>
                <a:gd name="T3" fmla="*/ 0 h 42"/>
                <a:gd name="T4" fmla="*/ 0 w 18"/>
                <a:gd name="T5" fmla="*/ 35 h 42"/>
                <a:gd name="T6" fmla="*/ 0 w 1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42">
                  <a:moveTo>
                    <a:pt x="0" y="42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9" y="17"/>
                    <a:pt x="0" y="35"/>
                  </a:cubicBezTo>
                  <a:cubicBezTo>
                    <a:pt x="0" y="36"/>
                    <a:pt x="0" y="39"/>
                    <a:pt x="0" y="4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06994" y="3014140"/>
              <a:ext cx="50800" cy="158750"/>
            </a:xfrm>
            <a:custGeom>
              <a:avLst/>
              <a:gdLst>
                <a:gd name="T0" fmla="*/ 7 w 7"/>
                <a:gd name="T1" fmla="*/ 22 h 22"/>
                <a:gd name="T2" fmla="*/ 5 w 7"/>
                <a:gd name="T3" fmla="*/ 0 h 22"/>
                <a:gd name="T4" fmla="*/ 0 w 7"/>
                <a:gd name="T5" fmla="*/ 21 h 22"/>
                <a:gd name="T6" fmla="*/ 7 w 7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2">
                  <a:moveTo>
                    <a:pt x="7" y="22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3" y="12"/>
                    <a:pt x="0" y="21"/>
                  </a:cubicBezTo>
                  <a:cubicBezTo>
                    <a:pt x="3" y="21"/>
                    <a:pt x="5" y="22"/>
                    <a:pt x="7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00606" y="2747440"/>
              <a:ext cx="255588" cy="468313"/>
            </a:xfrm>
            <a:custGeom>
              <a:avLst/>
              <a:gdLst>
                <a:gd name="T0" fmla="*/ 0 w 35"/>
                <a:gd name="T1" fmla="*/ 60 h 65"/>
                <a:gd name="T2" fmla="*/ 12 w 35"/>
                <a:gd name="T3" fmla="*/ 59 h 65"/>
                <a:gd name="T4" fmla="*/ 35 w 35"/>
                <a:gd name="T5" fmla="*/ 0 h 65"/>
                <a:gd name="T6" fmla="*/ 10 w 35"/>
                <a:gd name="T7" fmla="*/ 1 h 65"/>
                <a:gd name="T8" fmla="*/ 0 w 35"/>
                <a:gd name="T9" fmla="*/ 6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5">
                  <a:moveTo>
                    <a:pt x="0" y="60"/>
                  </a:moveTo>
                  <a:cubicBezTo>
                    <a:pt x="0" y="60"/>
                    <a:pt x="7" y="65"/>
                    <a:pt x="12" y="59"/>
                  </a:cubicBezTo>
                  <a:cubicBezTo>
                    <a:pt x="17" y="53"/>
                    <a:pt x="35" y="0"/>
                    <a:pt x="35" y="0"/>
                  </a:cubicBezTo>
                  <a:cubicBezTo>
                    <a:pt x="10" y="1"/>
                    <a:pt x="10" y="1"/>
                    <a:pt x="10" y="1"/>
                  </a:cubicBezTo>
                  <a:lnTo>
                    <a:pt x="0" y="60"/>
                  </a:ln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795819" y="1736203"/>
              <a:ext cx="614363" cy="744538"/>
            </a:xfrm>
            <a:custGeom>
              <a:avLst/>
              <a:gdLst>
                <a:gd name="T0" fmla="*/ 1 w 84"/>
                <a:gd name="T1" fmla="*/ 103 h 103"/>
                <a:gd name="T2" fmla="*/ 5 w 84"/>
                <a:gd name="T3" fmla="*/ 91 h 103"/>
                <a:gd name="T4" fmla="*/ 18 w 84"/>
                <a:gd name="T5" fmla="*/ 74 h 103"/>
                <a:gd name="T6" fmla="*/ 37 w 84"/>
                <a:gd name="T7" fmla="*/ 48 h 103"/>
                <a:gd name="T8" fmla="*/ 50 w 84"/>
                <a:gd name="T9" fmla="*/ 17 h 103"/>
                <a:gd name="T10" fmla="*/ 64 w 84"/>
                <a:gd name="T11" fmla="*/ 10 h 103"/>
                <a:gd name="T12" fmla="*/ 76 w 84"/>
                <a:gd name="T13" fmla="*/ 3 h 103"/>
                <a:gd name="T14" fmla="*/ 84 w 84"/>
                <a:gd name="T15" fmla="*/ 0 h 103"/>
                <a:gd name="T16" fmla="*/ 73 w 84"/>
                <a:gd name="T17" fmla="*/ 30 h 103"/>
                <a:gd name="T18" fmla="*/ 31 w 84"/>
                <a:gd name="T19" fmla="*/ 90 h 103"/>
                <a:gd name="T20" fmla="*/ 1 w 84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103">
                  <a:moveTo>
                    <a:pt x="1" y="103"/>
                  </a:moveTo>
                  <a:cubicBezTo>
                    <a:pt x="1" y="103"/>
                    <a:pt x="0" y="94"/>
                    <a:pt x="5" y="91"/>
                  </a:cubicBezTo>
                  <a:cubicBezTo>
                    <a:pt x="10" y="88"/>
                    <a:pt x="16" y="76"/>
                    <a:pt x="18" y="74"/>
                  </a:cubicBezTo>
                  <a:cubicBezTo>
                    <a:pt x="19" y="71"/>
                    <a:pt x="34" y="55"/>
                    <a:pt x="37" y="48"/>
                  </a:cubicBezTo>
                  <a:cubicBezTo>
                    <a:pt x="40" y="41"/>
                    <a:pt x="46" y="22"/>
                    <a:pt x="50" y="17"/>
                  </a:cubicBezTo>
                  <a:cubicBezTo>
                    <a:pt x="54" y="13"/>
                    <a:pt x="64" y="10"/>
                    <a:pt x="64" y="10"/>
                  </a:cubicBezTo>
                  <a:cubicBezTo>
                    <a:pt x="64" y="10"/>
                    <a:pt x="74" y="3"/>
                    <a:pt x="76" y="3"/>
                  </a:cubicBezTo>
                  <a:cubicBezTo>
                    <a:pt x="79" y="2"/>
                    <a:pt x="84" y="0"/>
                    <a:pt x="84" y="0"/>
                  </a:cubicBezTo>
                  <a:cubicBezTo>
                    <a:pt x="84" y="0"/>
                    <a:pt x="77" y="25"/>
                    <a:pt x="73" y="30"/>
                  </a:cubicBezTo>
                  <a:cubicBezTo>
                    <a:pt x="68" y="36"/>
                    <a:pt x="31" y="90"/>
                    <a:pt x="31" y="90"/>
                  </a:cubicBezTo>
                  <a:lnTo>
                    <a:pt x="1" y="103"/>
                  </a:ln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87956" y="1679053"/>
              <a:ext cx="415925" cy="887413"/>
            </a:xfrm>
            <a:custGeom>
              <a:avLst/>
              <a:gdLst>
                <a:gd name="T0" fmla="*/ 37 w 57"/>
                <a:gd name="T1" fmla="*/ 1 h 123"/>
                <a:gd name="T2" fmla="*/ 0 w 57"/>
                <a:gd name="T3" fmla="*/ 37 h 123"/>
                <a:gd name="T4" fmla="*/ 1 w 57"/>
                <a:gd name="T5" fmla="*/ 116 h 123"/>
                <a:gd name="T6" fmla="*/ 43 w 57"/>
                <a:gd name="T7" fmla="*/ 80 h 123"/>
                <a:gd name="T8" fmla="*/ 57 w 57"/>
                <a:gd name="T9" fmla="*/ 0 h 123"/>
                <a:gd name="T10" fmla="*/ 38 w 57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23">
                  <a:moveTo>
                    <a:pt x="37" y="1"/>
                  </a:moveTo>
                  <a:cubicBezTo>
                    <a:pt x="37" y="1"/>
                    <a:pt x="8" y="26"/>
                    <a:pt x="0" y="3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32" y="123"/>
                    <a:pt x="43" y="80"/>
                  </a:cubicBezTo>
                  <a:cubicBezTo>
                    <a:pt x="53" y="37"/>
                    <a:pt x="57" y="0"/>
                    <a:pt x="57" y="0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22831" y="1894953"/>
              <a:ext cx="444500" cy="895350"/>
            </a:xfrm>
            <a:custGeom>
              <a:avLst/>
              <a:gdLst>
                <a:gd name="T0" fmla="*/ 23 w 280"/>
                <a:gd name="T1" fmla="*/ 23 h 564"/>
                <a:gd name="T2" fmla="*/ 280 w 280"/>
                <a:gd name="T3" fmla="*/ 0 h 564"/>
                <a:gd name="T4" fmla="*/ 262 w 280"/>
                <a:gd name="T5" fmla="*/ 564 h 564"/>
                <a:gd name="T6" fmla="*/ 0 w 280"/>
                <a:gd name="T7" fmla="*/ 560 h 564"/>
                <a:gd name="T8" fmla="*/ 23 w 280"/>
                <a:gd name="T9" fmla="*/ 23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564">
                  <a:moveTo>
                    <a:pt x="23" y="23"/>
                  </a:moveTo>
                  <a:lnTo>
                    <a:pt x="280" y="0"/>
                  </a:lnTo>
                  <a:lnTo>
                    <a:pt x="262" y="564"/>
                  </a:lnTo>
                  <a:lnTo>
                    <a:pt x="0" y="560"/>
                  </a:lnTo>
                  <a:lnTo>
                    <a:pt x="23" y="23"/>
                  </a:lnTo>
                  <a:close/>
                </a:path>
              </a:pathLst>
            </a:cu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978381" y="2277540"/>
              <a:ext cx="190500" cy="317500"/>
            </a:xfrm>
            <a:custGeom>
              <a:avLst/>
              <a:gdLst>
                <a:gd name="T0" fmla="*/ 4 w 26"/>
                <a:gd name="T1" fmla="*/ 38 h 44"/>
                <a:gd name="T2" fmla="*/ 15 w 26"/>
                <a:gd name="T3" fmla="*/ 44 h 44"/>
                <a:gd name="T4" fmla="*/ 26 w 26"/>
                <a:gd name="T5" fmla="*/ 43 h 44"/>
                <a:gd name="T6" fmla="*/ 26 w 26"/>
                <a:gd name="T7" fmla="*/ 28 h 44"/>
                <a:gd name="T8" fmla="*/ 3 w 26"/>
                <a:gd name="T9" fmla="*/ 0 h 44"/>
                <a:gd name="T10" fmla="*/ 3 w 26"/>
                <a:gd name="T11" fmla="*/ 13 h 44"/>
                <a:gd name="T12" fmla="*/ 4 w 26"/>
                <a:gd name="T13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44">
                  <a:moveTo>
                    <a:pt x="4" y="38"/>
                  </a:moveTo>
                  <a:cubicBezTo>
                    <a:pt x="4" y="38"/>
                    <a:pt x="10" y="44"/>
                    <a:pt x="15" y="44"/>
                  </a:cubicBezTo>
                  <a:cubicBezTo>
                    <a:pt x="21" y="43"/>
                    <a:pt x="26" y="43"/>
                    <a:pt x="26" y="43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15" y="3"/>
                    <a:pt x="3" y="0"/>
                  </a:cubicBezTo>
                  <a:cubicBezTo>
                    <a:pt x="3" y="0"/>
                    <a:pt x="0" y="10"/>
                    <a:pt x="3" y="13"/>
                  </a:cubicBezTo>
                  <a:cubicBezTo>
                    <a:pt x="7" y="16"/>
                    <a:pt x="4" y="38"/>
                    <a:pt x="4" y="38"/>
                  </a:cubicBezTo>
                  <a:close/>
                </a:path>
              </a:pathLst>
            </a:custGeom>
            <a:solidFill>
              <a:srgbClr val="D69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730731" y="2356915"/>
              <a:ext cx="306388" cy="354013"/>
            </a:xfrm>
            <a:custGeom>
              <a:avLst/>
              <a:gdLst>
                <a:gd name="T0" fmla="*/ 33 w 42"/>
                <a:gd name="T1" fmla="*/ 0 h 49"/>
                <a:gd name="T2" fmla="*/ 8 w 42"/>
                <a:gd name="T3" fmla="*/ 15 h 49"/>
                <a:gd name="T4" fmla="*/ 18 w 42"/>
                <a:gd name="T5" fmla="*/ 45 h 49"/>
                <a:gd name="T6" fmla="*/ 42 w 42"/>
                <a:gd name="T7" fmla="*/ 29 h 49"/>
                <a:gd name="T8" fmla="*/ 33 w 42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9">
                  <a:moveTo>
                    <a:pt x="33" y="0"/>
                  </a:moveTo>
                  <a:cubicBezTo>
                    <a:pt x="33" y="0"/>
                    <a:pt x="17" y="6"/>
                    <a:pt x="8" y="15"/>
                  </a:cubicBezTo>
                  <a:cubicBezTo>
                    <a:pt x="8" y="15"/>
                    <a:pt x="0" y="41"/>
                    <a:pt x="18" y="45"/>
                  </a:cubicBezTo>
                  <a:cubicBezTo>
                    <a:pt x="37" y="49"/>
                    <a:pt x="40" y="33"/>
                    <a:pt x="42" y="29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80019" y="1656828"/>
              <a:ext cx="539750" cy="858838"/>
            </a:xfrm>
            <a:custGeom>
              <a:avLst/>
              <a:gdLst>
                <a:gd name="T0" fmla="*/ 0 w 74"/>
                <a:gd name="T1" fmla="*/ 119 h 119"/>
                <a:gd name="T2" fmla="*/ 18 w 74"/>
                <a:gd name="T3" fmla="*/ 89 h 119"/>
                <a:gd name="T4" fmla="*/ 21 w 74"/>
                <a:gd name="T5" fmla="*/ 73 h 119"/>
                <a:gd name="T6" fmla="*/ 25 w 74"/>
                <a:gd name="T7" fmla="*/ 65 h 119"/>
                <a:gd name="T8" fmla="*/ 31 w 74"/>
                <a:gd name="T9" fmla="*/ 51 h 119"/>
                <a:gd name="T10" fmla="*/ 40 w 74"/>
                <a:gd name="T11" fmla="*/ 34 h 119"/>
                <a:gd name="T12" fmla="*/ 44 w 74"/>
                <a:gd name="T13" fmla="*/ 23 h 119"/>
                <a:gd name="T14" fmla="*/ 13 w 74"/>
                <a:gd name="T15" fmla="*/ 37 h 119"/>
                <a:gd name="T16" fmla="*/ 41 w 74"/>
                <a:gd name="T17" fmla="*/ 18 h 119"/>
                <a:gd name="T18" fmla="*/ 42 w 74"/>
                <a:gd name="T19" fmla="*/ 7 h 119"/>
                <a:gd name="T20" fmla="*/ 62 w 74"/>
                <a:gd name="T21" fmla="*/ 0 h 119"/>
                <a:gd name="T22" fmla="*/ 74 w 74"/>
                <a:gd name="T23" fmla="*/ 11 h 119"/>
                <a:gd name="T24" fmla="*/ 60 w 74"/>
                <a:gd name="T25" fmla="*/ 77 h 119"/>
                <a:gd name="T26" fmla="*/ 32 w 74"/>
                <a:gd name="T27" fmla="*/ 119 h 119"/>
                <a:gd name="T28" fmla="*/ 0 w 74"/>
                <a:gd name="T2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119">
                  <a:moveTo>
                    <a:pt x="0" y="119"/>
                  </a:moveTo>
                  <a:cubicBezTo>
                    <a:pt x="0" y="119"/>
                    <a:pt x="15" y="93"/>
                    <a:pt x="18" y="89"/>
                  </a:cubicBezTo>
                  <a:cubicBezTo>
                    <a:pt x="22" y="84"/>
                    <a:pt x="20" y="74"/>
                    <a:pt x="21" y="73"/>
                  </a:cubicBezTo>
                  <a:cubicBezTo>
                    <a:pt x="23" y="72"/>
                    <a:pt x="25" y="65"/>
                    <a:pt x="25" y="65"/>
                  </a:cubicBezTo>
                  <a:cubicBezTo>
                    <a:pt x="25" y="65"/>
                    <a:pt x="34" y="57"/>
                    <a:pt x="31" y="51"/>
                  </a:cubicBezTo>
                  <a:cubicBezTo>
                    <a:pt x="29" y="44"/>
                    <a:pt x="37" y="37"/>
                    <a:pt x="40" y="34"/>
                  </a:cubicBezTo>
                  <a:cubicBezTo>
                    <a:pt x="42" y="31"/>
                    <a:pt x="44" y="23"/>
                    <a:pt x="44" y="23"/>
                  </a:cubicBezTo>
                  <a:cubicBezTo>
                    <a:pt x="44" y="23"/>
                    <a:pt x="21" y="35"/>
                    <a:pt x="13" y="3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38" y="11"/>
                    <a:pt x="42" y="7"/>
                  </a:cubicBezTo>
                  <a:cubicBezTo>
                    <a:pt x="47" y="2"/>
                    <a:pt x="62" y="0"/>
                    <a:pt x="62" y="0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32" y="119"/>
                    <a:pt x="32" y="119"/>
                    <a:pt x="32" y="119"/>
                  </a:cubicBezTo>
                  <a:lnTo>
                    <a:pt x="0" y="1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773594" y="2523603"/>
              <a:ext cx="292100" cy="187325"/>
            </a:xfrm>
            <a:custGeom>
              <a:avLst/>
              <a:gdLst>
                <a:gd name="T0" fmla="*/ 40 w 40"/>
                <a:gd name="T1" fmla="*/ 4 h 26"/>
                <a:gd name="T2" fmla="*/ 34 w 40"/>
                <a:gd name="T3" fmla="*/ 0 h 26"/>
                <a:gd name="T4" fmla="*/ 27 w 40"/>
                <a:gd name="T5" fmla="*/ 1 h 26"/>
                <a:gd name="T6" fmla="*/ 7 w 40"/>
                <a:gd name="T7" fmla="*/ 11 h 26"/>
                <a:gd name="T8" fmla="*/ 0 w 40"/>
                <a:gd name="T9" fmla="*/ 1 h 26"/>
                <a:gd name="T10" fmla="*/ 12 w 40"/>
                <a:gd name="T11" fmla="*/ 22 h 26"/>
                <a:gd name="T12" fmla="*/ 40 w 40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6">
                  <a:moveTo>
                    <a:pt x="40" y="4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1" y="1"/>
                    <a:pt x="27" y="1"/>
                    <a:pt x="27" y="1"/>
                  </a:cubicBezTo>
                  <a:cubicBezTo>
                    <a:pt x="26" y="1"/>
                    <a:pt x="15" y="11"/>
                    <a:pt x="7" y="11"/>
                  </a:cubicBezTo>
                  <a:cubicBezTo>
                    <a:pt x="3" y="11"/>
                    <a:pt x="1" y="6"/>
                    <a:pt x="0" y="1"/>
                  </a:cubicBezTo>
                  <a:cubicBezTo>
                    <a:pt x="0" y="9"/>
                    <a:pt x="1" y="20"/>
                    <a:pt x="12" y="22"/>
                  </a:cubicBezTo>
                  <a:cubicBezTo>
                    <a:pt x="31" y="26"/>
                    <a:pt x="38" y="7"/>
                    <a:pt x="40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883131" y="2163240"/>
              <a:ext cx="628650" cy="446088"/>
            </a:xfrm>
            <a:custGeom>
              <a:avLst/>
              <a:gdLst>
                <a:gd name="T0" fmla="*/ 9 w 86"/>
                <a:gd name="T1" fmla="*/ 30 h 62"/>
                <a:gd name="T2" fmla="*/ 6 w 86"/>
                <a:gd name="T3" fmla="*/ 50 h 62"/>
                <a:gd name="T4" fmla="*/ 25 w 86"/>
                <a:gd name="T5" fmla="*/ 54 h 62"/>
                <a:gd name="T6" fmla="*/ 31 w 86"/>
                <a:gd name="T7" fmla="*/ 44 h 62"/>
                <a:gd name="T8" fmla="*/ 76 w 86"/>
                <a:gd name="T9" fmla="*/ 41 h 62"/>
                <a:gd name="T10" fmla="*/ 77 w 86"/>
                <a:gd name="T11" fmla="*/ 37 h 62"/>
                <a:gd name="T12" fmla="*/ 79 w 86"/>
                <a:gd name="T13" fmla="*/ 31 h 62"/>
                <a:gd name="T14" fmla="*/ 80 w 86"/>
                <a:gd name="T15" fmla="*/ 23 h 62"/>
                <a:gd name="T16" fmla="*/ 83 w 86"/>
                <a:gd name="T17" fmla="*/ 18 h 62"/>
                <a:gd name="T18" fmla="*/ 64 w 86"/>
                <a:gd name="T19" fmla="*/ 14 h 62"/>
                <a:gd name="T20" fmla="*/ 73 w 86"/>
                <a:gd name="T21" fmla="*/ 8 h 62"/>
                <a:gd name="T22" fmla="*/ 71 w 86"/>
                <a:gd name="T23" fmla="*/ 0 h 62"/>
                <a:gd name="T24" fmla="*/ 63 w 86"/>
                <a:gd name="T25" fmla="*/ 6 h 62"/>
                <a:gd name="T26" fmla="*/ 44 w 86"/>
                <a:gd name="T27" fmla="*/ 13 h 62"/>
                <a:gd name="T28" fmla="*/ 23 w 86"/>
                <a:gd name="T29" fmla="*/ 22 h 62"/>
                <a:gd name="T30" fmla="*/ 9 w 86"/>
                <a:gd name="T31" fmla="*/ 3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" h="62">
                  <a:moveTo>
                    <a:pt x="9" y="30"/>
                  </a:moveTo>
                  <a:cubicBezTo>
                    <a:pt x="9" y="30"/>
                    <a:pt x="0" y="39"/>
                    <a:pt x="6" y="50"/>
                  </a:cubicBezTo>
                  <a:cubicBezTo>
                    <a:pt x="12" y="62"/>
                    <a:pt x="25" y="54"/>
                    <a:pt x="25" y="5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68" y="45"/>
                    <a:pt x="76" y="41"/>
                  </a:cubicBezTo>
                  <a:cubicBezTo>
                    <a:pt x="76" y="41"/>
                    <a:pt x="78" y="40"/>
                    <a:pt x="77" y="37"/>
                  </a:cubicBezTo>
                  <a:cubicBezTo>
                    <a:pt x="77" y="37"/>
                    <a:pt x="81" y="36"/>
                    <a:pt x="79" y="31"/>
                  </a:cubicBezTo>
                  <a:cubicBezTo>
                    <a:pt x="79" y="31"/>
                    <a:pt x="86" y="28"/>
                    <a:pt x="80" y="23"/>
                  </a:cubicBezTo>
                  <a:cubicBezTo>
                    <a:pt x="80" y="23"/>
                    <a:pt x="84" y="21"/>
                    <a:pt x="83" y="18"/>
                  </a:cubicBezTo>
                  <a:cubicBezTo>
                    <a:pt x="82" y="15"/>
                    <a:pt x="80" y="13"/>
                    <a:pt x="64" y="14"/>
                  </a:cubicBezTo>
                  <a:cubicBezTo>
                    <a:pt x="64" y="14"/>
                    <a:pt x="71" y="9"/>
                    <a:pt x="73" y="8"/>
                  </a:cubicBezTo>
                  <a:cubicBezTo>
                    <a:pt x="74" y="6"/>
                    <a:pt x="76" y="0"/>
                    <a:pt x="71" y="0"/>
                  </a:cubicBezTo>
                  <a:cubicBezTo>
                    <a:pt x="71" y="0"/>
                    <a:pt x="66" y="4"/>
                    <a:pt x="63" y="6"/>
                  </a:cubicBezTo>
                  <a:cubicBezTo>
                    <a:pt x="59" y="8"/>
                    <a:pt x="47" y="12"/>
                    <a:pt x="44" y="13"/>
                  </a:cubicBezTo>
                  <a:cubicBezTo>
                    <a:pt x="41" y="15"/>
                    <a:pt x="34" y="18"/>
                    <a:pt x="23" y="22"/>
                  </a:cubicBezTo>
                  <a:cubicBezTo>
                    <a:pt x="12" y="25"/>
                    <a:pt x="9" y="30"/>
                    <a:pt x="9" y="30"/>
                  </a:cubicBez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883131" y="2321990"/>
              <a:ext cx="504825" cy="287338"/>
            </a:xfrm>
            <a:custGeom>
              <a:avLst/>
              <a:gdLst>
                <a:gd name="T0" fmla="*/ 63 w 69"/>
                <a:gd name="T1" fmla="*/ 17 h 40"/>
                <a:gd name="T2" fmla="*/ 41 w 69"/>
                <a:gd name="T3" fmla="*/ 18 h 40"/>
                <a:gd name="T4" fmla="*/ 23 w 69"/>
                <a:gd name="T5" fmla="*/ 19 h 40"/>
                <a:gd name="T6" fmla="*/ 21 w 69"/>
                <a:gd name="T7" fmla="*/ 0 h 40"/>
                <a:gd name="T8" fmla="*/ 9 w 69"/>
                <a:gd name="T9" fmla="*/ 8 h 40"/>
                <a:gd name="T10" fmla="*/ 6 w 69"/>
                <a:gd name="T11" fmla="*/ 28 h 40"/>
                <a:gd name="T12" fmla="*/ 25 w 69"/>
                <a:gd name="T13" fmla="*/ 32 h 40"/>
                <a:gd name="T14" fmla="*/ 31 w 69"/>
                <a:gd name="T15" fmla="*/ 22 h 40"/>
                <a:gd name="T16" fmla="*/ 69 w 69"/>
                <a:gd name="T17" fmla="*/ 21 h 40"/>
                <a:gd name="T18" fmla="*/ 63 w 69"/>
                <a:gd name="T19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40">
                  <a:moveTo>
                    <a:pt x="63" y="17"/>
                  </a:moveTo>
                  <a:cubicBezTo>
                    <a:pt x="58" y="16"/>
                    <a:pt x="45" y="16"/>
                    <a:pt x="41" y="18"/>
                  </a:cubicBezTo>
                  <a:cubicBezTo>
                    <a:pt x="36" y="19"/>
                    <a:pt x="23" y="19"/>
                    <a:pt x="23" y="19"/>
                  </a:cubicBezTo>
                  <a:cubicBezTo>
                    <a:pt x="18" y="17"/>
                    <a:pt x="19" y="7"/>
                    <a:pt x="21" y="0"/>
                  </a:cubicBezTo>
                  <a:cubicBezTo>
                    <a:pt x="12" y="3"/>
                    <a:pt x="9" y="8"/>
                    <a:pt x="9" y="8"/>
                  </a:cubicBezTo>
                  <a:cubicBezTo>
                    <a:pt x="9" y="8"/>
                    <a:pt x="0" y="17"/>
                    <a:pt x="6" y="28"/>
                  </a:cubicBezTo>
                  <a:cubicBezTo>
                    <a:pt x="12" y="40"/>
                    <a:pt x="25" y="32"/>
                    <a:pt x="25" y="3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55" y="23"/>
                    <a:pt x="69" y="21"/>
                  </a:cubicBezTo>
                  <a:lnTo>
                    <a:pt x="63" y="17"/>
                  </a:ln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80019" y="2364853"/>
              <a:ext cx="103188" cy="22225"/>
            </a:xfrm>
            <a:custGeom>
              <a:avLst/>
              <a:gdLst>
                <a:gd name="T0" fmla="*/ 12 w 14"/>
                <a:gd name="T1" fmla="*/ 3 h 3"/>
                <a:gd name="T2" fmla="*/ 14 w 14"/>
                <a:gd name="T3" fmla="*/ 0 h 3"/>
                <a:gd name="T4" fmla="*/ 0 w 14"/>
                <a:gd name="T5" fmla="*/ 2 h 3"/>
                <a:gd name="T6" fmla="*/ 12 w 1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">
                  <a:moveTo>
                    <a:pt x="12" y="3"/>
                  </a:moveTo>
                  <a:cubicBezTo>
                    <a:pt x="12" y="3"/>
                    <a:pt x="14" y="1"/>
                    <a:pt x="14" y="0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12" y="3"/>
                  </a:ln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14931" y="2177528"/>
              <a:ext cx="115888" cy="93663"/>
            </a:xfrm>
            <a:custGeom>
              <a:avLst/>
              <a:gdLst>
                <a:gd name="T0" fmla="*/ 5 w 16"/>
                <a:gd name="T1" fmla="*/ 12 h 13"/>
                <a:gd name="T2" fmla="*/ 14 w 16"/>
                <a:gd name="T3" fmla="*/ 6 h 13"/>
                <a:gd name="T4" fmla="*/ 15 w 16"/>
                <a:gd name="T5" fmla="*/ 0 h 13"/>
                <a:gd name="T6" fmla="*/ 0 w 16"/>
                <a:gd name="T7" fmla="*/ 11 h 13"/>
                <a:gd name="T8" fmla="*/ 11 w 16"/>
                <a:gd name="T9" fmla="*/ 12 h 13"/>
                <a:gd name="T10" fmla="*/ 5 w 16"/>
                <a:gd name="T11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3">
                  <a:moveTo>
                    <a:pt x="5" y="12"/>
                  </a:moveTo>
                  <a:cubicBezTo>
                    <a:pt x="5" y="12"/>
                    <a:pt x="12" y="7"/>
                    <a:pt x="14" y="6"/>
                  </a:cubicBezTo>
                  <a:cubicBezTo>
                    <a:pt x="15" y="5"/>
                    <a:pt x="16" y="2"/>
                    <a:pt x="15" y="0"/>
                  </a:cubicBezTo>
                  <a:cubicBezTo>
                    <a:pt x="12" y="4"/>
                    <a:pt x="7" y="9"/>
                    <a:pt x="0" y="11"/>
                  </a:cubicBezTo>
                  <a:cubicBezTo>
                    <a:pt x="0" y="11"/>
                    <a:pt x="3" y="13"/>
                    <a:pt x="11" y="12"/>
                  </a:cubicBezTo>
                  <a:cubicBezTo>
                    <a:pt x="9" y="12"/>
                    <a:pt x="7" y="12"/>
                    <a:pt x="5" y="12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80019" y="2415653"/>
              <a:ext cx="80963" cy="14288"/>
            </a:xfrm>
            <a:custGeom>
              <a:avLst/>
              <a:gdLst>
                <a:gd name="T0" fmla="*/ 4 w 11"/>
                <a:gd name="T1" fmla="*/ 1 h 2"/>
                <a:gd name="T2" fmla="*/ 0 w 11"/>
                <a:gd name="T3" fmla="*/ 1 h 2"/>
                <a:gd name="T4" fmla="*/ 5 w 11"/>
                <a:gd name="T5" fmla="*/ 2 h 2"/>
                <a:gd name="T6" fmla="*/ 9 w 11"/>
                <a:gd name="T7" fmla="*/ 2 h 2"/>
                <a:gd name="T8" fmla="*/ 11 w 11"/>
                <a:gd name="T9" fmla="*/ 0 h 2"/>
                <a:gd name="T10" fmla="*/ 4 w 11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">
                  <a:moveTo>
                    <a:pt x="4" y="1"/>
                  </a:moveTo>
                  <a:cubicBezTo>
                    <a:pt x="3" y="0"/>
                    <a:pt x="0" y="1"/>
                    <a:pt x="0" y="1"/>
                  </a:cubicBezTo>
                  <a:cubicBezTo>
                    <a:pt x="0" y="1"/>
                    <a:pt x="3" y="2"/>
                    <a:pt x="5" y="2"/>
                  </a:cubicBezTo>
                  <a:cubicBezTo>
                    <a:pt x="6" y="2"/>
                    <a:pt x="8" y="2"/>
                    <a:pt x="9" y="2"/>
                  </a:cubicBezTo>
                  <a:cubicBezTo>
                    <a:pt x="10" y="2"/>
                    <a:pt x="11" y="1"/>
                    <a:pt x="11" y="0"/>
                  </a:cubicBezTo>
                  <a:cubicBezTo>
                    <a:pt x="9" y="0"/>
                    <a:pt x="5" y="1"/>
                    <a:pt x="4" y="1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87956" y="2299765"/>
              <a:ext cx="101600" cy="28575"/>
            </a:xfrm>
            <a:custGeom>
              <a:avLst/>
              <a:gdLst>
                <a:gd name="T0" fmla="*/ 14 w 14"/>
                <a:gd name="T1" fmla="*/ 0 h 4"/>
                <a:gd name="T2" fmla="*/ 6 w 14"/>
                <a:gd name="T3" fmla="*/ 3 h 4"/>
                <a:gd name="T4" fmla="*/ 0 w 14"/>
                <a:gd name="T5" fmla="*/ 4 h 4"/>
                <a:gd name="T6" fmla="*/ 12 w 14"/>
                <a:gd name="T7" fmla="*/ 4 h 4"/>
                <a:gd name="T8" fmla="*/ 11 w 14"/>
                <a:gd name="T9" fmla="*/ 4 h 4"/>
                <a:gd name="T10" fmla="*/ 14 w 1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">
                  <a:moveTo>
                    <a:pt x="14" y="0"/>
                  </a:moveTo>
                  <a:cubicBezTo>
                    <a:pt x="12" y="1"/>
                    <a:pt x="9" y="2"/>
                    <a:pt x="6" y="3"/>
                  </a:cubicBezTo>
                  <a:cubicBezTo>
                    <a:pt x="4" y="3"/>
                    <a:pt x="0" y="4"/>
                    <a:pt x="0" y="4"/>
                  </a:cubicBezTo>
                  <a:cubicBezTo>
                    <a:pt x="6" y="3"/>
                    <a:pt x="10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1" y="4"/>
                    <a:pt x="14" y="2"/>
                    <a:pt x="14" y="0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57794" y="1094853"/>
              <a:ext cx="395288" cy="547688"/>
            </a:xfrm>
            <a:custGeom>
              <a:avLst/>
              <a:gdLst>
                <a:gd name="T0" fmla="*/ 17 w 54"/>
                <a:gd name="T1" fmla="*/ 2 h 76"/>
                <a:gd name="T2" fmla="*/ 5 w 54"/>
                <a:gd name="T3" fmla="*/ 10 h 76"/>
                <a:gd name="T4" fmla="*/ 1 w 54"/>
                <a:gd name="T5" fmla="*/ 30 h 76"/>
                <a:gd name="T6" fmla="*/ 0 w 54"/>
                <a:gd name="T7" fmla="*/ 42 h 76"/>
                <a:gd name="T8" fmla="*/ 7 w 54"/>
                <a:gd name="T9" fmla="*/ 64 h 76"/>
                <a:gd name="T10" fmla="*/ 20 w 54"/>
                <a:gd name="T11" fmla="*/ 76 h 76"/>
                <a:gd name="T12" fmla="*/ 41 w 54"/>
                <a:gd name="T13" fmla="*/ 65 h 76"/>
                <a:gd name="T14" fmla="*/ 50 w 54"/>
                <a:gd name="T15" fmla="*/ 42 h 76"/>
                <a:gd name="T16" fmla="*/ 17 w 54"/>
                <a:gd name="T1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6">
                  <a:moveTo>
                    <a:pt x="17" y="2"/>
                  </a:moveTo>
                  <a:cubicBezTo>
                    <a:pt x="17" y="2"/>
                    <a:pt x="8" y="4"/>
                    <a:pt x="5" y="10"/>
                  </a:cubicBezTo>
                  <a:cubicBezTo>
                    <a:pt x="2" y="16"/>
                    <a:pt x="0" y="18"/>
                    <a:pt x="1" y="30"/>
                  </a:cubicBezTo>
                  <a:cubicBezTo>
                    <a:pt x="1" y="30"/>
                    <a:pt x="0" y="38"/>
                    <a:pt x="0" y="42"/>
                  </a:cubicBezTo>
                  <a:cubicBezTo>
                    <a:pt x="0" y="46"/>
                    <a:pt x="5" y="59"/>
                    <a:pt x="7" y="64"/>
                  </a:cubicBezTo>
                  <a:cubicBezTo>
                    <a:pt x="9" y="68"/>
                    <a:pt x="14" y="76"/>
                    <a:pt x="20" y="76"/>
                  </a:cubicBezTo>
                  <a:cubicBezTo>
                    <a:pt x="25" y="75"/>
                    <a:pt x="39" y="67"/>
                    <a:pt x="41" y="65"/>
                  </a:cubicBezTo>
                  <a:cubicBezTo>
                    <a:pt x="43" y="63"/>
                    <a:pt x="54" y="57"/>
                    <a:pt x="50" y="42"/>
                  </a:cubicBezTo>
                  <a:cubicBezTo>
                    <a:pt x="47" y="27"/>
                    <a:pt x="29" y="0"/>
                    <a:pt x="17" y="2"/>
                  </a:cubicBez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43506" y="2444228"/>
              <a:ext cx="103188" cy="28575"/>
            </a:xfrm>
            <a:custGeom>
              <a:avLst/>
              <a:gdLst>
                <a:gd name="T0" fmla="*/ 0 w 14"/>
                <a:gd name="T1" fmla="*/ 2 h 4"/>
                <a:gd name="T2" fmla="*/ 2 w 14"/>
                <a:gd name="T3" fmla="*/ 4 h 4"/>
                <a:gd name="T4" fmla="*/ 13 w 14"/>
                <a:gd name="T5" fmla="*/ 2 h 4"/>
                <a:gd name="T6" fmla="*/ 14 w 14"/>
                <a:gd name="T7" fmla="*/ 0 h 4"/>
                <a:gd name="T8" fmla="*/ 0 w 14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0" y="2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11" y="3"/>
                    <a:pt x="13" y="2"/>
                  </a:cubicBezTo>
                  <a:cubicBezTo>
                    <a:pt x="13" y="2"/>
                    <a:pt x="14" y="1"/>
                    <a:pt x="14" y="0"/>
                  </a:cubicBezTo>
                  <a:cubicBezTo>
                    <a:pt x="1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503844" y="1145653"/>
              <a:ext cx="249238" cy="496888"/>
            </a:xfrm>
            <a:custGeom>
              <a:avLst/>
              <a:gdLst>
                <a:gd name="T0" fmla="*/ 30 w 34"/>
                <a:gd name="T1" fmla="*/ 35 h 69"/>
                <a:gd name="T2" fmla="*/ 9 w 34"/>
                <a:gd name="T3" fmla="*/ 0 h 69"/>
                <a:gd name="T4" fmla="*/ 2 w 34"/>
                <a:gd name="T5" fmla="*/ 1 h 69"/>
                <a:gd name="T6" fmla="*/ 11 w 34"/>
                <a:gd name="T7" fmla="*/ 20 h 69"/>
                <a:gd name="T8" fmla="*/ 21 w 34"/>
                <a:gd name="T9" fmla="*/ 29 h 69"/>
                <a:gd name="T10" fmla="*/ 15 w 34"/>
                <a:gd name="T11" fmla="*/ 39 h 69"/>
                <a:gd name="T12" fmla="*/ 19 w 34"/>
                <a:gd name="T13" fmla="*/ 53 h 69"/>
                <a:gd name="T14" fmla="*/ 0 w 34"/>
                <a:gd name="T15" fmla="*/ 69 h 69"/>
                <a:gd name="T16" fmla="*/ 21 w 34"/>
                <a:gd name="T17" fmla="*/ 58 h 69"/>
                <a:gd name="T18" fmla="*/ 30 w 34"/>
                <a:gd name="T19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69">
                  <a:moveTo>
                    <a:pt x="30" y="35"/>
                  </a:moveTo>
                  <a:cubicBezTo>
                    <a:pt x="28" y="25"/>
                    <a:pt x="18" y="8"/>
                    <a:pt x="9" y="0"/>
                  </a:cubicBezTo>
                  <a:cubicBezTo>
                    <a:pt x="5" y="0"/>
                    <a:pt x="2" y="1"/>
                    <a:pt x="2" y="1"/>
                  </a:cubicBezTo>
                  <a:cubicBezTo>
                    <a:pt x="10" y="7"/>
                    <a:pt x="11" y="20"/>
                    <a:pt x="11" y="20"/>
                  </a:cubicBezTo>
                  <a:cubicBezTo>
                    <a:pt x="11" y="20"/>
                    <a:pt x="25" y="27"/>
                    <a:pt x="21" y="29"/>
                  </a:cubicBezTo>
                  <a:cubicBezTo>
                    <a:pt x="16" y="30"/>
                    <a:pt x="14" y="35"/>
                    <a:pt x="15" y="39"/>
                  </a:cubicBezTo>
                  <a:cubicBezTo>
                    <a:pt x="16" y="43"/>
                    <a:pt x="22" y="46"/>
                    <a:pt x="19" y="53"/>
                  </a:cubicBezTo>
                  <a:cubicBezTo>
                    <a:pt x="16" y="61"/>
                    <a:pt x="0" y="69"/>
                    <a:pt x="0" y="69"/>
                  </a:cubicBezTo>
                  <a:cubicBezTo>
                    <a:pt x="5" y="68"/>
                    <a:pt x="19" y="60"/>
                    <a:pt x="21" y="58"/>
                  </a:cubicBezTo>
                  <a:cubicBezTo>
                    <a:pt x="23" y="56"/>
                    <a:pt x="34" y="50"/>
                    <a:pt x="30" y="35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87919" y="1721915"/>
              <a:ext cx="949325" cy="989013"/>
            </a:xfrm>
            <a:custGeom>
              <a:avLst/>
              <a:gdLst>
                <a:gd name="T0" fmla="*/ 9 w 130"/>
                <a:gd name="T1" fmla="*/ 105 h 137"/>
                <a:gd name="T2" fmla="*/ 19 w 130"/>
                <a:gd name="T3" fmla="*/ 107 h 137"/>
                <a:gd name="T4" fmla="*/ 63 w 130"/>
                <a:gd name="T5" fmla="*/ 101 h 137"/>
                <a:gd name="T6" fmla="*/ 67 w 130"/>
                <a:gd name="T7" fmla="*/ 89 h 137"/>
                <a:gd name="T8" fmla="*/ 83 w 130"/>
                <a:gd name="T9" fmla="*/ 41 h 137"/>
                <a:gd name="T10" fmla="*/ 98 w 130"/>
                <a:gd name="T11" fmla="*/ 12 h 137"/>
                <a:gd name="T12" fmla="*/ 109 w 130"/>
                <a:gd name="T13" fmla="*/ 2 h 137"/>
                <a:gd name="T14" fmla="*/ 128 w 130"/>
                <a:gd name="T15" fmla="*/ 52 h 137"/>
                <a:gd name="T16" fmla="*/ 117 w 130"/>
                <a:gd name="T17" fmla="*/ 81 h 137"/>
                <a:gd name="T18" fmla="*/ 86 w 130"/>
                <a:gd name="T19" fmla="*/ 125 h 137"/>
                <a:gd name="T20" fmla="*/ 76 w 130"/>
                <a:gd name="T21" fmla="*/ 135 h 137"/>
                <a:gd name="T22" fmla="*/ 12 w 130"/>
                <a:gd name="T23" fmla="*/ 135 h 137"/>
                <a:gd name="T24" fmla="*/ 9 w 130"/>
                <a:gd name="T25" fmla="*/ 10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137">
                  <a:moveTo>
                    <a:pt x="9" y="105"/>
                  </a:moveTo>
                  <a:cubicBezTo>
                    <a:pt x="9" y="105"/>
                    <a:pt x="14" y="107"/>
                    <a:pt x="19" y="107"/>
                  </a:cubicBezTo>
                  <a:cubicBezTo>
                    <a:pt x="24" y="108"/>
                    <a:pt x="51" y="102"/>
                    <a:pt x="63" y="101"/>
                  </a:cubicBezTo>
                  <a:cubicBezTo>
                    <a:pt x="63" y="101"/>
                    <a:pt x="61" y="93"/>
                    <a:pt x="67" y="89"/>
                  </a:cubicBezTo>
                  <a:cubicBezTo>
                    <a:pt x="74" y="85"/>
                    <a:pt x="81" y="48"/>
                    <a:pt x="83" y="41"/>
                  </a:cubicBezTo>
                  <a:cubicBezTo>
                    <a:pt x="84" y="34"/>
                    <a:pt x="88" y="15"/>
                    <a:pt x="98" y="12"/>
                  </a:cubicBezTo>
                  <a:cubicBezTo>
                    <a:pt x="98" y="12"/>
                    <a:pt x="108" y="4"/>
                    <a:pt x="109" y="2"/>
                  </a:cubicBezTo>
                  <a:cubicBezTo>
                    <a:pt x="110" y="0"/>
                    <a:pt x="130" y="34"/>
                    <a:pt x="128" y="52"/>
                  </a:cubicBezTo>
                  <a:cubicBezTo>
                    <a:pt x="126" y="70"/>
                    <a:pt x="117" y="81"/>
                    <a:pt x="117" y="81"/>
                  </a:cubicBezTo>
                  <a:cubicBezTo>
                    <a:pt x="117" y="81"/>
                    <a:pt x="91" y="119"/>
                    <a:pt x="86" y="125"/>
                  </a:cubicBezTo>
                  <a:cubicBezTo>
                    <a:pt x="81" y="131"/>
                    <a:pt x="85" y="132"/>
                    <a:pt x="76" y="135"/>
                  </a:cubicBezTo>
                  <a:cubicBezTo>
                    <a:pt x="67" y="137"/>
                    <a:pt x="12" y="135"/>
                    <a:pt x="12" y="135"/>
                  </a:cubicBezTo>
                  <a:cubicBezTo>
                    <a:pt x="12" y="135"/>
                    <a:pt x="0" y="126"/>
                    <a:pt x="9" y="105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138719" y="1721915"/>
              <a:ext cx="898525" cy="989013"/>
            </a:xfrm>
            <a:custGeom>
              <a:avLst/>
              <a:gdLst>
                <a:gd name="T0" fmla="*/ 102 w 123"/>
                <a:gd name="T1" fmla="*/ 2 h 137"/>
                <a:gd name="T2" fmla="*/ 91 w 123"/>
                <a:gd name="T3" fmla="*/ 12 h 137"/>
                <a:gd name="T4" fmla="*/ 79 w 123"/>
                <a:gd name="T5" fmla="*/ 29 h 137"/>
                <a:gd name="T6" fmla="*/ 99 w 123"/>
                <a:gd name="T7" fmla="*/ 22 h 137"/>
                <a:gd name="T8" fmla="*/ 105 w 123"/>
                <a:gd name="T9" fmla="*/ 42 h 137"/>
                <a:gd name="T10" fmla="*/ 90 w 123"/>
                <a:gd name="T11" fmla="*/ 47 h 137"/>
                <a:gd name="T12" fmla="*/ 105 w 123"/>
                <a:gd name="T13" fmla="*/ 61 h 137"/>
                <a:gd name="T14" fmla="*/ 103 w 123"/>
                <a:gd name="T15" fmla="*/ 70 h 137"/>
                <a:gd name="T16" fmla="*/ 77 w 123"/>
                <a:gd name="T17" fmla="*/ 79 h 137"/>
                <a:gd name="T18" fmla="*/ 96 w 123"/>
                <a:gd name="T19" fmla="*/ 76 h 137"/>
                <a:gd name="T20" fmla="*/ 75 w 123"/>
                <a:gd name="T21" fmla="*/ 85 h 137"/>
                <a:gd name="T22" fmla="*/ 96 w 123"/>
                <a:gd name="T23" fmla="*/ 82 h 137"/>
                <a:gd name="T24" fmla="*/ 78 w 123"/>
                <a:gd name="T25" fmla="*/ 111 h 137"/>
                <a:gd name="T26" fmla="*/ 64 w 123"/>
                <a:gd name="T27" fmla="*/ 101 h 137"/>
                <a:gd name="T28" fmla="*/ 65 w 123"/>
                <a:gd name="T29" fmla="*/ 124 h 137"/>
                <a:gd name="T30" fmla="*/ 54 w 123"/>
                <a:gd name="T31" fmla="*/ 111 h 137"/>
                <a:gd name="T32" fmla="*/ 57 w 123"/>
                <a:gd name="T33" fmla="*/ 128 h 137"/>
                <a:gd name="T34" fmla="*/ 26 w 123"/>
                <a:gd name="T35" fmla="*/ 129 h 137"/>
                <a:gd name="T36" fmla="*/ 0 w 123"/>
                <a:gd name="T37" fmla="*/ 127 h 137"/>
                <a:gd name="T38" fmla="*/ 5 w 123"/>
                <a:gd name="T39" fmla="*/ 135 h 137"/>
                <a:gd name="T40" fmla="*/ 69 w 123"/>
                <a:gd name="T41" fmla="*/ 135 h 137"/>
                <a:gd name="T42" fmla="*/ 79 w 123"/>
                <a:gd name="T43" fmla="*/ 125 h 137"/>
                <a:gd name="T44" fmla="*/ 110 w 123"/>
                <a:gd name="T45" fmla="*/ 81 h 137"/>
                <a:gd name="T46" fmla="*/ 121 w 123"/>
                <a:gd name="T47" fmla="*/ 52 h 137"/>
                <a:gd name="T48" fmla="*/ 102 w 123"/>
                <a:gd name="T49" fmla="*/ 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37">
                  <a:moveTo>
                    <a:pt x="102" y="2"/>
                  </a:moveTo>
                  <a:cubicBezTo>
                    <a:pt x="101" y="4"/>
                    <a:pt x="91" y="12"/>
                    <a:pt x="91" y="12"/>
                  </a:cubicBezTo>
                  <a:cubicBezTo>
                    <a:pt x="85" y="14"/>
                    <a:pt x="81" y="21"/>
                    <a:pt x="79" y="29"/>
                  </a:cubicBezTo>
                  <a:cubicBezTo>
                    <a:pt x="89" y="18"/>
                    <a:pt x="99" y="22"/>
                    <a:pt x="99" y="22"/>
                  </a:cubicBezTo>
                  <a:cubicBezTo>
                    <a:pt x="99" y="29"/>
                    <a:pt x="104" y="38"/>
                    <a:pt x="105" y="42"/>
                  </a:cubicBezTo>
                  <a:cubicBezTo>
                    <a:pt x="106" y="45"/>
                    <a:pt x="90" y="47"/>
                    <a:pt x="90" y="47"/>
                  </a:cubicBezTo>
                  <a:cubicBezTo>
                    <a:pt x="109" y="49"/>
                    <a:pt x="105" y="61"/>
                    <a:pt x="105" y="61"/>
                  </a:cubicBezTo>
                  <a:cubicBezTo>
                    <a:pt x="108" y="62"/>
                    <a:pt x="103" y="70"/>
                    <a:pt x="103" y="70"/>
                  </a:cubicBezTo>
                  <a:cubicBezTo>
                    <a:pt x="90" y="69"/>
                    <a:pt x="77" y="79"/>
                    <a:pt x="77" y="79"/>
                  </a:cubicBezTo>
                  <a:cubicBezTo>
                    <a:pt x="90" y="73"/>
                    <a:pt x="96" y="76"/>
                    <a:pt x="96" y="76"/>
                  </a:cubicBezTo>
                  <a:cubicBezTo>
                    <a:pt x="85" y="75"/>
                    <a:pt x="75" y="85"/>
                    <a:pt x="75" y="85"/>
                  </a:cubicBezTo>
                  <a:cubicBezTo>
                    <a:pt x="84" y="80"/>
                    <a:pt x="96" y="82"/>
                    <a:pt x="96" y="82"/>
                  </a:cubicBezTo>
                  <a:cubicBezTo>
                    <a:pt x="81" y="85"/>
                    <a:pt x="78" y="111"/>
                    <a:pt x="78" y="111"/>
                  </a:cubicBezTo>
                  <a:cubicBezTo>
                    <a:pt x="74" y="103"/>
                    <a:pt x="64" y="101"/>
                    <a:pt x="64" y="101"/>
                  </a:cubicBezTo>
                  <a:cubicBezTo>
                    <a:pt x="81" y="113"/>
                    <a:pt x="69" y="124"/>
                    <a:pt x="65" y="124"/>
                  </a:cubicBezTo>
                  <a:cubicBezTo>
                    <a:pt x="61" y="124"/>
                    <a:pt x="54" y="111"/>
                    <a:pt x="54" y="111"/>
                  </a:cubicBezTo>
                  <a:cubicBezTo>
                    <a:pt x="53" y="113"/>
                    <a:pt x="59" y="128"/>
                    <a:pt x="57" y="128"/>
                  </a:cubicBezTo>
                  <a:cubicBezTo>
                    <a:pt x="55" y="128"/>
                    <a:pt x="34" y="131"/>
                    <a:pt x="26" y="129"/>
                  </a:cubicBezTo>
                  <a:cubicBezTo>
                    <a:pt x="21" y="127"/>
                    <a:pt x="7" y="127"/>
                    <a:pt x="0" y="127"/>
                  </a:cubicBezTo>
                  <a:cubicBezTo>
                    <a:pt x="1" y="132"/>
                    <a:pt x="5" y="135"/>
                    <a:pt x="5" y="135"/>
                  </a:cubicBezTo>
                  <a:cubicBezTo>
                    <a:pt x="5" y="135"/>
                    <a:pt x="60" y="137"/>
                    <a:pt x="69" y="135"/>
                  </a:cubicBezTo>
                  <a:cubicBezTo>
                    <a:pt x="78" y="132"/>
                    <a:pt x="74" y="131"/>
                    <a:pt x="79" y="125"/>
                  </a:cubicBezTo>
                  <a:cubicBezTo>
                    <a:pt x="84" y="119"/>
                    <a:pt x="110" y="81"/>
                    <a:pt x="110" y="81"/>
                  </a:cubicBezTo>
                  <a:cubicBezTo>
                    <a:pt x="110" y="81"/>
                    <a:pt x="119" y="70"/>
                    <a:pt x="121" y="52"/>
                  </a:cubicBezTo>
                  <a:cubicBezTo>
                    <a:pt x="123" y="34"/>
                    <a:pt x="103" y="0"/>
                    <a:pt x="102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460981" y="964677"/>
              <a:ext cx="620713" cy="1457325"/>
            </a:xfrm>
            <a:custGeom>
              <a:avLst/>
              <a:gdLst>
                <a:gd name="T0" fmla="*/ 0 w 85"/>
                <a:gd name="T1" fmla="*/ 19 h 202"/>
                <a:gd name="T2" fmla="*/ 8 w 85"/>
                <a:gd name="T3" fmla="*/ 26 h 202"/>
                <a:gd name="T4" fmla="*/ 18 w 85"/>
                <a:gd name="T5" fmla="*/ 41 h 202"/>
                <a:gd name="T6" fmla="*/ 32 w 85"/>
                <a:gd name="T7" fmla="*/ 61 h 202"/>
                <a:gd name="T8" fmla="*/ 32 w 85"/>
                <a:gd name="T9" fmla="*/ 77 h 202"/>
                <a:gd name="T10" fmla="*/ 22 w 85"/>
                <a:gd name="T11" fmla="*/ 104 h 202"/>
                <a:gd name="T12" fmla="*/ 26 w 85"/>
                <a:gd name="T13" fmla="*/ 128 h 202"/>
                <a:gd name="T14" fmla="*/ 19 w 85"/>
                <a:gd name="T15" fmla="*/ 149 h 202"/>
                <a:gd name="T16" fmla="*/ 14 w 85"/>
                <a:gd name="T17" fmla="*/ 161 h 202"/>
                <a:gd name="T18" fmla="*/ 23 w 85"/>
                <a:gd name="T19" fmla="*/ 153 h 202"/>
                <a:gd name="T20" fmla="*/ 22 w 85"/>
                <a:gd name="T21" fmla="*/ 141 h 202"/>
                <a:gd name="T22" fmla="*/ 39 w 85"/>
                <a:gd name="T23" fmla="*/ 121 h 202"/>
                <a:gd name="T24" fmla="*/ 34 w 85"/>
                <a:gd name="T25" fmla="*/ 106 h 202"/>
                <a:gd name="T26" fmla="*/ 43 w 85"/>
                <a:gd name="T27" fmla="*/ 101 h 202"/>
                <a:gd name="T28" fmla="*/ 51 w 85"/>
                <a:gd name="T29" fmla="*/ 112 h 202"/>
                <a:gd name="T30" fmla="*/ 58 w 85"/>
                <a:gd name="T31" fmla="*/ 141 h 202"/>
                <a:gd name="T32" fmla="*/ 55 w 85"/>
                <a:gd name="T33" fmla="*/ 113 h 202"/>
                <a:gd name="T34" fmla="*/ 62 w 85"/>
                <a:gd name="T35" fmla="*/ 122 h 202"/>
                <a:gd name="T36" fmla="*/ 74 w 85"/>
                <a:gd name="T37" fmla="*/ 150 h 202"/>
                <a:gd name="T38" fmla="*/ 66 w 85"/>
                <a:gd name="T39" fmla="*/ 186 h 202"/>
                <a:gd name="T40" fmla="*/ 70 w 85"/>
                <a:gd name="T41" fmla="*/ 190 h 202"/>
                <a:gd name="T42" fmla="*/ 71 w 85"/>
                <a:gd name="T43" fmla="*/ 202 h 202"/>
                <a:gd name="T44" fmla="*/ 75 w 85"/>
                <a:gd name="T45" fmla="*/ 190 h 202"/>
                <a:gd name="T46" fmla="*/ 75 w 85"/>
                <a:gd name="T47" fmla="*/ 175 h 202"/>
                <a:gd name="T48" fmla="*/ 81 w 85"/>
                <a:gd name="T49" fmla="*/ 168 h 202"/>
                <a:gd name="T50" fmla="*/ 80 w 85"/>
                <a:gd name="T51" fmla="*/ 146 h 202"/>
                <a:gd name="T52" fmla="*/ 75 w 85"/>
                <a:gd name="T53" fmla="*/ 129 h 202"/>
                <a:gd name="T54" fmla="*/ 75 w 85"/>
                <a:gd name="T55" fmla="*/ 107 h 202"/>
                <a:gd name="T56" fmla="*/ 58 w 85"/>
                <a:gd name="T57" fmla="*/ 85 h 202"/>
                <a:gd name="T58" fmla="*/ 56 w 85"/>
                <a:gd name="T59" fmla="*/ 48 h 202"/>
                <a:gd name="T60" fmla="*/ 33 w 85"/>
                <a:gd name="T61" fmla="*/ 4 h 202"/>
                <a:gd name="T62" fmla="*/ 9 w 85"/>
                <a:gd name="T63" fmla="*/ 7 h 202"/>
                <a:gd name="T64" fmla="*/ 0 w 85"/>
                <a:gd name="T65" fmla="*/ 1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202">
                  <a:moveTo>
                    <a:pt x="0" y="19"/>
                  </a:moveTo>
                  <a:cubicBezTo>
                    <a:pt x="0" y="19"/>
                    <a:pt x="3" y="26"/>
                    <a:pt x="8" y="26"/>
                  </a:cubicBezTo>
                  <a:cubicBezTo>
                    <a:pt x="13" y="26"/>
                    <a:pt x="18" y="33"/>
                    <a:pt x="18" y="41"/>
                  </a:cubicBezTo>
                  <a:cubicBezTo>
                    <a:pt x="19" y="50"/>
                    <a:pt x="19" y="54"/>
                    <a:pt x="32" y="61"/>
                  </a:cubicBezTo>
                  <a:cubicBezTo>
                    <a:pt x="32" y="61"/>
                    <a:pt x="37" y="72"/>
                    <a:pt x="32" y="77"/>
                  </a:cubicBezTo>
                  <a:cubicBezTo>
                    <a:pt x="27" y="82"/>
                    <a:pt x="16" y="94"/>
                    <a:pt x="22" y="104"/>
                  </a:cubicBezTo>
                  <a:cubicBezTo>
                    <a:pt x="27" y="114"/>
                    <a:pt x="34" y="120"/>
                    <a:pt x="26" y="128"/>
                  </a:cubicBezTo>
                  <a:cubicBezTo>
                    <a:pt x="18" y="136"/>
                    <a:pt x="15" y="143"/>
                    <a:pt x="19" y="149"/>
                  </a:cubicBezTo>
                  <a:cubicBezTo>
                    <a:pt x="22" y="156"/>
                    <a:pt x="16" y="156"/>
                    <a:pt x="14" y="161"/>
                  </a:cubicBezTo>
                  <a:cubicBezTo>
                    <a:pt x="14" y="161"/>
                    <a:pt x="20" y="157"/>
                    <a:pt x="23" y="153"/>
                  </a:cubicBezTo>
                  <a:cubicBezTo>
                    <a:pt x="26" y="148"/>
                    <a:pt x="19" y="146"/>
                    <a:pt x="22" y="141"/>
                  </a:cubicBezTo>
                  <a:cubicBezTo>
                    <a:pt x="25" y="135"/>
                    <a:pt x="38" y="129"/>
                    <a:pt x="39" y="121"/>
                  </a:cubicBezTo>
                  <a:cubicBezTo>
                    <a:pt x="39" y="113"/>
                    <a:pt x="31" y="110"/>
                    <a:pt x="34" y="106"/>
                  </a:cubicBezTo>
                  <a:cubicBezTo>
                    <a:pt x="34" y="106"/>
                    <a:pt x="39" y="100"/>
                    <a:pt x="43" y="101"/>
                  </a:cubicBezTo>
                  <a:cubicBezTo>
                    <a:pt x="48" y="102"/>
                    <a:pt x="53" y="109"/>
                    <a:pt x="51" y="112"/>
                  </a:cubicBezTo>
                  <a:cubicBezTo>
                    <a:pt x="48" y="115"/>
                    <a:pt x="42" y="120"/>
                    <a:pt x="58" y="141"/>
                  </a:cubicBezTo>
                  <a:cubicBezTo>
                    <a:pt x="58" y="141"/>
                    <a:pt x="42" y="120"/>
                    <a:pt x="55" y="113"/>
                  </a:cubicBezTo>
                  <a:cubicBezTo>
                    <a:pt x="55" y="113"/>
                    <a:pt x="62" y="116"/>
                    <a:pt x="62" y="122"/>
                  </a:cubicBezTo>
                  <a:cubicBezTo>
                    <a:pt x="62" y="128"/>
                    <a:pt x="73" y="128"/>
                    <a:pt x="74" y="150"/>
                  </a:cubicBezTo>
                  <a:cubicBezTo>
                    <a:pt x="74" y="150"/>
                    <a:pt x="72" y="176"/>
                    <a:pt x="66" y="186"/>
                  </a:cubicBezTo>
                  <a:cubicBezTo>
                    <a:pt x="66" y="186"/>
                    <a:pt x="70" y="186"/>
                    <a:pt x="70" y="190"/>
                  </a:cubicBezTo>
                  <a:cubicBezTo>
                    <a:pt x="71" y="194"/>
                    <a:pt x="67" y="199"/>
                    <a:pt x="71" y="202"/>
                  </a:cubicBezTo>
                  <a:cubicBezTo>
                    <a:pt x="71" y="202"/>
                    <a:pt x="70" y="197"/>
                    <a:pt x="75" y="190"/>
                  </a:cubicBezTo>
                  <a:cubicBezTo>
                    <a:pt x="81" y="182"/>
                    <a:pt x="75" y="175"/>
                    <a:pt x="75" y="175"/>
                  </a:cubicBezTo>
                  <a:cubicBezTo>
                    <a:pt x="75" y="175"/>
                    <a:pt x="78" y="171"/>
                    <a:pt x="81" y="168"/>
                  </a:cubicBezTo>
                  <a:cubicBezTo>
                    <a:pt x="85" y="165"/>
                    <a:pt x="84" y="150"/>
                    <a:pt x="80" y="146"/>
                  </a:cubicBezTo>
                  <a:cubicBezTo>
                    <a:pt x="77" y="142"/>
                    <a:pt x="74" y="133"/>
                    <a:pt x="75" y="129"/>
                  </a:cubicBezTo>
                  <a:cubicBezTo>
                    <a:pt x="77" y="125"/>
                    <a:pt x="78" y="113"/>
                    <a:pt x="75" y="107"/>
                  </a:cubicBezTo>
                  <a:cubicBezTo>
                    <a:pt x="72" y="101"/>
                    <a:pt x="59" y="89"/>
                    <a:pt x="58" y="85"/>
                  </a:cubicBezTo>
                  <a:cubicBezTo>
                    <a:pt x="58" y="81"/>
                    <a:pt x="54" y="69"/>
                    <a:pt x="56" y="48"/>
                  </a:cubicBezTo>
                  <a:cubicBezTo>
                    <a:pt x="58" y="27"/>
                    <a:pt x="39" y="8"/>
                    <a:pt x="33" y="4"/>
                  </a:cubicBezTo>
                  <a:cubicBezTo>
                    <a:pt x="26" y="0"/>
                    <a:pt x="17" y="1"/>
                    <a:pt x="9" y="7"/>
                  </a:cubicBezTo>
                  <a:cubicBezTo>
                    <a:pt x="1" y="14"/>
                    <a:pt x="0" y="19"/>
                    <a:pt x="0" y="19"/>
                  </a:cubicBezTo>
                  <a:close/>
                </a:path>
              </a:pathLst>
            </a:custGeom>
            <a:solidFill>
              <a:srgbClr val="412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51444" y="1664765"/>
              <a:ext cx="160338" cy="238125"/>
            </a:xfrm>
            <a:custGeom>
              <a:avLst/>
              <a:gdLst>
                <a:gd name="T0" fmla="*/ 2 w 22"/>
                <a:gd name="T1" fmla="*/ 1 h 33"/>
                <a:gd name="T2" fmla="*/ 6 w 22"/>
                <a:gd name="T3" fmla="*/ 13 h 33"/>
                <a:gd name="T4" fmla="*/ 1 w 22"/>
                <a:gd name="T5" fmla="*/ 24 h 33"/>
                <a:gd name="T6" fmla="*/ 0 w 22"/>
                <a:gd name="T7" fmla="*/ 33 h 33"/>
                <a:gd name="T8" fmla="*/ 6 w 22"/>
                <a:gd name="T9" fmla="*/ 26 h 33"/>
                <a:gd name="T10" fmla="*/ 9 w 22"/>
                <a:gd name="T11" fmla="*/ 17 h 33"/>
                <a:gd name="T12" fmla="*/ 15 w 22"/>
                <a:gd name="T13" fmla="*/ 10 h 33"/>
                <a:gd name="T14" fmla="*/ 21 w 22"/>
                <a:gd name="T15" fmla="*/ 3 h 33"/>
                <a:gd name="T16" fmla="*/ 2 w 22"/>
                <a:gd name="T1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3">
                  <a:moveTo>
                    <a:pt x="2" y="1"/>
                  </a:moveTo>
                  <a:cubicBezTo>
                    <a:pt x="2" y="1"/>
                    <a:pt x="8" y="10"/>
                    <a:pt x="6" y="13"/>
                  </a:cubicBezTo>
                  <a:cubicBezTo>
                    <a:pt x="6" y="13"/>
                    <a:pt x="0" y="21"/>
                    <a:pt x="1" y="24"/>
                  </a:cubicBezTo>
                  <a:cubicBezTo>
                    <a:pt x="1" y="27"/>
                    <a:pt x="2" y="31"/>
                    <a:pt x="0" y="33"/>
                  </a:cubicBezTo>
                  <a:cubicBezTo>
                    <a:pt x="0" y="33"/>
                    <a:pt x="6" y="29"/>
                    <a:pt x="6" y="26"/>
                  </a:cubicBezTo>
                  <a:cubicBezTo>
                    <a:pt x="6" y="23"/>
                    <a:pt x="7" y="17"/>
                    <a:pt x="9" y="17"/>
                  </a:cubicBezTo>
                  <a:cubicBezTo>
                    <a:pt x="11" y="16"/>
                    <a:pt x="12" y="10"/>
                    <a:pt x="15" y="10"/>
                  </a:cubicBezTo>
                  <a:cubicBezTo>
                    <a:pt x="17" y="10"/>
                    <a:pt x="22" y="5"/>
                    <a:pt x="21" y="3"/>
                  </a:cubicBezTo>
                  <a:cubicBezTo>
                    <a:pt x="20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412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430819" y="1642540"/>
              <a:ext cx="95250" cy="65088"/>
            </a:xfrm>
            <a:custGeom>
              <a:avLst/>
              <a:gdLst>
                <a:gd name="T0" fmla="*/ 13 w 13"/>
                <a:gd name="T1" fmla="*/ 3 h 9"/>
                <a:gd name="T2" fmla="*/ 0 w 13"/>
                <a:gd name="T3" fmla="*/ 0 h 9"/>
                <a:gd name="T4" fmla="*/ 8 w 13"/>
                <a:gd name="T5" fmla="*/ 7 h 9"/>
                <a:gd name="T6" fmla="*/ 13 w 13"/>
                <a:gd name="T7" fmla="*/ 7 h 9"/>
                <a:gd name="T8" fmla="*/ 13 w 13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13" y="3"/>
                  </a:moveTo>
                  <a:cubicBezTo>
                    <a:pt x="13" y="3"/>
                    <a:pt x="2" y="0"/>
                    <a:pt x="0" y="0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13" y="9"/>
                    <a:pt x="13" y="7"/>
                  </a:cubicBezTo>
                  <a:lnTo>
                    <a:pt x="13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430819" y="1642540"/>
              <a:ext cx="80963" cy="109538"/>
            </a:xfrm>
            <a:custGeom>
              <a:avLst/>
              <a:gdLst>
                <a:gd name="T0" fmla="*/ 2 w 11"/>
                <a:gd name="T1" fmla="*/ 14 h 15"/>
                <a:gd name="T2" fmla="*/ 2 w 11"/>
                <a:gd name="T3" fmla="*/ 15 h 15"/>
                <a:gd name="T4" fmla="*/ 10 w 11"/>
                <a:gd name="T5" fmla="*/ 6 h 15"/>
                <a:gd name="T6" fmla="*/ 0 w 11"/>
                <a:gd name="T7" fmla="*/ 0 h 15"/>
                <a:gd name="T8" fmla="*/ 3 w 11"/>
                <a:gd name="T9" fmla="*/ 11 h 15"/>
                <a:gd name="T10" fmla="*/ 2 w 11"/>
                <a:gd name="T1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5">
                  <a:moveTo>
                    <a:pt x="2" y="14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1" y="12"/>
                    <a:pt x="10" y="6"/>
                  </a:cubicBezTo>
                  <a:cubicBezTo>
                    <a:pt x="10" y="0"/>
                    <a:pt x="0" y="0"/>
                    <a:pt x="0" y="0"/>
                  </a:cubicBezTo>
                  <a:cubicBezTo>
                    <a:pt x="0" y="0"/>
                    <a:pt x="4" y="8"/>
                    <a:pt x="3" y="11"/>
                  </a:cubicBezTo>
                  <a:cubicBezTo>
                    <a:pt x="1" y="13"/>
                    <a:pt x="2" y="14"/>
                    <a:pt x="2" y="14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41906" y="5554140"/>
              <a:ext cx="620713" cy="519113"/>
            </a:xfrm>
            <a:custGeom>
              <a:avLst/>
              <a:gdLst>
                <a:gd name="T0" fmla="*/ 0 w 85"/>
                <a:gd name="T1" fmla="*/ 60 h 72"/>
                <a:gd name="T2" fmla="*/ 9 w 85"/>
                <a:gd name="T3" fmla="*/ 52 h 72"/>
                <a:gd name="T4" fmla="*/ 28 w 85"/>
                <a:gd name="T5" fmla="*/ 30 h 72"/>
                <a:gd name="T6" fmla="*/ 48 w 85"/>
                <a:gd name="T7" fmla="*/ 35 h 72"/>
                <a:gd name="T8" fmla="*/ 73 w 85"/>
                <a:gd name="T9" fmla="*/ 0 h 72"/>
                <a:gd name="T10" fmla="*/ 85 w 85"/>
                <a:gd name="T11" fmla="*/ 18 h 72"/>
                <a:gd name="T12" fmla="*/ 78 w 85"/>
                <a:gd name="T13" fmla="*/ 60 h 72"/>
                <a:gd name="T14" fmla="*/ 75 w 85"/>
                <a:gd name="T15" fmla="*/ 61 h 72"/>
                <a:gd name="T16" fmla="*/ 75 w 85"/>
                <a:gd name="T17" fmla="*/ 31 h 72"/>
                <a:gd name="T18" fmla="*/ 57 w 85"/>
                <a:gd name="T19" fmla="*/ 47 h 72"/>
                <a:gd name="T20" fmla="*/ 44 w 85"/>
                <a:gd name="T21" fmla="*/ 66 h 72"/>
                <a:gd name="T22" fmla="*/ 0 w 85"/>
                <a:gd name="T23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72">
                  <a:moveTo>
                    <a:pt x="0" y="60"/>
                  </a:moveTo>
                  <a:cubicBezTo>
                    <a:pt x="0" y="60"/>
                    <a:pt x="0" y="57"/>
                    <a:pt x="9" y="52"/>
                  </a:cubicBezTo>
                  <a:cubicBezTo>
                    <a:pt x="19" y="47"/>
                    <a:pt x="27" y="34"/>
                    <a:pt x="28" y="30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51" y="35"/>
                    <a:pt x="69" y="11"/>
                    <a:pt x="73" y="0"/>
                  </a:cubicBezTo>
                  <a:cubicBezTo>
                    <a:pt x="73" y="0"/>
                    <a:pt x="84" y="7"/>
                    <a:pt x="85" y="18"/>
                  </a:cubicBezTo>
                  <a:cubicBezTo>
                    <a:pt x="85" y="25"/>
                    <a:pt x="79" y="41"/>
                    <a:pt x="78" y="60"/>
                  </a:cubicBezTo>
                  <a:cubicBezTo>
                    <a:pt x="77" y="62"/>
                    <a:pt x="75" y="59"/>
                    <a:pt x="75" y="6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60" y="40"/>
                    <a:pt x="57" y="47"/>
                  </a:cubicBezTo>
                  <a:cubicBezTo>
                    <a:pt x="54" y="54"/>
                    <a:pt x="53" y="62"/>
                    <a:pt x="44" y="66"/>
                  </a:cubicBezTo>
                  <a:cubicBezTo>
                    <a:pt x="38" y="69"/>
                    <a:pt x="7" y="72"/>
                    <a:pt x="0" y="6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3323798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8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18" dur="5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0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5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2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2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0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500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33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500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38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0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4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4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4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500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4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/>
          <p:bldP spid="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8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/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18" dur="5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0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0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500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33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500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38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2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45" presetID="1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500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up)">
                                          <p:cBhvr>
                                            <p:cTn id="4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/>
          <p:bldP spid="9" grpId="0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939509" y="2115574"/>
            <a:ext cx="323667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次。一不小心，就学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Group 7出自【趣你的PPT】(微信:qunideppt)：最优质的PPT资源库"/>
          <p:cNvGrpSpPr/>
          <p:nvPr/>
        </p:nvGrpSpPr>
        <p:grpSpPr>
          <a:xfrm>
            <a:off x="1016629" y="1258751"/>
            <a:ext cx="3236673" cy="689487"/>
            <a:chOff x="1029508" y="1575173"/>
            <a:chExt cx="3236673" cy="689487"/>
          </a:xfrm>
          <a:solidFill>
            <a:srgbClr val="C00000"/>
          </a:solidFill>
        </p:grpSpPr>
        <p:sp>
          <p:nvSpPr>
            <p:cNvPr id="9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1029508" y="1575173"/>
              <a:ext cx="3236673" cy="6894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" name="出自【趣你的PPT】(微信:qunideppt)：最优质的PPT资源库"/>
            <p:cNvSpPr txBox="1"/>
            <p:nvPr/>
          </p:nvSpPr>
          <p:spPr>
            <a:xfrm>
              <a:off x="2614475" y="1727882"/>
              <a:ext cx="1646606" cy="40010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en-US" sz="1400" dirty="0">
                  <a:solidFill>
                    <a:prstClr val="white"/>
                  </a:solidFill>
                </a:rPr>
                <a:t>输入您的</a:t>
              </a:r>
              <a:r>
                <a:rPr lang="zh-CN" altLang="en-US" sz="2000" b="1" dirty="0">
                  <a:solidFill>
                    <a:prstClr val="white"/>
                  </a:solidFill>
                </a:rPr>
                <a:t>标题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  <p:pic>
          <p:nvPicPr>
            <p:cNvPr id="11" name="出自【趣你的PPT】(微信:qunideppt)：最优质的PPT资源库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99456" y="1661934"/>
              <a:ext cx="515964" cy="515964"/>
            </a:xfrm>
            <a:prstGeom prst="rect">
              <a:avLst/>
            </a:prstGeom>
            <a:grpFill/>
          </p:spPr>
        </p:pic>
      </p:grpSp>
      <p:grpSp>
        <p:nvGrpSpPr>
          <p:cNvPr id="12" name="Group 11出自【趣你的PPT】(微信:qunideppt)：最优质的PPT资源库"/>
          <p:cNvGrpSpPr/>
          <p:nvPr/>
        </p:nvGrpSpPr>
        <p:grpSpPr>
          <a:xfrm>
            <a:off x="4504278" y="1258751"/>
            <a:ext cx="3236673" cy="689487"/>
            <a:chOff x="4517157" y="1575173"/>
            <a:chExt cx="3236673" cy="689487"/>
          </a:xfrm>
          <a:solidFill>
            <a:srgbClr val="C00000"/>
          </a:solidFill>
        </p:grpSpPr>
        <p:sp>
          <p:nvSpPr>
            <p:cNvPr id="13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4517157" y="1575173"/>
              <a:ext cx="3236673" cy="6894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出自【趣你的PPT】(微信:qunideppt)：最优质的PPT资源库"/>
            <p:cNvSpPr txBox="1"/>
            <p:nvPr/>
          </p:nvSpPr>
          <p:spPr>
            <a:xfrm>
              <a:off x="6048017" y="1708941"/>
              <a:ext cx="1646606" cy="40010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en-US" sz="1400" dirty="0">
                  <a:solidFill>
                    <a:prstClr val="white"/>
                  </a:solidFill>
                </a:rPr>
                <a:t>输入您的</a:t>
              </a:r>
              <a:r>
                <a:rPr lang="zh-CN" altLang="en-US" sz="2000" b="1" dirty="0">
                  <a:solidFill>
                    <a:prstClr val="white"/>
                  </a:solidFill>
                </a:rPr>
                <a:t>标题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  <p:pic>
          <p:nvPicPr>
            <p:cNvPr id="16" name="出自【趣你的PPT】(微信:qunideppt)：最优质的PPT资源库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3063" y="1623174"/>
              <a:ext cx="609524" cy="609524"/>
            </a:xfrm>
            <a:prstGeom prst="rect">
              <a:avLst/>
            </a:prstGeom>
            <a:grpFill/>
          </p:spPr>
        </p:pic>
      </p:grp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8020622" y="1258751"/>
            <a:ext cx="3236673" cy="689487"/>
            <a:chOff x="8033501" y="1575173"/>
            <a:chExt cx="3236673" cy="689487"/>
          </a:xfrm>
          <a:solidFill>
            <a:srgbClr val="C00000"/>
          </a:solidFill>
        </p:grpSpPr>
        <p:sp>
          <p:nvSpPr>
            <p:cNvPr id="18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8033501" y="1575173"/>
              <a:ext cx="3236673" cy="6894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 txBox="1"/>
            <p:nvPr/>
          </p:nvSpPr>
          <p:spPr>
            <a:xfrm>
              <a:off x="9623568" y="1724313"/>
              <a:ext cx="1646606" cy="40010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en-US" sz="1400" dirty="0">
                  <a:solidFill>
                    <a:prstClr val="white"/>
                  </a:solidFill>
                </a:rPr>
                <a:t>输入您的</a:t>
              </a:r>
              <a:r>
                <a:rPr lang="zh-CN" altLang="en-US" sz="2000" b="1" dirty="0">
                  <a:solidFill>
                    <a:prstClr val="white"/>
                  </a:solidFill>
                </a:rPr>
                <a:t>标题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  <p:sp>
          <p:nvSpPr>
            <p:cNvPr id="2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232246" y="1713118"/>
              <a:ext cx="455613" cy="412750"/>
            </a:xfrm>
            <a:custGeom>
              <a:avLst/>
              <a:gdLst>
                <a:gd name="T0" fmla="*/ 21610 w 54"/>
                <a:gd name="T1" fmla="*/ 8670 h 49"/>
                <a:gd name="T2" fmla="*/ 11103 w 54"/>
                <a:gd name="T3" fmla="*/ 759 h 49"/>
                <a:gd name="T4" fmla="*/ 765 w 54"/>
                <a:gd name="T5" fmla="*/ 13456 h 49"/>
                <a:gd name="T6" fmla="*/ 21610 w 54"/>
                <a:gd name="T7" fmla="*/ 38851 h 49"/>
                <a:gd name="T8" fmla="*/ 42343 w 54"/>
                <a:gd name="T9" fmla="*/ 13456 h 49"/>
                <a:gd name="T10" fmla="*/ 32739 w 54"/>
                <a:gd name="T11" fmla="*/ 759 h 49"/>
                <a:gd name="T12" fmla="*/ 21610 w 54"/>
                <a:gd name="T13" fmla="*/ 8670 h 49"/>
                <a:gd name="T14" fmla="*/ 21610 w 54"/>
                <a:gd name="T15" fmla="*/ 8670 h 4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4" h="49">
                  <a:moveTo>
                    <a:pt x="27" y="11"/>
                  </a:moveTo>
                  <a:cubicBezTo>
                    <a:pt x="25" y="4"/>
                    <a:pt x="20" y="0"/>
                    <a:pt x="14" y="1"/>
                  </a:cubicBezTo>
                  <a:cubicBezTo>
                    <a:pt x="4" y="1"/>
                    <a:pt x="0" y="8"/>
                    <a:pt x="1" y="17"/>
                  </a:cubicBezTo>
                  <a:cubicBezTo>
                    <a:pt x="2" y="28"/>
                    <a:pt x="17" y="35"/>
                    <a:pt x="27" y="49"/>
                  </a:cubicBezTo>
                  <a:cubicBezTo>
                    <a:pt x="37" y="35"/>
                    <a:pt x="52" y="29"/>
                    <a:pt x="53" y="17"/>
                  </a:cubicBezTo>
                  <a:cubicBezTo>
                    <a:pt x="54" y="9"/>
                    <a:pt x="51" y="2"/>
                    <a:pt x="41" y="1"/>
                  </a:cubicBezTo>
                  <a:cubicBezTo>
                    <a:pt x="34" y="0"/>
                    <a:pt x="30" y="4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1" name="Group 20出自【趣你的PPT】(微信:qunideppt)：最优质的PPT资源库"/>
          <p:cNvGrpSpPr/>
          <p:nvPr/>
        </p:nvGrpSpPr>
        <p:grpSpPr>
          <a:xfrm>
            <a:off x="1016629" y="3520445"/>
            <a:ext cx="3236673" cy="691684"/>
            <a:chOff x="1029508" y="3836867"/>
            <a:chExt cx="3236673" cy="691684"/>
          </a:xfrm>
        </p:grpSpPr>
        <p:sp>
          <p:nvSpPr>
            <p:cNvPr id="22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1029508" y="3836867"/>
              <a:ext cx="3236673" cy="69168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3" name="出自【趣你的PPT】(微信:qunideppt)：最优质的PPT资源库"/>
            <p:cNvSpPr txBox="1"/>
            <p:nvPr/>
          </p:nvSpPr>
          <p:spPr>
            <a:xfrm>
              <a:off x="2587254" y="3980768"/>
              <a:ext cx="1646606" cy="40010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en-US" sz="1400" dirty="0">
                  <a:solidFill>
                    <a:prstClr val="white"/>
                  </a:solidFill>
                </a:rPr>
                <a:t>输入您的</a:t>
              </a:r>
              <a:r>
                <a:rPr lang="zh-CN" altLang="en-US" sz="2000" b="1" dirty="0">
                  <a:solidFill>
                    <a:prstClr val="white"/>
                  </a:solidFill>
                </a:rPr>
                <a:t>标题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  <p:sp>
          <p:nvSpPr>
            <p:cNvPr id="2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303386" y="4004204"/>
              <a:ext cx="336550" cy="361950"/>
            </a:xfrm>
            <a:custGeom>
              <a:avLst/>
              <a:gdLst>
                <a:gd name="T0" fmla="*/ 20532 w 40"/>
                <a:gd name="T1" fmla="*/ 14168 h 43"/>
                <a:gd name="T2" fmla="*/ 23680 w 40"/>
                <a:gd name="T3" fmla="*/ 7900 h 43"/>
                <a:gd name="T4" fmla="*/ 15789 w 40"/>
                <a:gd name="T5" fmla="*/ 0 h 43"/>
                <a:gd name="T6" fmla="*/ 7892 w 40"/>
                <a:gd name="T7" fmla="*/ 7900 h 43"/>
                <a:gd name="T8" fmla="*/ 11013 w 40"/>
                <a:gd name="T9" fmla="*/ 14168 h 43"/>
                <a:gd name="T10" fmla="*/ 0 w 40"/>
                <a:gd name="T11" fmla="*/ 33993 h 43"/>
                <a:gd name="T12" fmla="*/ 31572 w 40"/>
                <a:gd name="T13" fmla="*/ 33993 h 43"/>
                <a:gd name="T14" fmla="*/ 20532 w 40"/>
                <a:gd name="T15" fmla="*/ 14168 h 4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0" h="43">
                  <a:moveTo>
                    <a:pt x="26" y="18"/>
                  </a:moveTo>
                  <a:cubicBezTo>
                    <a:pt x="28" y="16"/>
                    <a:pt x="30" y="13"/>
                    <a:pt x="30" y="10"/>
                  </a:cubicBezTo>
                  <a:cubicBezTo>
                    <a:pt x="30" y="4"/>
                    <a:pt x="26" y="0"/>
                    <a:pt x="20" y="0"/>
                  </a:cubicBezTo>
                  <a:cubicBezTo>
                    <a:pt x="14" y="0"/>
                    <a:pt x="10" y="4"/>
                    <a:pt x="10" y="10"/>
                  </a:cubicBezTo>
                  <a:cubicBezTo>
                    <a:pt x="10" y="13"/>
                    <a:pt x="11" y="16"/>
                    <a:pt x="14" y="18"/>
                  </a:cubicBezTo>
                  <a:cubicBezTo>
                    <a:pt x="7" y="22"/>
                    <a:pt x="1" y="31"/>
                    <a:pt x="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39" y="31"/>
                    <a:pt x="33" y="22"/>
                    <a:pt x="26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5" name="Group 24出自【趣你的PPT】(微信:qunideppt)：最优质的PPT资源库"/>
          <p:cNvGrpSpPr/>
          <p:nvPr/>
        </p:nvGrpSpPr>
        <p:grpSpPr>
          <a:xfrm>
            <a:off x="4504278" y="3520445"/>
            <a:ext cx="3236673" cy="691684"/>
            <a:chOff x="4517157" y="3836867"/>
            <a:chExt cx="3236673" cy="691684"/>
          </a:xfrm>
        </p:grpSpPr>
        <p:sp>
          <p:nvSpPr>
            <p:cNvPr id="26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4517157" y="3836867"/>
              <a:ext cx="3236673" cy="69168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7" name="出自【趣你的PPT】(微信:qunideppt)：最优质的PPT资源库"/>
            <p:cNvSpPr txBox="1"/>
            <p:nvPr/>
          </p:nvSpPr>
          <p:spPr>
            <a:xfrm>
              <a:off x="6038141" y="3985610"/>
              <a:ext cx="1646606" cy="40010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en-US" sz="1400" dirty="0">
                  <a:solidFill>
                    <a:prstClr val="white"/>
                  </a:solidFill>
                </a:rPr>
                <a:t>输入您的</a:t>
              </a:r>
              <a:r>
                <a:rPr lang="zh-CN" altLang="en-US" sz="2000" b="1" dirty="0">
                  <a:solidFill>
                    <a:prstClr val="white"/>
                  </a:solidFill>
                </a:rPr>
                <a:t>标题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  <p:sp>
          <p:nvSpPr>
            <p:cNvPr id="2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732784" y="4002980"/>
              <a:ext cx="506413" cy="379413"/>
            </a:xfrm>
            <a:custGeom>
              <a:avLst/>
              <a:gdLst>
                <a:gd name="T0" fmla="*/ 24053 w 60"/>
                <a:gd name="T1" fmla="*/ 0 h 45"/>
                <a:gd name="T2" fmla="*/ 0 w 60"/>
                <a:gd name="T3" fmla="*/ 15880 h 45"/>
                <a:gd name="T4" fmla="*/ 12016 w 60"/>
                <a:gd name="T5" fmla="*/ 30268 h 45"/>
                <a:gd name="T6" fmla="*/ 7209 w 60"/>
                <a:gd name="T7" fmla="*/ 35797 h 45"/>
                <a:gd name="T8" fmla="*/ 15945 w 60"/>
                <a:gd name="T9" fmla="*/ 31001 h 45"/>
                <a:gd name="T10" fmla="*/ 24053 w 60"/>
                <a:gd name="T11" fmla="*/ 32663 h 45"/>
                <a:gd name="T12" fmla="*/ 47940 w 60"/>
                <a:gd name="T13" fmla="*/ 15880 h 45"/>
                <a:gd name="T14" fmla="*/ 24053 w 60"/>
                <a:gd name="T15" fmla="*/ 0 h 4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0" h="45">
                  <a:moveTo>
                    <a:pt x="30" y="0"/>
                  </a:moveTo>
                  <a:cubicBezTo>
                    <a:pt x="14" y="0"/>
                    <a:pt x="0" y="9"/>
                    <a:pt x="0" y="20"/>
                  </a:cubicBezTo>
                  <a:cubicBezTo>
                    <a:pt x="0" y="28"/>
                    <a:pt x="6" y="34"/>
                    <a:pt x="15" y="3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3" y="40"/>
                    <a:pt x="27" y="41"/>
                    <a:pt x="30" y="41"/>
                  </a:cubicBezTo>
                  <a:cubicBezTo>
                    <a:pt x="47" y="41"/>
                    <a:pt x="60" y="32"/>
                    <a:pt x="60" y="20"/>
                  </a:cubicBezTo>
                  <a:cubicBezTo>
                    <a:pt x="60" y="9"/>
                    <a:pt x="47" y="0"/>
                    <a:pt x="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29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939510" y="4384744"/>
            <a:ext cx="323667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次。一不小心，就学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4416801" y="2080402"/>
            <a:ext cx="323667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次。一不小心，就学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4406925" y="4348677"/>
            <a:ext cx="323667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次。一不小心，就学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7916853" y="4348677"/>
            <a:ext cx="323667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次。一不小心，就学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7916852" y="2087140"/>
            <a:ext cx="323667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次。一不小心，就学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" name="Group 33出自【趣你的PPT】(微信:qunideppt)：最优质的PPT资源库"/>
          <p:cNvGrpSpPr/>
          <p:nvPr/>
        </p:nvGrpSpPr>
        <p:grpSpPr>
          <a:xfrm>
            <a:off x="8020622" y="3520445"/>
            <a:ext cx="3265073" cy="691684"/>
            <a:chOff x="8033501" y="3836867"/>
            <a:chExt cx="3265073" cy="691684"/>
          </a:xfrm>
          <a:solidFill>
            <a:srgbClr val="C00000"/>
          </a:solidFill>
        </p:grpSpPr>
        <p:sp>
          <p:nvSpPr>
            <p:cNvPr id="35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8033501" y="3836867"/>
              <a:ext cx="3236673" cy="6916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出自【趣你的PPT】(微信:qunideppt)：最优质的PPT资源库"/>
            <p:cNvSpPr txBox="1"/>
            <p:nvPr/>
          </p:nvSpPr>
          <p:spPr>
            <a:xfrm>
              <a:off x="9651968" y="4002980"/>
              <a:ext cx="1646606" cy="40010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700" spc="3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en-US" sz="1400" dirty="0">
                  <a:solidFill>
                    <a:prstClr val="white"/>
                  </a:solidFill>
                </a:rPr>
                <a:t>输入您的</a:t>
              </a:r>
              <a:r>
                <a:rPr lang="zh-CN" altLang="en-US" sz="2000" b="1" dirty="0">
                  <a:solidFill>
                    <a:prstClr val="white"/>
                  </a:solidFill>
                </a:rPr>
                <a:t>标题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  <p:pic>
          <p:nvPicPr>
            <p:cNvPr id="37" name="出自【趣你的PPT】(微信:qunideppt)：最优质的PPT资源库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176563" y="3894285"/>
              <a:ext cx="566977" cy="573074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2026186301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2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9" grpId="0"/>
      <p:bldP spid="30" grpId="0"/>
      <p:bldP spid="31" grpId="0"/>
      <p:bldP spid="32" grpId="0"/>
      <p:bldP spid="3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/>
          <p:nvPr/>
        </p:nvSpPr>
        <p:spPr bwMode="auto">
          <a:xfrm>
            <a:off x="1200364" y="1583312"/>
            <a:ext cx="3073400" cy="1601788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出自【趣你的PPT】(微信:qunideppt)：最优质的PPT资源库"/>
          <p:cNvSpPr/>
          <p:nvPr/>
        </p:nvSpPr>
        <p:spPr bwMode="auto">
          <a:xfrm>
            <a:off x="1200364" y="3383537"/>
            <a:ext cx="3073400" cy="1601788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出自【趣你的PPT】(微信:qunideppt)：最优质的PPT资源库"/>
          <p:cNvSpPr/>
          <p:nvPr/>
        </p:nvSpPr>
        <p:spPr bwMode="auto">
          <a:xfrm>
            <a:off x="4480139" y="1583312"/>
            <a:ext cx="3074987" cy="1601788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出自【趣你的PPT】(微信:qunideppt)：最优质的PPT资源库"/>
          <p:cNvSpPr/>
          <p:nvPr/>
        </p:nvSpPr>
        <p:spPr bwMode="auto">
          <a:xfrm>
            <a:off x="4480139" y="3383537"/>
            <a:ext cx="3074987" cy="1601788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76200" dir="18900000" sy="23000" kx="-1200000" algn="bl" rotWithShape="0">
              <a:sysClr val="window" lastClr="FFFFFF">
                <a:lumMod val="50000"/>
                <a:alpha val="20000"/>
              </a:sysClr>
            </a:outerShdw>
          </a:effectLst>
        </p:spPr>
        <p:txBody>
          <a:bodyPr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出自【趣你的PPT】(微信:qunideppt)：最优质的PPT资源库"/>
          <p:cNvSpPr/>
          <p:nvPr/>
        </p:nvSpPr>
        <p:spPr bwMode="auto">
          <a:xfrm>
            <a:off x="3500533" y="2030972"/>
            <a:ext cx="830184" cy="13783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8000" kern="0" dirty="0">
                <a:ln w="17780" cmpd="sng">
                  <a:solidFill>
                    <a:sysClr val="window" lastClr="FFFFFF"/>
                  </a:solidFill>
                  <a:prstDash val="solid"/>
                  <a:miter lim="800000"/>
                </a:ln>
                <a:solidFill>
                  <a:sysClr val="window" lastClr="FFFFFF"/>
                </a:solidFill>
                <a:latin typeface="Broadway" pitchFamily="82" charset="0"/>
              </a:rPr>
              <a:t>S</a:t>
            </a:r>
            <a:endParaRPr lang="zh-CN" altLang="en-US" sz="8000" kern="0" dirty="0">
              <a:ln w="17780" cmpd="sng">
                <a:solidFill>
                  <a:sysClr val="window" lastClr="FFFFFF"/>
                </a:solidFill>
                <a:prstDash val="solid"/>
                <a:miter lim="800000"/>
              </a:ln>
              <a:solidFill>
                <a:sysClr val="window" lastClr="FFFFFF"/>
              </a:solidFill>
              <a:latin typeface="Broadway" pitchFamily="82" charset="0"/>
            </a:endParaRPr>
          </a:p>
        </p:txBody>
      </p:sp>
      <p:sp>
        <p:nvSpPr>
          <p:cNvPr id="12" name="出自【趣你的PPT】(微信:qunideppt)：最优质的PPT资源库"/>
          <p:cNvSpPr/>
          <p:nvPr/>
        </p:nvSpPr>
        <p:spPr bwMode="auto">
          <a:xfrm>
            <a:off x="4496183" y="2030973"/>
            <a:ext cx="776220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8000" kern="0" dirty="0">
                <a:ln w="17780" cmpd="sng">
                  <a:solidFill>
                    <a:sysClr val="window" lastClr="FFFFFF"/>
                  </a:solidFill>
                  <a:prstDash val="solid"/>
                  <a:miter lim="800000"/>
                </a:ln>
                <a:solidFill>
                  <a:sysClr val="window" lastClr="FFFFFF"/>
                </a:solidFill>
                <a:latin typeface="Broadway" pitchFamily="82" charset="0"/>
              </a:rPr>
              <a:t>W</a:t>
            </a:r>
            <a:endParaRPr lang="zh-CN" altLang="en-US" sz="8000" kern="0" dirty="0">
              <a:ln w="17780" cmpd="sng">
                <a:solidFill>
                  <a:sysClr val="window" lastClr="FFFFFF"/>
                </a:solidFill>
                <a:prstDash val="solid"/>
                <a:miter lim="800000"/>
              </a:ln>
              <a:solidFill>
                <a:sysClr val="window" lastClr="FFFFFF"/>
              </a:solidFill>
              <a:latin typeface="Broadway" pitchFamily="82" charset="0"/>
            </a:endParaRPr>
          </a:p>
        </p:txBody>
      </p:sp>
      <p:sp>
        <p:nvSpPr>
          <p:cNvPr id="13" name="出自【趣你的PPT】(微信:qunideppt)：最优质的PPT资源库"/>
          <p:cNvSpPr/>
          <p:nvPr/>
        </p:nvSpPr>
        <p:spPr bwMode="auto">
          <a:xfrm>
            <a:off x="3335768" y="3106894"/>
            <a:ext cx="1002165" cy="13783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8000" kern="0" dirty="0">
                <a:ln w="17780" cmpd="sng">
                  <a:solidFill>
                    <a:sysClr val="window" lastClr="FFFFFF"/>
                  </a:solidFill>
                  <a:prstDash val="solid"/>
                  <a:miter lim="800000"/>
                </a:ln>
                <a:solidFill>
                  <a:sysClr val="window" lastClr="FFFFFF"/>
                </a:solidFill>
                <a:latin typeface="Broadway" pitchFamily="82" charset="0"/>
              </a:rPr>
              <a:t>O</a:t>
            </a:r>
            <a:endParaRPr lang="zh-CN" altLang="en-US" sz="8000" kern="0" dirty="0">
              <a:ln w="17780" cmpd="sng">
                <a:solidFill>
                  <a:sysClr val="window" lastClr="FFFFFF"/>
                </a:solidFill>
                <a:prstDash val="solid"/>
                <a:miter lim="800000"/>
              </a:ln>
              <a:solidFill>
                <a:sysClr val="window" lastClr="FFFFFF"/>
              </a:solidFill>
              <a:latin typeface="Broadway" pitchFamily="82" charset="0"/>
            </a:endParaRPr>
          </a:p>
        </p:txBody>
      </p:sp>
      <p:sp>
        <p:nvSpPr>
          <p:cNvPr id="14" name="出自【趣你的PPT】(微信:qunideppt)：最优质的PPT资源库"/>
          <p:cNvSpPr/>
          <p:nvPr/>
        </p:nvSpPr>
        <p:spPr bwMode="auto">
          <a:xfrm>
            <a:off x="4398431" y="3069033"/>
            <a:ext cx="963761" cy="13783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8000" kern="0" dirty="0">
                <a:ln w="17780" cmpd="sng">
                  <a:solidFill>
                    <a:sysClr val="window" lastClr="FFFFFF"/>
                  </a:solidFill>
                  <a:prstDash val="solid"/>
                  <a:miter lim="800000"/>
                </a:ln>
                <a:solidFill>
                  <a:sysClr val="window" lastClr="FFFFFF"/>
                </a:solidFill>
                <a:latin typeface="Broadway" pitchFamily="82" charset="0"/>
              </a:rPr>
              <a:t>T</a:t>
            </a:r>
            <a:endParaRPr lang="zh-CN" altLang="en-US" sz="8000" kern="0" dirty="0">
              <a:ln w="17780" cmpd="sng">
                <a:solidFill>
                  <a:sysClr val="window" lastClr="FFFFFF"/>
                </a:solidFill>
                <a:prstDash val="solid"/>
                <a:miter lim="800000"/>
              </a:ln>
              <a:solidFill>
                <a:sysClr val="window" lastClr="FFFFFF"/>
              </a:solidFill>
              <a:latin typeface="Broadway" pitchFamily="82" charset="0"/>
            </a:endParaRPr>
          </a:p>
        </p:txBody>
      </p:sp>
      <p:cxnSp>
        <p:nvCxnSpPr>
          <p:cNvPr id="16" name="出自【趣你的PPT】(微信:qunideppt)：最优质的PPT资源库"/>
          <p:cNvCxnSpPr/>
          <p:nvPr/>
        </p:nvCxnSpPr>
        <p:spPr bwMode="auto">
          <a:xfrm flipV="1">
            <a:off x="795192" y="1529484"/>
            <a:ext cx="0" cy="3824287"/>
          </a:xfrm>
          <a:prstGeom prst="straightConnector1">
            <a:avLst/>
          </a:prstGeom>
          <a:noFill/>
          <a:ln w="31750" cap="flat" cmpd="sng" algn="ctr">
            <a:solidFill>
              <a:schemeClr val="bg1">
                <a:lumMod val="50000"/>
              </a:schemeClr>
            </a:solidFill>
            <a:prstDash val="solid"/>
            <a:tailEnd type="triangle" w="med" len="lg"/>
          </a:ln>
          <a:effectLst/>
        </p:spPr>
      </p:cxnSp>
      <p:cxnSp>
        <p:nvCxnSpPr>
          <p:cNvPr id="17" name="出自【趣你的PPT】(微信:qunideppt)：最优质的PPT资源库"/>
          <p:cNvCxnSpPr/>
          <p:nvPr/>
        </p:nvCxnSpPr>
        <p:spPr bwMode="auto">
          <a:xfrm>
            <a:off x="795192" y="5353771"/>
            <a:ext cx="6675438" cy="0"/>
          </a:xfrm>
          <a:prstGeom prst="straightConnector1">
            <a:avLst/>
          </a:prstGeom>
          <a:noFill/>
          <a:ln w="31750" cap="flat" cmpd="sng" algn="ctr">
            <a:solidFill>
              <a:schemeClr val="bg1">
                <a:lumMod val="50000"/>
              </a:schemeClr>
            </a:solidFill>
            <a:prstDash val="solid"/>
            <a:tailEnd type="triangle" w="med" len="lg"/>
          </a:ln>
          <a:effectLst/>
        </p:spPr>
      </p:cxnSp>
      <p:sp>
        <p:nvSpPr>
          <p:cNvPr id="18" name="出自【趣你的PPT】(微信:qunideppt)：最优质的PPT资源库"/>
          <p:cNvSpPr txBox="1"/>
          <p:nvPr/>
        </p:nvSpPr>
        <p:spPr>
          <a:xfrm>
            <a:off x="1497226" y="2402462"/>
            <a:ext cx="21717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该原创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模板来自公众号：趣你的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。一不小心，就学会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，快来加入我们。</a:t>
            </a:r>
            <a:endParaRPr lang="zh-CN" altLang="en-US" sz="1200" kern="0" spc="-150" dirty="0">
              <a:solidFill>
                <a:sysClr val="window" lastClr="FFFFFF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19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1352764" y="1938912"/>
            <a:ext cx="233997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Clr>
                <a:srgbClr val="1F3F5F"/>
              </a:buClr>
              <a:defRPr/>
            </a:pPr>
            <a:r>
              <a:rPr lang="zh-CN" altLang="en-US" sz="16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在这里添加标题文字</a:t>
            </a:r>
            <a:endParaRPr lang="en-US" altLang="zh-CN" sz="16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0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4942101" y="1884937"/>
            <a:ext cx="2339975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Clr>
                <a:srgbClr val="1F3F5F"/>
              </a:buClr>
              <a:defRPr/>
            </a:pPr>
            <a:r>
              <a:rPr lang="zh-CN" altLang="en-US" sz="16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在这里添加标题文字</a:t>
            </a:r>
            <a:endParaRPr lang="en-US" altLang="zh-CN" sz="16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1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1328951" y="3674050"/>
            <a:ext cx="2339975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Clr>
                <a:srgbClr val="1F3F5F"/>
              </a:buClr>
              <a:defRPr/>
            </a:pPr>
            <a:r>
              <a:rPr lang="zh-CN" altLang="en-US" sz="16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在这里添加标题文字</a:t>
            </a:r>
            <a:endParaRPr lang="en-US" altLang="zh-CN" sz="16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2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4951626" y="3659762"/>
            <a:ext cx="2339975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Clr>
                <a:srgbClr val="1F3F5F"/>
              </a:buClr>
              <a:defRPr/>
            </a:pPr>
            <a:r>
              <a:rPr lang="zh-CN" altLang="en-US" sz="16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在这里添加标题文字</a:t>
            </a:r>
            <a:endParaRPr lang="en-US" altLang="zh-CN" sz="16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3" name="出自【趣你的PPT】(微信:qunideppt)：最优质的PPT资源库"/>
          <p:cNvSpPr txBox="1"/>
          <p:nvPr/>
        </p:nvSpPr>
        <p:spPr>
          <a:xfrm>
            <a:off x="5384264" y="2350075"/>
            <a:ext cx="2208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该原创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模板来自公众号：趣你的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。一不小心，就学会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，快来加入我们。</a:t>
            </a:r>
            <a:endParaRPr lang="zh-CN" altLang="en-US" sz="1200" kern="0" spc="-150" dirty="0">
              <a:solidFill>
                <a:sysClr val="window" lastClr="FFFFFF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" name="出自【趣你的PPT】(微信:qunideppt)：最优质的PPT资源库"/>
          <p:cNvSpPr txBox="1"/>
          <p:nvPr/>
        </p:nvSpPr>
        <p:spPr>
          <a:xfrm>
            <a:off x="1455951" y="4134425"/>
            <a:ext cx="22129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该原创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模板来自公众号：趣你的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。一不小心，就学会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，快来加入我们。</a:t>
            </a:r>
            <a:endParaRPr lang="zh-CN" altLang="en-US" sz="1200" kern="0" spc="-150" dirty="0">
              <a:solidFill>
                <a:sysClr val="window" lastClr="FFFFFF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5" name="出自【趣你的PPT】(微信:qunideppt)：最优质的PPT资源库"/>
          <p:cNvSpPr txBox="1"/>
          <p:nvPr/>
        </p:nvSpPr>
        <p:spPr>
          <a:xfrm>
            <a:off x="5092915" y="4153475"/>
            <a:ext cx="21891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该原创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模板来自公众号：趣你的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。一不小心，就学会</a:t>
            </a:r>
            <a:r>
              <a:rPr lang="en-US" altLang="zh-CN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PPT</a:t>
            </a:r>
            <a:r>
              <a:rPr lang="zh-CN" altLang="en-US" sz="1200" kern="0" spc="-150">
                <a:solidFill>
                  <a:sysClr val="window" lastClr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，快来加入我们。</a:t>
            </a:r>
            <a:endParaRPr lang="zh-CN" altLang="en-US" sz="1200" kern="0" spc="-150" dirty="0">
              <a:solidFill>
                <a:sysClr val="window" lastClr="FFFFFF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6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8058301" y="2287465"/>
            <a:ext cx="3304129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55673691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5925 0.4331 L 3.95833E-6 3.7037E-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56" y="-216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2826 0.4331 L 3.54167E-6 3.7037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406" y="-216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5808 0.16944 L 3.95833E-6 3.7037E-6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04" y="-84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2826 0.16713 L 3.54167E-6 3.7037E-6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406" y="-83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0"/>
                            </p:stCondLst>
                            <p:childTnLst>
                              <p:par>
                                <p:cTn id="48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000"/>
                            </p:stCondLst>
                            <p:childTnLst>
                              <p:par>
                                <p:cTn id="52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213"/>
                            </p:stCondLst>
                            <p:childTnLst>
                              <p:par>
                                <p:cTn id="81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83" dur="125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84" dur="125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85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86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/>
      <p:bldP spid="12" grpId="0"/>
      <p:bldP spid="13" grpId="0"/>
      <p:bldP spid="14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504975" y="2397725"/>
            <a:ext cx="2376264" cy="2376264"/>
            <a:chOff x="407368" y="2492896"/>
            <a:chExt cx="2376264" cy="2376264"/>
          </a:xfrm>
          <a:solidFill>
            <a:srgbClr val="C00000"/>
          </a:solidFill>
        </p:grpSpPr>
        <p:sp>
          <p:nvSpPr>
            <p:cNvPr id="8" name="出自【趣你的PPT】(微信:qunideppt)：最优质的PPT资源库"/>
            <p:cNvSpPr/>
            <p:nvPr/>
          </p:nvSpPr>
          <p:spPr>
            <a:xfrm>
              <a:off x="407368" y="2492896"/>
              <a:ext cx="2376264" cy="2376264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1055440" y="2708920"/>
              <a:ext cx="480136" cy="442625"/>
            </a:xfrm>
            <a:custGeom>
              <a:avLst/>
              <a:gdLst>
                <a:gd name="T0" fmla="*/ 41 w 54"/>
                <a:gd name="T1" fmla="*/ 0 h 49"/>
                <a:gd name="T2" fmla="*/ 34 w 54"/>
                <a:gd name="T3" fmla="*/ 0 h 49"/>
                <a:gd name="T4" fmla="*/ 13 w 54"/>
                <a:gd name="T5" fmla="*/ 0 h 49"/>
                <a:gd name="T6" fmla="*/ 0 w 54"/>
                <a:gd name="T7" fmla="*/ 13 h 49"/>
                <a:gd name="T8" fmla="*/ 0 w 54"/>
                <a:gd name="T9" fmla="*/ 15 h 49"/>
                <a:gd name="T10" fmla="*/ 0 w 54"/>
                <a:gd name="T11" fmla="*/ 25 h 49"/>
                <a:gd name="T12" fmla="*/ 13 w 54"/>
                <a:gd name="T13" fmla="*/ 38 h 49"/>
                <a:gd name="T14" fmla="*/ 23 w 54"/>
                <a:gd name="T15" fmla="*/ 38 h 49"/>
                <a:gd name="T16" fmla="*/ 45 w 54"/>
                <a:gd name="T17" fmla="*/ 49 h 49"/>
                <a:gd name="T18" fmla="*/ 41 w 54"/>
                <a:gd name="T19" fmla="*/ 38 h 49"/>
                <a:gd name="T20" fmla="*/ 41 w 54"/>
                <a:gd name="T21" fmla="*/ 38 h 49"/>
                <a:gd name="T22" fmla="*/ 54 w 54"/>
                <a:gd name="T23" fmla="*/ 25 h 49"/>
                <a:gd name="T24" fmla="*/ 54 w 54"/>
                <a:gd name="T25" fmla="*/ 13 h 49"/>
                <a:gd name="T26" fmla="*/ 41 w 54"/>
                <a:gd name="T27" fmla="*/ 0 h 49"/>
                <a:gd name="T28" fmla="*/ 14 w 54"/>
                <a:gd name="T29" fmla="*/ 22 h 49"/>
                <a:gd name="T30" fmla="*/ 11 w 54"/>
                <a:gd name="T31" fmla="*/ 19 h 49"/>
                <a:gd name="T32" fmla="*/ 14 w 54"/>
                <a:gd name="T33" fmla="*/ 16 h 49"/>
                <a:gd name="T34" fmla="*/ 17 w 54"/>
                <a:gd name="T35" fmla="*/ 19 h 49"/>
                <a:gd name="T36" fmla="*/ 14 w 54"/>
                <a:gd name="T37" fmla="*/ 22 h 49"/>
                <a:gd name="T38" fmla="*/ 22 w 54"/>
                <a:gd name="T39" fmla="*/ 22 h 49"/>
                <a:gd name="T40" fmla="*/ 19 w 54"/>
                <a:gd name="T41" fmla="*/ 19 h 49"/>
                <a:gd name="T42" fmla="*/ 22 w 54"/>
                <a:gd name="T43" fmla="*/ 16 h 49"/>
                <a:gd name="T44" fmla="*/ 25 w 54"/>
                <a:gd name="T45" fmla="*/ 19 h 49"/>
                <a:gd name="T46" fmla="*/ 22 w 54"/>
                <a:gd name="T47" fmla="*/ 22 h 49"/>
                <a:gd name="T48" fmla="*/ 32 w 54"/>
                <a:gd name="T49" fmla="*/ 22 h 49"/>
                <a:gd name="T50" fmla="*/ 29 w 54"/>
                <a:gd name="T51" fmla="*/ 19 h 49"/>
                <a:gd name="T52" fmla="*/ 32 w 54"/>
                <a:gd name="T53" fmla="*/ 16 h 49"/>
                <a:gd name="T54" fmla="*/ 35 w 54"/>
                <a:gd name="T55" fmla="*/ 19 h 49"/>
                <a:gd name="T56" fmla="*/ 32 w 54"/>
                <a:gd name="T57" fmla="*/ 22 h 49"/>
                <a:gd name="T58" fmla="*/ 40 w 54"/>
                <a:gd name="T59" fmla="*/ 22 h 49"/>
                <a:gd name="T60" fmla="*/ 37 w 54"/>
                <a:gd name="T61" fmla="*/ 19 h 49"/>
                <a:gd name="T62" fmla="*/ 40 w 54"/>
                <a:gd name="T63" fmla="*/ 16 h 49"/>
                <a:gd name="T64" fmla="*/ 43 w 54"/>
                <a:gd name="T65" fmla="*/ 19 h 49"/>
                <a:gd name="T66" fmla="*/ 40 w 54"/>
                <a:gd name="T67" fmla="*/ 2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49">
                  <a:moveTo>
                    <a:pt x="41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2"/>
                    <a:pt x="6" y="38"/>
                    <a:pt x="1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9" y="38"/>
                    <a:pt x="54" y="32"/>
                    <a:pt x="54" y="25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6"/>
                    <a:pt x="49" y="0"/>
                    <a:pt x="41" y="0"/>
                  </a:cubicBezTo>
                  <a:close/>
                  <a:moveTo>
                    <a:pt x="14" y="22"/>
                  </a:moveTo>
                  <a:cubicBezTo>
                    <a:pt x="12" y="22"/>
                    <a:pt x="11" y="21"/>
                    <a:pt x="11" y="19"/>
                  </a:cubicBezTo>
                  <a:cubicBezTo>
                    <a:pt x="11" y="18"/>
                    <a:pt x="12" y="16"/>
                    <a:pt x="14" y="16"/>
                  </a:cubicBezTo>
                  <a:cubicBezTo>
                    <a:pt x="15" y="16"/>
                    <a:pt x="17" y="18"/>
                    <a:pt x="17" y="19"/>
                  </a:cubicBezTo>
                  <a:cubicBezTo>
                    <a:pt x="17" y="21"/>
                    <a:pt x="15" y="22"/>
                    <a:pt x="14" y="22"/>
                  </a:cubicBezTo>
                  <a:close/>
                  <a:moveTo>
                    <a:pt x="22" y="22"/>
                  </a:moveTo>
                  <a:cubicBezTo>
                    <a:pt x="21" y="22"/>
                    <a:pt x="19" y="21"/>
                    <a:pt x="19" y="19"/>
                  </a:cubicBezTo>
                  <a:cubicBezTo>
                    <a:pt x="19" y="18"/>
                    <a:pt x="21" y="16"/>
                    <a:pt x="22" y="16"/>
                  </a:cubicBezTo>
                  <a:cubicBezTo>
                    <a:pt x="24" y="16"/>
                    <a:pt x="25" y="18"/>
                    <a:pt x="25" y="19"/>
                  </a:cubicBezTo>
                  <a:cubicBezTo>
                    <a:pt x="25" y="21"/>
                    <a:pt x="24" y="22"/>
                    <a:pt x="22" y="22"/>
                  </a:cubicBezTo>
                  <a:close/>
                  <a:moveTo>
                    <a:pt x="32" y="22"/>
                  </a:moveTo>
                  <a:cubicBezTo>
                    <a:pt x="30" y="22"/>
                    <a:pt x="29" y="21"/>
                    <a:pt x="29" y="19"/>
                  </a:cubicBezTo>
                  <a:cubicBezTo>
                    <a:pt x="29" y="18"/>
                    <a:pt x="30" y="16"/>
                    <a:pt x="32" y="16"/>
                  </a:cubicBezTo>
                  <a:cubicBezTo>
                    <a:pt x="33" y="16"/>
                    <a:pt x="35" y="18"/>
                    <a:pt x="35" y="19"/>
                  </a:cubicBezTo>
                  <a:cubicBezTo>
                    <a:pt x="35" y="21"/>
                    <a:pt x="33" y="22"/>
                    <a:pt x="32" y="22"/>
                  </a:cubicBezTo>
                  <a:close/>
                  <a:moveTo>
                    <a:pt x="40" y="22"/>
                  </a:moveTo>
                  <a:cubicBezTo>
                    <a:pt x="39" y="22"/>
                    <a:pt x="37" y="21"/>
                    <a:pt x="37" y="19"/>
                  </a:cubicBezTo>
                  <a:cubicBezTo>
                    <a:pt x="37" y="18"/>
                    <a:pt x="39" y="16"/>
                    <a:pt x="40" y="16"/>
                  </a:cubicBezTo>
                  <a:cubicBezTo>
                    <a:pt x="42" y="16"/>
                    <a:pt x="43" y="18"/>
                    <a:pt x="43" y="19"/>
                  </a:cubicBezTo>
                  <a:cubicBezTo>
                    <a:pt x="43" y="21"/>
                    <a:pt x="42" y="22"/>
                    <a:pt x="40" y="2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" name="出自【趣你的PPT】(微信:qunideppt)：最优质的PPT资源库"/>
            <p:cNvSpPr/>
            <p:nvPr/>
          </p:nvSpPr>
          <p:spPr>
            <a:xfrm>
              <a:off x="850488" y="3290623"/>
              <a:ext cx="1679848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en-US" altLang="zh-CN" sz="1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Group 10出自【趣你的PPT】(微信:qunideppt)：最优质的PPT资源库"/>
          <p:cNvGrpSpPr/>
          <p:nvPr/>
        </p:nvGrpSpPr>
        <p:grpSpPr>
          <a:xfrm>
            <a:off x="3097263" y="2397725"/>
            <a:ext cx="2376264" cy="2376264"/>
            <a:chOff x="2999656" y="2492896"/>
            <a:chExt cx="2376264" cy="2376264"/>
          </a:xfrm>
          <a:solidFill>
            <a:srgbClr val="C00000"/>
          </a:solidFill>
        </p:grpSpPr>
        <p:sp>
          <p:nvSpPr>
            <p:cNvPr id="12" name="出自【趣你的PPT】(微信:qunideppt)：最优质的PPT资源库"/>
            <p:cNvSpPr/>
            <p:nvPr/>
          </p:nvSpPr>
          <p:spPr>
            <a:xfrm>
              <a:off x="2999656" y="2492896"/>
              <a:ext cx="2376264" cy="2376264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3408040" y="2592375"/>
              <a:ext cx="1679848" cy="1415153"/>
              <a:chOff x="3408040" y="2592375"/>
              <a:chExt cx="1679848" cy="1415153"/>
            </a:xfrm>
            <a:grpFill/>
          </p:grpSpPr>
          <p:sp>
            <p:nvSpPr>
              <p:cNvPr id="14" name="出自【趣你的PPT】(微信:qunideppt)：最优质的PPT资源库"/>
              <p:cNvSpPr>
                <a:spLocks/>
              </p:cNvSpPr>
              <p:nvPr/>
            </p:nvSpPr>
            <p:spPr bwMode="auto">
              <a:xfrm>
                <a:off x="3742677" y="2592375"/>
                <a:ext cx="445111" cy="561401"/>
              </a:xfrm>
              <a:custGeom>
                <a:avLst/>
                <a:gdLst>
                  <a:gd name="T0" fmla="*/ 24 w 47"/>
                  <a:gd name="T1" fmla="*/ 0 h 58"/>
                  <a:gd name="T2" fmla="*/ 33 w 47"/>
                  <a:gd name="T3" fmla="*/ 2 h 58"/>
                  <a:gd name="T4" fmla="*/ 35 w 47"/>
                  <a:gd name="T5" fmla="*/ 23 h 58"/>
                  <a:gd name="T6" fmla="*/ 30 w 47"/>
                  <a:gd name="T7" fmla="*/ 32 h 58"/>
                  <a:gd name="T8" fmla="*/ 31 w 47"/>
                  <a:gd name="T9" fmla="*/ 38 h 58"/>
                  <a:gd name="T10" fmla="*/ 39 w 47"/>
                  <a:gd name="T11" fmla="*/ 43 h 58"/>
                  <a:gd name="T12" fmla="*/ 47 w 47"/>
                  <a:gd name="T13" fmla="*/ 45 h 58"/>
                  <a:gd name="T14" fmla="*/ 45 w 47"/>
                  <a:gd name="T15" fmla="*/ 58 h 58"/>
                  <a:gd name="T16" fmla="*/ 3 w 47"/>
                  <a:gd name="T17" fmla="*/ 58 h 58"/>
                  <a:gd name="T18" fmla="*/ 0 w 47"/>
                  <a:gd name="T19" fmla="*/ 45 h 58"/>
                  <a:gd name="T20" fmla="*/ 8 w 47"/>
                  <a:gd name="T21" fmla="*/ 43 h 58"/>
                  <a:gd name="T22" fmla="*/ 16 w 47"/>
                  <a:gd name="T23" fmla="*/ 38 h 58"/>
                  <a:gd name="T24" fmla="*/ 17 w 47"/>
                  <a:gd name="T25" fmla="*/ 32 h 58"/>
                  <a:gd name="T26" fmla="*/ 13 w 47"/>
                  <a:gd name="T27" fmla="*/ 22 h 58"/>
                  <a:gd name="T28" fmla="*/ 15 w 47"/>
                  <a:gd name="T29" fmla="*/ 2 h 58"/>
                  <a:gd name="T30" fmla="*/ 23 w 47"/>
                  <a:gd name="T31" fmla="*/ 0 h 58"/>
                  <a:gd name="T32" fmla="*/ 24 w 47"/>
                  <a:gd name="T33" fmla="*/ 0 h 58"/>
                  <a:gd name="T34" fmla="*/ 24 w 47"/>
                  <a:gd name="T35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58">
                    <a:moveTo>
                      <a:pt x="24" y="0"/>
                    </a:moveTo>
                    <a:cubicBezTo>
                      <a:pt x="27" y="0"/>
                      <a:pt x="30" y="0"/>
                      <a:pt x="33" y="2"/>
                    </a:cubicBezTo>
                    <a:cubicBezTo>
                      <a:pt x="37" y="6"/>
                      <a:pt x="36" y="14"/>
                      <a:pt x="35" y="23"/>
                    </a:cubicBezTo>
                    <a:cubicBezTo>
                      <a:pt x="34" y="28"/>
                      <a:pt x="32" y="30"/>
                      <a:pt x="30" y="32"/>
                    </a:cubicBezTo>
                    <a:cubicBezTo>
                      <a:pt x="30" y="34"/>
                      <a:pt x="31" y="38"/>
                      <a:pt x="31" y="38"/>
                    </a:cubicBezTo>
                    <a:cubicBezTo>
                      <a:pt x="33" y="41"/>
                      <a:pt x="36" y="42"/>
                      <a:pt x="39" y="43"/>
                    </a:cubicBezTo>
                    <a:cubicBezTo>
                      <a:pt x="43" y="43"/>
                      <a:pt x="47" y="45"/>
                      <a:pt x="47" y="45"/>
                    </a:cubicBezTo>
                    <a:cubicBezTo>
                      <a:pt x="45" y="58"/>
                      <a:pt x="45" y="58"/>
                      <a:pt x="45" y="58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5" y="43"/>
                      <a:pt x="4" y="43"/>
                      <a:pt x="8" y="43"/>
                    </a:cubicBezTo>
                    <a:cubicBezTo>
                      <a:pt x="12" y="42"/>
                      <a:pt x="14" y="41"/>
                      <a:pt x="16" y="38"/>
                    </a:cubicBezTo>
                    <a:cubicBezTo>
                      <a:pt x="16" y="38"/>
                      <a:pt x="17" y="34"/>
                      <a:pt x="17" y="32"/>
                    </a:cubicBezTo>
                    <a:cubicBezTo>
                      <a:pt x="15" y="30"/>
                      <a:pt x="13" y="28"/>
                      <a:pt x="13" y="22"/>
                    </a:cubicBezTo>
                    <a:cubicBezTo>
                      <a:pt x="12" y="13"/>
                      <a:pt x="10" y="6"/>
                      <a:pt x="15" y="2"/>
                    </a:cubicBezTo>
                    <a:cubicBezTo>
                      <a:pt x="17" y="0"/>
                      <a:pt x="20" y="0"/>
                      <a:pt x="2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出自【趣你的PPT】(微信:qunideppt)：最优质的PPT资源库"/>
              <p:cNvSpPr/>
              <p:nvPr/>
            </p:nvSpPr>
            <p:spPr>
              <a:xfrm>
                <a:off x="3408040" y="3299642"/>
                <a:ext cx="1679848" cy="7078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10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该原创</a:t>
                </a:r>
                <a:r>
                  <a:rPr lang="en-US" altLang="zh-CN" sz="10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0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来自公众号：趣你的</a:t>
                </a:r>
                <a:r>
                  <a:rPr lang="en-US" altLang="zh-CN" sz="10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0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。一不小心，就学会</a:t>
                </a:r>
                <a:r>
                  <a:rPr lang="en-US" altLang="zh-CN" sz="10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00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快来加入我们。</a:t>
                </a:r>
                <a:endParaRPr lang="en-US" altLang="zh-CN" sz="10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5689551" y="2397725"/>
            <a:ext cx="2376264" cy="2376264"/>
            <a:chOff x="5591944" y="2492896"/>
            <a:chExt cx="2376264" cy="2376264"/>
          </a:xfrm>
          <a:solidFill>
            <a:srgbClr val="C00000"/>
          </a:solidFill>
        </p:grpSpPr>
        <p:sp>
          <p:nvSpPr>
            <p:cNvPr id="18" name="出自【趣你的PPT】(微信:qunideppt)：最优质的PPT资源库"/>
            <p:cNvSpPr/>
            <p:nvPr/>
          </p:nvSpPr>
          <p:spPr>
            <a:xfrm>
              <a:off x="5591944" y="2492896"/>
              <a:ext cx="2376264" cy="2376264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240016" y="2594760"/>
              <a:ext cx="453680" cy="556785"/>
            </a:xfrm>
            <a:custGeom>
              <a:avLst/>
              <a:gdLst>
                <a:gd name="T0" fmla="*/ 61 w 65"/>
                <a:gd name="T1" fmla="*/ 35 h 60"/>
                <a:gd name="T2" fmla="*/ 60 w 65"/>
                <a:gd name="T3" fmla="*/ 35 h 60"/>
                <a:gd name="T4" fmla="*/ 59 w 65"/>
                <a:gd name="T5" fmla="*/ 35 h 60"/>
                <a:gd name="T6" fmla="*/ 59 w 65"/>
                <a:gd name="T7" fmla="*/ 35 h 60"/>
                <a:gd name="T8" fmla="*/ 61 w 65"/>
                <a:gd name="T9" fmla="*/ 31 h 60"/>
                <a:gd name="T10" fmla="*/ 56 w 65"/>
                <a:gd name="T11" fmla="*/ 26 h 60"/>
                <a:gd name="T12" fmla="*/ 55 w 65"/>
                <a:gd name="T13" fmla="*/ 26 h 60"/>
                <a:gd name="T14" fmla="*/ 52 w 65"/>
                <a:gd name="T15" fmla="*/ 26 h 60"/>
                <a:gd name="T16" fmla="*/ 33 w 65"/>
                <a:gd name="T17" fmla="*/ 26 h 60"/>
                <a:gd name="T18" fmla="*/ 34 w 65"/>
                <a:gd name="T19" fmla="*/ 7 h 60"/>
                <a:gd name="T20" fmla="*/ 26 w 65"/>
                <a:gd name="T21" fmla="*/ 2 h 60"/>
                <a:gd name="T22" fmla="*/ 26 w 65"/>
                <a:gd name="T23" fmla="*/ 13 h 60"/>
                <a:gd name="T24" fmla="*/ 18 w 65"/>
                <a:gd name="T25" fmla="*/ 26 h 60"/>
                <a:gd name="T26" fmla="*/ 9 w 65"/>
                <a:gd name="T27" fmla="*/ 32 h 60"/>
                <a:gd name="T28" fmla="*/ 0 w 65"/>
                <a:gd name="T29" fmla="*/ 34 h 60"/>
                <a:gd name="T30" fmla="*/ 0 w 65"/>
                <a:gd name="T31" fmla="*/ 58 h 60"/>
                <a:gd name="T32" fmla="*/ 2 w 65"/>
                <a:gd name="T33" fmla="*/ 57 h 60"/>
                <a:gd name="T34" fmla="*/ 22 w 65"/>
                <a:gd name="T35" fmla="*/ 59 h 60"/>
                <a:gd name="T36" fmla="*/ 45 w 65"/>
                <a:gd name="T37" fmla="*/ 57 h 60"/>
                <a:gd name="T38" fmla="*/ 50 w 65"/>
                <a:gd name="T39" fmla="*/ 52 h 60"/>
                <a:gd name="T40" fmla="*/ 56 w 65"/>
                <a:gd name="T41" fmla="*/ 49 h 60"/>
                <a:gd name="T42" fmla="*/ 55 w 65"/>
                <a:gd name="T43" fmla="*/ 43 h 60"/>
                <a:gd name="T44" fmla="*/ 60 w 65"/>
                <a:gd name="T45" fmla="*/ 42 h 60"/>
                <a:gd name="T46" fmla="*/ 61 w 65"/>
                <a:gd name="T47" fmla="*/ 3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60">
                  <a:moveTo>
                    <a:pt x="61" y="35"/>
                  </a:moveTo>
                  <a:cubicBezTo>
                    <a:pt x="61" y="35"/>
                    <a:pt x="60" y="35"/>
                    <a:pt x="60" y="35"/>
                  </a:cubicBezTo>
                  <a:cubicBezTo>
                    <a:pt x="60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60" y="34"/>
                    <a:pt x="61" y="33"/>
                    <a:pt x="61" y="31"/>
                  </a:cubicBezTo>
                  <a:cubicBezTo>
                    <a:pt x="61" y="28"/>
                    <a:pt x="58" y="27"/>
                    <a:pt x="56" y="26"/>
                  </a:cubicBezTo>
                  <a:cubicBezTo>
                    <a:pt x="56" y="26"/>
                    <a:pt x="55" y="26"/>
                    <a:pt x="55" y="26"/>
                  </a:cubicBezTo>
                  <a:cubicBezTo>
                    <a:pt x="53" y="26"/>
                    <a:pt x="52" y="26"/>
                    <a:pt x="52" y="26"/>
                  </a:cubicBezTo>
                  <a:cubicBezTo>
                    <a:pt x="45" y="26"/>
                    <a:pt x="33" y="26"/>
                    <a:pt x="33" y="26"/>
                  </a:cubicBezTo>
                  <a:cubicBezTo>
                    <a:pt x="34" y="23"/>
                    <a:pt x="36" y="15"/>
                    <a:pt x="34" y="7"/>
                  </a:cubicBezTo>
                  <a:cubicBezTo>
                    <a:pt x="32" y="0"/>
                    <a:pt x="26" y="2"/>
                    <a:pt x="26" y="2"/>
                  </a:cubicBezTo>
                  <a:cubicBezTo>
                    <a:pt x="26" y="2"/>
                    <a:pt x="26" y="8"/>
                    <a:pt x="26" y="13"/>
                  </a:cubicBezTo>
                  <a:cubicBezTo>
                    <a:pt x="26" y="17"/>
                    <a:pt x="21" y="25"/>
                    <a:pt x="18" y="26"/>
                  </a:cubicBezTo>
                  <a:cubicBezTo>
                    <a:pt x="15" y="27"/>
                    <a:pt x="13" y="28"/>
                    <a:pt x="9" y="32"/>
                  </a:cubicBezTo>
                  <a:cubicBezTo>
                    <a:pt x="6" y="33"/>
                    <a:pt x="3" y="34"/>
                    <a:pt x="0" y="34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1" y="58"/>
                    <a:pt x="2" y="57"/>
                  </a:cubicBezTo>
                  <a:cubicBezTo>
                    <a:pt x="5" y="57"/>
                    <a:pt x="15" y="58"/>
                    <a:pt x="22" y="59"/>
                  </a:cubicBezTo>
                  <a:cubicBezTo>
                    <a:pt x="28" y="60"/>
                    <a:pt x="38" y="59"/>
                    <a:pt x="45" y="57"/>
                  </a:cubicBezTo>
                  <a:cubicBezTo>
                    <a:pt x="52" y="56"/>
                    <a:pt x="50" y="52"/>
                    <a:pt x="50" y="52"/>
                  </a:cubicBezTo>
                  <a:cubicBezTo>
                    <a:pt x="50" y="52"/>
                    <a:pt x="53" y="52"/>
                    <a:pt x="56" y="49"/>
                  </a:cubicBezTo>
                  <a:cubicBezTo>
                    <a:pt x="58" y="47"/>
                    <a:pt x="55" y="43"/>
                    <a:pt x="55" y="43"/>
                  </a:cubicBezTo>
                  <a:cubicBezTo>
                    <a:pt x="57" y="43"/>
                    <a:pt x="58" y="43"/>
                    <a:pt x="60" y="42"/>
                  </a:cubicBezTo>
                  <a:cubicBezTo>
                    <a:pt x="65" y="38"/>
                    <a:pt x="61" y="35"/>
                    <a:pt x="61" y="3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" name="出自【趣你的PPT】(微信:qunideppt)：最优质的PPT资源库"/>
            <p:cNvSpPr/>
            <p:nvPr/>
          </p:nvSpPr>
          <p:spPr>
            <a:xfrm>
              <a:off x="6029908" y="3299642"/>
              <a:ext cx="1679848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en-US" altLang="zh-CN" sz="1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1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00" b="14263"/>
          <a:stretch/>
        </p:blipFill>
        <p:spPr>
          <a:xfrm>
            <a:off x="8569871" y="1334962"/>
            <a:ext cx="3024336" cy="1450737"/>
          </a:xfrm>
          <a:prstGeom prst="rect">
            <a:avLst/>
          </a:prstGeom>
        </p:spPr>
      </p:pic>
      <p:sp>
        <p:nvSpPr>
          <p:cNvPr id="22" name="出自【趣你的PPT】(微信:qunideppt)：最优质的PPT资源库"/>
          <p:cNvSpPr/>
          <p:nvPr/>
        </p:nvSpPr>
        <p:spPr>
          <a:xfrm>
            <a:off x="8569871" y="2785699"/>
            <a:ext cx="3024336" cy="242033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3" name="出自【趣你的PPT】(微信:qunideppt)：最优质的PPT资源库"/>
          <p:cNvSpPr/>
          <p:nvPr/>
        </p:nvSpPr>
        <p:spPr>
          <a:xfrm>
            <a:off x="8724703" y="3028802"/>
            <a:ext cx="2714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9248002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1263 -0.32801 L 6.25E-7 -4.07407E-6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638" y="16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056 -0.32801 L 4.16667E-7 -4.07407E-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286" y="16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862 -0.33171 L 4.16667E-7 -4.07407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310" y="165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8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250" tmFilter="0,0; .5, 1; 1, 1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出自【趣你的PPT】(微信:qunideppt)：最优质的PPT资源库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04800" y="-176213"/>
            <a:ext cx="12801600" cy="7210425"/>
          </a:xfrm>
          <a:prstGeom prst="rect">
            <a:avLst/>
          </a:prstGeom>
        </p:spPr>
      </p:pic>
      <p:sp>
        <p:nvSpPr>
          <p:cNvPr id="11" name="出自【趣你的PPT】(微信:qunideppt)：最优质的PPT资源库"/>
          <p:cNvSpPr txBox="1"/>
          <p:nvPr/>
        </p:nvSpPr>
        <p:spPr>
          <a:xfrm>
            <a:off x="4431182" y="3470323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solidFill>
                  <a:srgbClr val="93E3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词带来震撼</a:t>
            </a:r>
          </a:p>
        </p:txBody>
      </p:sp>
      <p:pic>
        <p:nvPicPr>
          <p:cNvPr id="5" name="出自【趣你的PPT】(微信:qunideppt)：最优质的PPT资源库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913" y="1484784"/>
            <a:ext cx="1435224" cy="1435224"/>
          </a:xfrm>
          <a:prstGeom prst="rect">
            <a:avLst/>
          </a:prstGeom>
        </p:spPr>
      </p:pic>
      <p:sp>
        <p:nvSpPr>
          <p:cNvPr id="6" name="出自【趣你的PPT】(微信:qunideppt)：最优质的PPT资源库"/>
          <p:cNvSpPr txBox="1"/>
          <p:nvPr/>
        </p:nvSpPr>
        <p:spPr>
          <a:xfrm>
            <a:off x="4746373" y="3068960"/>
            <a:ext cx="35283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这里单击需要的关键词</a:t>
            </a:r>
          </a:p>
        </p:txBody>
      </p:sp>
      <p:sp>
        <p:nvSpPr>
          <p:cNvPr id="7" name="出自【趣你的PPT】(微信:qunideppt)：最优质的PPT资源库"/>
          <p:cNvSpPr txBox="1"/>
          <p:nvPr/>
        </p:nvSpPr>
        <p:spPr>
          <a:xfrm>
            <a:off x="4431182" y="3469070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词带来震撼</a:t>
            </a:r>
          </a:p>
        </p:txBody>
      </p:sp>
      <p:cxnSp>
        <p:nvCxnSpPr>
          <p:cNvPr id="9" name="出自【趣你的PPT】(微信:qunideppt)：最优质的PPT资源库"/>
          <p:cNvCxnSpPr/>
          <p:nvPr/>
        </p:nvCxnSpPr>
        <p:spPr>
          <a:xfrm>
            <a:off x="4431182" y="4116654"/>
            <a:ext cx="333952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出自【趣你的PPT】(微信:qunideppt)：最优质的PPT资源库"/>
          <p:cNvSpPr txBox="1"/>
          <p:nvPr/>
        </p:nvSpPr>
        <p:spPr>
          <a:xfrm>
            <a:off x="4674366" y="4173557"/>
            <a:ext cx="30963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eywords shock</a:t>
            </a:r>
          </a:p>
        </p:txBody>
      </p:sp>
      <p:sp>
        <p:nvSpPr>
          <p:cNvPr id="12" name="出自【趣你的PPT】(微信:qunideppt)：最优质的PPT资源库"/>
          <p:cNvSpPr txBox="1"/>
          <p:nvPr/>
        </p:nvSpPr>
        <p:spPr>
          <a:xfrm>
            <a:off x="4304854" y="4690371"/>
            <a:ext cx="39699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ck here to add  keywords</a:t>
            </a:r>
          </a:p>
        </p:txBody>
      </p:sp>
    </p:spTree>
    <p:extLst>
      <p:ext uri="{BB962C8B-B14F-4D97-AF65-F5344CB8AC3E}">
        <p14:creationId xmlns:p14="http://schemas.microsoft.com/office/powerpoint/2010/main" val="3919185203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1" grpId="2"/>
      <p:bldP spid="6" grpId="0"/>
      <p:bldP spid="7" grpId="0"/>
      <p:bldP spid="10" grpId="0"/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6"/>
          <a:stretch/>
        </p:blipFill>
        <p:spPr>
          <a:xfrm>
            <a:off x="2739125" y="-12879"/>
            <a:ext cx="9452875" cy="6890198"/>
          </a:xfrm>
          <a:prstGeom prst="rect">
            <a:avLst/>
          </a:prstGeom>
        </p:spPr>
      </p:pic>
      <p:pic>
        <p:nvPicPr>
          <p:cNvPr id="37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3"/>
          <a:srcRect t="16011" r="13956" b="16074"/>
          <a:stretch/>
        </p:blipFill>
        <p:spPr>
          <a:xfrm rot="10800000">
            <a:off x="0" y="0"/>
            <a:ext cx="6782673" cy="6877318"/>
          </a:xfrm>
          <a:prstGeom prst="rect">
            <a:avLst/>
          </a:prstGeom>
        </p:spPr>
      </p:pic>
      <p:sp>
        <p:nvSpPr>
          <p:cNvPr id="38" name="出自【趣你的PPT】(微信:qunideppt)：最优质的PPT资源库"/>
          <p:cNvSpPr/>
          <p:nvPr/>
        </p:nvSpPr>
        <p:spPr>
          <a:xfrm>
            <a:off x="1553752" y="1599801"/>
            <a:ext cx="1328879" cy="463640"/>
          </a:xfrm>
          <a:prstGeom prst="rect">
            <a:avLst/>
          </a:prstGeom>
          <a:solidFill>
            <a:srgbClr val="1731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9" name="出自【趣你的PPT】(微信:qunideppt)：最优质的PPT资源库"/>
          <p:cNvSpPr txBox="1"/>
          <p:nvPr/>
        </p:nvSpPr>
        <p:spPr>
          <a:xfrm>
            <a:off x="1777059" y="1593362"/>
            <a:ext cx="11055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40" name="出自【趣你的PPT】(微信:qunideppt)：最优质的PPT资源库"/>
          <p:cNvSpPr/>
          <p:nvPr/>
        </p:nvSpPr>
        <p:spPr>
          <a:xfrm>
            <a:off x="2882631" y="1599801"/>
            <a:ext cx="1955235" cy="4636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1" name="出自【趣你的PPT】(微信:qunideppt)：最优质的PPT资源库"/>
          <p:cNvSpPr txBox="1"/>
          <p:nvPr/>
        </p:nvSpPr>
        <p:spPr>
          <a:xfrm>
            <a:off x="2869208" y="1654917"/>
            <a:ext cx="1674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  <a:endParaRPr lang="zh-CN" altLang="en-US" sz="20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出自【趣你的PPT】(微信:qunideppt)：最优质的PPT资源库"/>
          <p:cNvCxnSpPr/>
          <p:nvPr/>
        </p:nvCxnSpPr>
        <p:spPr>
          <a:xfrm>
            <a:off x="1553752" y="2007976"/>
            <a:ext cx="32841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出自【趣你的PPT】(微信:qunideppt)：最优质的PPT资源库"/>
          <p:cNvSpPr txBox="1"/>
          <p:nvPr/>
        </p:nvSpPr>
        <p:spPr>
          <a:xfrm>
            <a:off x="1553751" y="2681456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出自【趣你的PPT】(微信:qunideppt)：最优质的PPT资源库"/>
          <p:cNvSpPr txBox="1"/>
          <p:nvPr/>
        </p:nvSpPr>
        <p:spPr>
          <a:xfrm>
            <a:off x="1996199" y="2736920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49" name="出自【趣你的PPT】(微信:qunideppt)：最优质的PPT资源库"/>
          <p:cNvSpPr txBox="1"/>
          <p:nvPr/>
        </p:nvSpPr>
        <p:spPr>
          <a:xfrm>
            <a:off x="1996199" y="3479177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0" name="出自【趣你的PPT】(微信:qunideppt)：最优质的PPT资源库"/>
          <p:cNvSpPr txBox="1"/>
          <p:nvPr/>
        </p:nvSpPr>
        <p:spPr>
          <a:xfrm>
            <a:off x="1996199" y="4963692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1" name="出自【趣你的PPT】(微信:qunideppt)：最优质的PPT资源库"/>
          <p:cNvSpPr txBox="1"/>
          <p:nvPr/>
        </p:nvSpPr>
        <p:spPr>
          <a:xfrm>
            <a:off x="1996199" y="4221434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2" name="出自【趣你的PPT】(微信:qunideppt)：最优质的PPT资源库"/>
          <p:cNvSpPr txBox="1"/>
          <p:nvPr/>
        </p:nvSpPr>
        <p:spPr>
          <a:xfrm>
            <a:off x="1553750" y="3426145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出自【趣你的PPT】(微信:qunideppt)：最优质的PPT资源库"/>
          <p:cNvSpPr txBox="1"/>
          <p:nvPr/>
        </p:nvSpPr>
        <p:spPr>
          <a:xfrm>
            <a:off x="1553749" y="4184357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出自【趣你的PPT】(微信:qunideppt)：最优质的PPT资源库"/>
          <p:cNvSpPr txBox="1"/>
          <p:nvPr/>
        </p:nvSpPr>
        <p:spPr>
          <a:xfrm>
            <a:off x="1553748" y="4958951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4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34360636"/>
      </p:ext>
    </p:extLst>
  </p:cSld>
  <p:clrMapOvr>
    <a:masterClrMapping/>
  </p:clrMapOvr>
  <p:transition spd="slow" advClick="0" advTm="3000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6"/>
          <a:stretch/>
        </p:blipFill>
        <p:spPr>
          <a:xfrm>
            <a:off x="2739125" y="-12879"/>
            <a:ext cx="9452875" cy="6890198"/>
          </a:xfrm>
          <a:prstGeom prst="rect">
            <a:avLst/>
          </a:prstGeom>
        </p:spPr>
      </p:pic>
      <p:pic>
        <p:nvPicPr>
          <p:cNvPr id="37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3"/>
          <a:srcRect t="16011" r="13956" b="16074"/>
          <a:stretch/>
        </p:blipFill>
        <p:spPr>
          <a:xfrm rot="10800000">
            <a:off x="0" y="0"/>
            <a:ext cx="6782673" cy="6877318"/>
          </a:xfrm>
          <a:prstGeom prst="rect">
            <a:avLst/>
          </a:prstGeom>
        </p:spPr>
      </p:pic>
      <p:sp>
        <p:nvSpPr>
          <p:cNvPr id="38" name="出自【趣你的PPT】(微信:qunideppt)：最优质的PPT资源库"/>
          <p:cNvSpPr/>
          <p:nvPr/>
        </p:nvSpPr>
        <p:spPr>
          <a:xfrm>
            <a:off x="1553752" y="1599801"/>
            <a:ext cx="1328879" cy="463640"/>
          </a:xfrm>
          <a:prstGeom prst="rect">
            <a:avLst/>
          </a:prstGeom>
          <a:solidFill>
            <a:srgbClr val="1731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9" name="出自【趣你的PPT】(微信:qunideppt)：最优质的PPT资源库"/>
          <p:cNvSpPr txBox="1"/>
          <p:nvPr/>
        </p:nvSpPr>
        <p:spPr>
          <a:xfrm>
            <a:off x="1777059" y="1593362"/>
            <a:ext cx="11055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40" name="出自【趣你的PPT】(微信:qunideppt)：最优质的PPT资源库"/>
          <p:cNvSpPr/>
          <p:nvPr/>
        </p:nvSpPr>
        <p:spPr>
          <a:xfrm>
            <a:off x="2882631" y="1599801"/>
            <a:ext cx="1955235" cy="4636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1" name="出自【趣你的PPT】(微信:qunideppt)：最优质的PPT资源库"/>
          <p:cNvSpPr txBox="1"/>
          <p:nvPr/>
        </p:nvSpPr>
        <p:spPr>
          <a:xfrm>
            <a:off x="2869208" y="1654917"/>
            <a:ext cx="1674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  <a:endParaRPr lang="zh-CN" altLang="en-US" sz="20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出自【趣你的PPT】(微信:qunideppt)：最优质的PPT资源库"/>
          <p:cNvCxnSpPr/>
          <p:nvPr/>
        </p:nvCxnSpPr>
        <p:spPr>
          <a:xfrm>
            <a:off x="1553752" y="2007976"/>
            <a:ext cx="32841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出自【趣你的PPT】(微信:qunideppt)：最优质的PPT资源库"/>
          <p:cNvSpPr txBox="1"/>
          <p:nvPr/>
        </p:nvSpPr>
        <p:spPr>
          <a:xfrm>
            <a:off x="1553751" y="2681456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出自【趣你的PPT】(微信:qunideppt)：最优质的PPT资源库"/>
          <p:cNvSpPr txBox="1"/>
          <p:nvPr/>
        </p:nvSpPr>
        <p:spPr>
          <a:xfrm>
            <a:off x="1996199" y="2736920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49" name="出自【趣你的PPT】(微信:qunideppt)：最优质的PPT资源库"/>
          <p:cNvSpPr txBox="1"/>
          <p:nvPr/>
        </p:nvSpPr>
        <p:spPr>
          <a:xfrm>
            <a:off x="1996199" y="3479177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0" name="出自【趣你的PPT】(微信:qunideppt)：最优质的PPT资源库"/>
          <p:cNvSpPr txBox="1"/>
          <p:nvPr/>
        </p:nvSpPr>
        <p:spPr>
          <a:xfrm>
            <a:off x="1996199" y="4963692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1" name="出自【趣你的PPT】(微信:qunideppt)：最优质的PPT资源库"/>
          <p:cNvSpPr txBox="1"/>
          <p:nvPr/>
        </p:nvSpPr>
        <p:spPr>
          <a:xfrm>
            <a:off x="1996199" y="4221434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2" name="出自【趣你的PPT】(微信:qunideppt)：最优质的PPT资源库"/>
          <p:cNvSpPr txBox="1"/>
          <p:nvPr/>
        </p:nvSpPr>
        <p:spPr>
          <a:xfrm>
            <a:off x="1553750" y="3426145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出自【趣你的PPT】(微信:qunideppt)：最优质的PPT资源库"/>
          <p:cNvSpPr txBox="1"/>
          <p:nvPr/>
        </p:nvSpPr>
        <p:spPr>
          <a:xfrm>
            <a:off x="1553749" y="4184357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出自【趣你的PPT】(微信:qunideppt)：最优质的PPT资源库"/>
          <p:cNvSpPr txBox="1"/>
          <p:nvPr/>
        </p:nvSpPr>
        <p:spPr>
          <a:xfrm>
            <a:off x="1553748" y="4958951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4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79989382"/>
      </p:ext>
    </p:extLst>
  </p:cSld>
  <p:clrMapOvr>
    <a:masterClrMapping/>
  </p:clrMapOvr>
  <p:transition spd="slow" advClick="0" advTm="3000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pic>
        <p:nvPicPr>
          <p:cNvPr id="45" name="出自【趣你的PPT】(微信:qunideppt)：最优质的PPT资源库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718" y="1118620"/>
            <a:ext cx="5544616" cy="5878966"/>
          </a:xfrm>
          <a:prstGeom prst="rect">
            <a:avLst/>
          </a:prstGeom>
        </p:spPr>
      </p:pic>
      <p:grpSp>
        <p:nvGrpSpPr>
          <p:cNvPr id="46" name="Group 45出自【趣你的PPT】(微信:qunideppt)：最优质的PPT资源库"/>
          <p:cNvGrpSpPr/>
          <p:nvPr/>
        </p:nvGrpSpPr>
        <p:grpSpPr>
          <a:xfrm>
            <a:off x="4871864" y="2268527"/>
            <a:ext cx="4796445" cy="837721"/>
            <a:chOff x="4871864" y="2492896"/>
            <a:chExt cx="4796445" cy="837721"/>
          </a:xfrm>
          <a:solidFill>
            <a:srgbClr val="C00000"/>
          </a:solidFill>
        </p:grpSpPr>
        <p:sp>
          <p:nvSpPr>
            <p:cNvPr id="4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71864" y="2492896"/>
              <a:ext cx="4796445" cy="837721"/>
            </a:xfrm>
            <a:custGeom>
              <a:avLst/>
              <a:gdLst>
                <a:gd name="T0" fmla="*/ 3846 w 3846"/>
                <a:gd name="T1" fmla="*/ 0 h 756"/>
                <a:gd name="T2" fmla="*/ 0 w 3846"/>
                <a:gd name="T3" fmla="*/ 0 h 756"/>
                <a:gd name="T4" fmla="*/ 0 w 3846"/>
                <a:gd name="T5" fmla="*/ 756 h 756"/>
                <a:gd name="T6" fmla="*/ 3444 w 3846"/>
                <a:gd name="T7" fmla="*/ 756 h 756"/>
                <a:gd name="T8" fmla="*/ 3509 w 3846"/>
                <a:gd name="T9" fmla="*/ 657 h 756"/>
                <a:gd name="T10" fmla="*/ 3542 w 3846"/>
                <a:gd name="T11" fmla="*/ 591 h 756"/>
                <a:gd name="T12" fmla="*/ 3616 w 3846"/>
                <a:gd name="T13" fmla="*/ 501 h 756"/>
                <a:gd name="T14" fmla="*/ 3649 w 3846"/>
                <a:gd name="T15" fmla="*/ 394 h 756"/>
                <a:gd name="T16" fmla="*/ 3756 w 3846"/>
                <a:gd name="T17" fmla="*/ 189 h 756"/>
                <a:gd name="T18" fmla="*/ 3797 w 3846"/>
                <a:gd name="T19" fmla="*/ 148 h 756"/>
                <a:gd name="T20" fmla="*/ 3846 w 3846"/>
                <a:gd name="T2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6" h="756">
                  <a:moveTo>
                    <a:pt x="3846" y="0"/>
                  </a:moveTo>
                  <a:lnTo>
                    <a:pt x="0" y="0"/>
                  </a:lnTo>
                  <a:lnTo>
                    <a:pt x="0" y="756"/>
                  </a:lnTo>
                  <a:lnTo>
                    <a:pt x="3444" y="756"/>
                  </a:lnTo>
                  <a:lnTo>
                    <a:pt x="3509" y="657"/>
                  </a:lnTo>
                  <a:lnTo>
                    <a:pt x="3542" y="591"/>
                  </a:lnTo>
                  <a:lnTo>
                    <a:pt x="3616" y="501"/>
                  </a:lnTo>
                  <a:lnTo>
                    <a:pt x="3649" y="394"/>
                  </a:lnTo>
                  <a:lnTo>
                    <a:pt x="3756" y="189"/>
                  </a:lnTo>
                  <a:lnTo>
                    <a:pt x="3797" y="148"/>
                  </a:lnTo>
                  <a:lnTo>
                    <a:pt x="3846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/>
            <a:p>
              <a:pPr algn="ctr" fontAlgn="base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2800" kern="0" dirty="0">
                <a:solidFill>
                  <a:sysClr val="window" lastClr="FFFFFF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48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>
              <a:off x="5375920" y="2773012"/>
              <a:ext cx="2208929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kern="0" dirty="0">
                  <a:solidFill>
                    <a:sysClr val="window" lastClr="FFFFFF">
                      <a:lumMod val="95000"/>
                    </a:sysClr>
                  </a:solidFill>
                  <a:latin typeface="微软雅黑" pitchFamily="34" charset="-122"/>
                  <a:ea typeface="微软雅黑" pitchFamily="34" charset="-122"/>
                  <a:cs typeface="宋体" pitchFamily="2" charset="-122"/>
                </a:rPr>
                <a:t>单击此处添加标题</a:t>
              </a:r>
              <a:endParaRPr lang="zh-CN" altLang="en-US" sz="2800" kern="0" dirty="0">
                <a:solidFill>
                  <a:sysClr val="window" lastClr="FFFFFF">
                    <a:lumMod val="95000"/>
                  </a:sysClr>
                </a:solidFill>
                <a:latin typeface="Arial" pitchFamily="34" charset="0"/>
                <a:cs typeface="宋体" pitchFamily="2" charset="-122"/>
              </a:endParaRPr>
            </a:p>
          </p:txBody>
        </p:sp>
      </p:grpSp>
      <p:grpSp>
        <p:nvGrpSpPr>
          <p:cNvPr id="49" name="Group 48出自【趣你的PPT】(微信:qunideppt)：最优质的PPT资源库"/>
          <p:cNvGrpSpPr/>
          <p:nvPr/>
        </p:nvGrpSpPr>
        <p:grpSpPr>
          <a:xfrm>
            <a:off x="4871864" y="3219274"/>
            <a:ext cx="4203109" cy="838829"/>
            <a:chOff x="4871864" y="3443643"/>
            <a:chExt cx="4203109" cy="838829"/>
          </a:xfrm>
          <a:solidFill>
            <a:srgbClr val="C00000"/>
          </a:solidFill>
        </p:grpSpPr>
        <p:sp>
          <p:nvSpPr>
            <p:cNvPr id="5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71864" y="3443643"/>
              <a:ext cx="4203109" cy="838829"/>
            </a:xfrm>
            <a:custGeom>
              <a:avLst/>
              <a:gdLst>
                <a:gd name="T0" fmla="*/ 3370 w 3370"/>
                <a:gd name="T1" fmla="*/ 0 h 757"/>
                <a:gd name="T2" fmla="*/ 0 w 3370"/>
                <a:gd name="T3" fmla="*/ 0 h 757"/>
                <a:gd name="T4" fmla="*/ 0 w 3370"/>
                <a:gd name="T5" fmla="*/ 757 h 757"/>
                <a:gd name="T6" fmla="*/ 2927 w 3370"/>
                <a:gd name="T7" fmla="*/ 757 h 757"/>
                <a:gd name="T8" fmla="*/ 3008 w 3370"/>
                <a:gd name="T9" fmla="*/ 732 h 757"/>
                <a:gd name="T10" fmla="*/ 3082 w 3370"/>
                <a:gd name="T11" fmla="*/ 641 h 757"/>
                <a:gd name="T12" fmla="*/ 3123 w 3370"/>
                <a:gd name="T13" fmla="*/ 485 h 757"/>
                <a:gd name="T14" fmla="*/ 3132 w 3370"/>
                <a:gd name="T15" fmla="*/ 395 h 757"/>
                <a:gd name="T16" fmla="*/ 3239 w 3370"/>
                <a:gd name="T17" fmla="*/ 190 h 757"/>
                <a:gd name="T18" fmla="*/ 3280 w 3370"/>
                <a:gd name="T19" fmla="*/ 149 h 757"/>
                <a:gd name="T20" fmla="*/ 3370 w 3370"/>
                <a:gd name="T21" fmla="*/ 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70" h="757">
                  <a:moveTo>
                    <a:pt x="3370" y="0"/>
                  </a:moveTo>
                  <a:lnTo>
                    <a:pt x="0" y="0"/>
                  </a:lnTo>
                  <a:lnTo>
                    <a:pt x="0" y="757"/>
                  </a:lnTo>
                  <a:lnTo>
                    <a:pt x="2927" y="757"/>
                  </a:lnTo>
                  <a:lnTo>
                    <a:pt x="3008" y="732"/>
                  </a:lnTo>
                  <a:lnTo>
                    <a:pt x="3082" y="641"/>
                  </a:lnTo>
                  <a:lnTo>
                    <a:pt x="3123" y="485"/>
                  </a:lnTo>
                  <a:lnTo>
                    <a:pt x="3132" y="395"/>
                  </a:lnTo>
                  <a:lnTo>
                    <a:pt x="3239" y="190"/>
                  </a:lnTo>
                  <a:lnTo>
                    <a:pt x="3280" y="149"/>
                  </a:lnTo>
                  <a:lnTo>
                    <a:pt x="3370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/>
            <a:p>
              <a:pPr algn="ctr" fontAlgn="base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2800" kern="0" dirty="0">
                <a:solidFill>
                  <a:sysClr val="window" lastClr="FFFFFF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51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>
              <a:off x="5480725" y="3724314"/>
              <a:ext cx="2104124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kern="0" dirty="0">
                  <a:solidFill>
                    <a:sysClr val="window" lastClr="FFFFFF">
                      <a:lumMod val="95000"/>
                    </a:sysClr>
                  </a:solidFill>
                  <a:latin typeface="微软雅黑" pitchFamily="34" charset="-122"/>
                  <a:ea typeface="微软雅黑" pitchFamily="34" charset="-122"/>
                  <a:cs typeface="宋体" pitchFamily="2" charset="-122"/>
                </a:rPr>
                <a:t>单击此处添加标题</a:t>
              </a:r>
              <a:endParaRPr lang="zh-CN" altLang="en-US" sz="2800" kern="0" dirty="0">
                <a:solidFill>
                  <a:sysClr val="window" lastClr="FFFFFF">
                    <a:lumMod val="95000"/>
                  </a:sysClr>
                </a:solidFill>
                <a:latin typeface="Arial" pitchFamily="34" charset="0"/>
                <a:cs typeface="宋体" pitchFamily="2" charset="-122"/>
              </a:endParaRPr>
            </a:p>
          </p:txBody>
        </p:sp>
      </p:grpSp>
      <p:grpSp>
        <p:nvGrpSpPr>
          <p:cNvPr id="52" name="Group 51出自【趣你的PPT】(微信:qunideppt)：最优质的PPT资源库"/>
          <p:cNvGrpSpPr/>
          <p:nvPr/>
        </p:nvGrpSpPr>
        <p:grpSpPr>
          <a:xfrm>
            <a:off x="4871864" y="4171129"/>
            <a:ext cx="3577432" cy="837721"/>
            <a:chOff x="4871864" y="4395498"/>
            <a:chExt cx="3577432" cy="837721"/>
          </a:xfrm>
          <a:solidFill>
            <a:srgbClr val="C00000"/>
          </a:solidFill>
        </p:grpSpPr>
        <p:sp>
          <p:nvSpPr>
            <p:cNvPr id="5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71864" y="4395498"/>
              <a:ext cx="3577432" cy="837721"/>
            </a:xfrm>
            <a:custGeom>
              <a:avLst/>
              <a:gdLst>
                <a:gd name="T0" fmla="*/ 2868 w 2868"/>
                <a:gd name="T1" fmla="*/ 0 h 756"/>
                <a:gd name="T2" fmla="*/ 0 w 2868"/>
                <a:gd name="T3" fmla="*/ 0 h 756"/>
                <a:gd name="T4" fmla="*/ 0 w 2868"/>
                <a:gd name="T5" fmla="*/ 756 h 756"/>
                <a:gd name="T6" fmla="*/ 2120 w 2868"/>
                <a:gd name="T7" fmla="*/ 756 h 756"/>
                <a:gd name="T8" fmla="*/ 2186 w 2868"/>
                <a:gd name="T9" fmla="*/ 691 h 756"/>
                <a:gd name="T10" fmla="*/ 2227 w 2868"/>
                <a:gd name="T11" fmla="*/ 551 h 756"/>
                <a:gd name="T12" fmla="*/ 2400 w 2868"/>
                <a:gd name="T13" fmla="*/ 469 h 756"/>
                <a:gd name="T14" fmla="*/ 2548 w 2868"/>
                <a:gd name="T15" fmla="*/ 387 h 756"/>
                <a:gd name="T16" fmla="*/ 2720 w 2868"/>
                <a:gd name="T17" fmla="*/ 222 h 756"/>
                <a:gd name="T18" fmla="*/ 2761 w 2868"/>
                <a:gd name="T19" fmla="*/ 132 h 756"/>
                <a:gd name="T20" fmla="*/ 2868 w 2868"/>
                <a:gd name="T2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68" h="756">
                  <a:moveTo>
                    <a:pt x="2868" y="0"/>
                  </a:moveTo>
                  <a:lnTo>
                    <a:pt x="0" y="0"/>
                  </a:lnTo>
                  <a:lnTo>
                    <a:pt x="0" y="756"/>
                  </a:lnTo>
                  <a:lnTo>
                    <a:pt x="2120" y="756"/>
                  </a:lnTo>
                  <a:lnTo>
                    <a:pt x="2186" y="691"/>
                  </a:lnTo>
                  <a:lnTo>
                    <a:pt x="2227" y="551"/>
                  </a:lnTo>
                  <a:lnTo>
                    <a:pt x="2400" y="469"/>
                  </a:lnTo>
                  <a:lnTo>
                    <a:pt x="2548" y="387"/>
                  </a:lnTo>
                  <a:lnTo>
                    <a:pt x="2720" y="222"/>
                  </a:lnTo>
                  <a:lnTo>
                    <a:pt x="2761" y="132"/>
                  </a:lnTo>
                  <a:lnTo>
                    <a:pt x="2868" y="0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/>
            <a:p>
              <a:pPr algn="ctr" fontAlgn="base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2800" kern="0" dirty="0">
                <a:solidFill>
                  <a:sysClr val="window" lastClr="FFFFFF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54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>
              <a:off x="5480725" y="4680601"/>
              <a:ext cx="2104124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kern="0" dirty="0">
                  <a:solidFill>
                    <a:sysClr val="window" lastClr="FFFFFF">
                      <a:lumMod val="95000"/>
                    </a:sysClr>
                  </a:solidFill>
                  <a:latin typeface="微软雅黑" pitchFamily="34" charset="-122"/>
                  <a:ea typeface="微软雅黑" pitchFamily="34" charset="-122"/>
                  <a:cs typeface="宋体" pitchFamily="2" charset="-122"/>
                </a:rPr>
                <a:t>单击此处添加标题</a:t>
              </a:r>
              <a:endParaRPr lang="zh-CN" altLang="en-US" sz="2800" kern="0" dirty="0">
                <a:solidFill>
                  <a:sysClr val="window" lastClr="FFFFFF">
                    <a:lumMod val="95000"/>
                  </a:sysClr>
                </a:solidFill>
                <a:latin typeface="Arial" pitchFamily="34" charset="0"/>
                <a:cs typeface="宋体" pitchFamily="2" charset="-122"/>
              </a:endParaRPr>
            </a:p>
          </p:txBody>
        </p:sp>
      </p:grpSp>
      <p:grpSp>
        <p:nvGrpSpPr>
          <p:cNvPr id="55" name="Group 54出自【趣你的PPT】(微信:qunideppt)：最优质的PPT资源库"/>
          <p:cNvGrpSpPr/>
          <p:nvPr/>
        </p:nvGrpSpPr>
        <p:grpSpPr>
          <a:xfrm>
            <a:off x="7721619" y="4171129"/>
            <a:ext cx="3823722" cy="847695"/>
            <a:chOff x="7721619" y="4395498"/>
            <a:chExt cx="3823722" cy="847695"/>
          </a:xfrm>
          <a:solidFill>
            <a:srgbClr val="C00000"/>
          </a:solidFill>
        </p:grpSpPr>
        <p:sp>
          <p:nvSpPr>
            <p:cNvPr id="5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721619" y="4395498"/>
              <a:ext cx="3823722" cy="847695"/>
            </a:xfrm>
            <a:custGeom>
              <a:avLst/>
              <a:gdLst>
                <a:gd name="T0" fmla="*/ 0 w 3066"/>
                <a:gd name="T1" fmla="*/ 765 h 765"/>
                <a:gd name="T2" fmla="*/ 3066 w 3066"/>
                <a:gd name="T3" fmla="*/ 765 h 765"/>
                <a:gd name="T4" fmla="*/ 3066 w 3066"/>
                <a:gd name="T5" fmla="*/ 0 h 765"/>
                <a:gd name="T6" fmla="*/ 748 w 3066"/>
                <a:gd name="T7" fmla="*/ 1 h 765"/>
                <a:gd name="T8" fmla="*/ 649 w 3066"/>
                <a:gd name="T9" fmla="*/ 107 h 765"/>
                <a:gd name="T10" fmla="*/ 600 w 3066"/>
                <a:gd name="T11" fmla="*/ 181 h 765"/>
                <a:gd name="T12" fmla="*/ 542 w 3066"/>
                <a:gd name="T13" fmla="*/ 239 h 765"/>
                <a:gd name="T14" fmla="*/ 476 w 3066"/>
                <a:gd name="T15" fmla="*/ 337 h 765"/>
                <a:gd name="T16" fmla="*/ 402 w 3066"/>
                <a:gd name="T17" fmla="*/ 428 h 765"/>
                <a:gd name="T18" fmla="*/ 304 w 3066"/>
                <a:gd name="T19" fmla="*/ 493 h 765"/>
                <a:gd name="T20" fmla="*/ 82 w 3066"/>
                <a:gd name="T21" fmla="*/ 592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66" h="765">
                  <a:moveTo>
                    <a:pt x="0" y="765"/>
                  </a:moveTo>
                  <a:lnTo>
                    <a:pt x="3066" y="765"/>
                  </a:lnTo>
                  <a:lnTo>
                    <a:pt x="3066" y="0"/>
                  </a:lnTo>
                  <a:lnTo>
                    <a:pt x="748" y="1"/>
                  </a:lnTo>
                  <a:lnTo>
                    <a:pt x="649" y="107"/>
                  </a:lnTo>
                  <a:lnTo>
                    <a:pt x="600" y="181"/>
                  </a:lnTo>
                  <a:lnTo>
                    <a:pt x="542" y="239"/>
                  </a:lnTo>
                  <a:lnTo>
                    <a:pt x="476" y="337"/>
                  </a:lnTo>
                  <a:lnTo>
                    <a:pt x="402" y="428"/>
                  </a:lnTo>
                  <a:lnTo>
                    <a:pt x="304" y="493"/>
                  </a:lnTo>
                  <a:lnTo>
                    <a:pt x="82" y="592"/>
                  </a:lnTo>
                </a:path>
              </a:pathLst>
            </a:custGeom>
            <a:grpFill/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/>
            <a:p>
              <a:pPr algn="ctr" fontAlgn="base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2800" kern="0" dirty="0">
                <a:solidFill>
                  <a:sysClr val="window" lastClr="FFFFFF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57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>
              <a:off x="9528936" y="4680601"/>
              <a:ext cx="1848538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kern="0" dirty="0">
                  <a:solidFill>
                    <a:sysClr val="window" lastClr="FFFFFF">
                      <a:lumMod val="95000"/>
                    </a:sysClr>
                  </a:solidFill>
                  <a:latin typeface="微软雅黑" pitchFamily="34" charset="-122"/>
                  <a:ea typeface="微软雅黑" pitchFamily="34" charset="-122"/>
                  <a:cs typeface="宋体" pitchFamily="2" charset="-122"/>
                </a:rPr>
                <a:t>单击此添加标题</a:t>
              </a:r>
              <a:endParaRPr lang="zh-CN" altLang="en-US" sz="2800" kern="0" dirty="0">
                <a:solidFill>
                  <a:sysClr val="window" lastClr="FFFFFF">
                    <a:lumMod val="95000"/>
                  </a:sysClr>
                </a:solidFill>
                <a:latin typeface="Arial" pitchFamily="34" charset="0"/>
                <a:cs typeface="宋体" pitchFamily="2" charset="-122"/>
              </a:endParaRPr>
            </a:p>
          </p:txBody>
        </p:sp>
      </p:grpSp>
      <p:grpSp>
        <p:nvGrpSpPr>
          <p:cNvPr id="58" name="Group 57出自【趣你的PPT】(微信:qunideppt)：最优质的PPT资源库"/>
          <p:cNvGrpSpPr/>
          <p:nvPr/>
        </p:nvGrpSpPr>
        <p:grpSpPr>
          <a:xfrm>
            <a:off x="8818731" y="3219274"/>
            <a:ext cx="2726610" cy="838829"/>
            <a:chOff x="8818731" y="3443643"/>
            <a:chExt cx="2726610" cy="838829"/>
          </a:xfrm>
          <a:solidFill>
            <a:srgbClr val="C00000"/>
          </a:solidFill>
        </p:grpSpPr>
        <p:sp>
          <p:nvSpPr>
            <p:cNvPr id="5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818731" y="3443643"/>
              <a:ext cx="2726610" cy="838829"/>
            </a:xfrm>
            <a:custGeom>
              <a:avLst/>
              <a:gdLst>
                <a:gd name="T0" fmla="*/ 0 w 2186"/>
                <a:gd name="T1" fmla="*/ 757 h 757"/>
                <a:gd name="T2" fmla="*/ 2186 w 2186"/>
                <a:gd name="T3" fmla="*/ 757 h 757"/>
                <a:gd name="T4" fmla="*/ 2186 w 2186"/>
                <a:gd name="T5" fmla="*/ 0 h 757"/>
                <a:gd name="T6" fmla="*/ 378 w 2186"/>
                <a:gd name="T7" fmla="*/ 0 h 757"/>
                <a:gd name="T8" fmla="*/ 305 w 2186"/>
                <a:gd name="T9" fmla="*/ 100 h 757"/>
                <a:gd name="T10" fmla="*/ 272 w 2186"/>
                <a:gd name="T11" fmla="*/ 166 h 757"/>
                <a:gd name="T12" fmla="*/ 198 w 2186"/>
                <a:gd name="T13" fmla="*/ 256 h 757"/>
                <a:gd name="T14" fmla="*/ 148 w 2186"/>
                <a:gd name="T15" fmla="*/ 337 h 757"/>
                <a:gd name="T16" fmla="*/ 115 w 2186"/>
                <a:gd name="T17" fmla="*/ 469 h 757"/>
                <a:gd name="T18" fmla="*/ 74 w 2186"/>
                <a:gd name="T19" fmla="*/ 609 h 757"/>
                <a:gd name="T20" fmla="*/ 0 w 2186"/>
                <a:gd name="T21" fmla="*/ 757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86" h="757">
                  <a:moveTo>
                    <a:pt x="0" y="757"/>
                  </a:moveTo>
                  <a:lnTo>
                    <a:pt x="2186" y="757"/>
                  </a:lnTo>
                  <a:lnTo>
                    <a:pt x="2186" y="0"/>
                  </a:lnTo>
                  <a:lnTo>
                    <a:pt x="378" y="0"/>
                  </a:lnTo>
                  <a:lnTo>
                    <a:pt x="305" y="100"/>
                  </a:lnTo>
                  <a:lnTo>
                    <a:pt x="272" y="166"/>
                  </a:lnTo>
                  <a:lnTo>
                    <a:pt x="198" y="256"/>
                  </a:lnTo>
                  <a:lnTo>
                    <a:pt x="148" y="337"/>
                  </a:lnTo>
                  <a:lnTo>
                    <a:pt x="115" y="469"/>
                  </a:lnTo>
                  <a:lnTo>
                    <a:pt x="74" y="609"/>
                  </a:lnTo>
                  <a:lnTo>
                    <a:pt x="0" y="757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/>
            <a:p>
              <a:pPr algn="ctr" fontAlgn="base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2800" kern="0" dirty="0">
                <a:solidFill>
                  <a:sysClr val="window" lastClr="FFFFFF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60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>
              <a:off x="9528936" y="3724314"/>
              <a:ext cx="1848538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kern="0" dirty="0">
                  <a:solidFill>
                    <a:sysClr val="window" lastClr="FFFFFF">
                      <a:lumMod val="95000"/>
                    </a:sysClr>
                  </a:solidFill>
                  <a:latin typeface="微软雅黑" pitchFamily="34" charset="-122"/>
                  <a:ea typeface="微软雅黑" pitchFamily="34" charset="-122"/>
                  <a:cs typeface="宋体" pitchFamily="2" charset="-122"/>
                </a:rPr>
                <a:t>单击此添加标题</a:t>
              </a:r>
              <a:endParaRPr lang="zh-CN" altLang="en-US" sz="2800" kern="0" dirty="0">
                <a:solidFill>
                  <a:sysClr val="window" lastClr="FFFFFF">
                    <a:lumMod val="95000"/>
                  </a:sysClr>
                </a:solidFill>
                <a:latin typeface="Arial" pitchFamily="34" charset="0"/>
                <a:cs typeface="宋体" pitchFamily="2" charset="-122"/>
              </a:endParaRPr>
            </a:p>
          </p:txBody>
        </p:sp>
      </p:grpSp>
      <p:grpSp>
        <p:nvGrpSpPr>
          <p:cNvPr id="61" name="Group 60出自【趣你的PPT】(微信:qunideppt)：最优质的PPT资源库"/>
          <p:cNvGrpSpPr/>
          <p:nvPr/>
        </p:nvGrpSpPr>
        <p:grpSpPr>
          <a:xfrm>
            <a:off x="9361068" y="2268527"/>
            <a:ext cx="2184273" cy="837721"/>
            <a:chOff x="9361068" y="2492896"/>
            <a:chExt cx="2184273" cy="837721"/>
          </a:xfrm>
          <a:solidFill>
            <a:srgbClr val="C00000"/>
          </a:solidFill>
        </p:grpSpPr>
        <p:sp>
          <p:nvSpPr>
            <p:cNvPr id="6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361068" y="2492896"/>
              <a:ext cx="2184273" cy="837721"/>
            </a:xfrm>
            <a:custGeom>
              <a:avLst/>
              <a:gdLst>
                <a:gd name="T0" fmla="*/ 0 w 1751"/>
                <a:gd name="T1" fmla="*/ 756 h 756"/>
                <a:gd name="T2" fmla="*/ 1751 w 1751"/>
                <a:gd name="T3" fmla="*/ 756 h 756"/>
                <a:gd name="T4" fmla="*/ 1751 w 1751"/>
                <a:gd name="T5" fmla="*/ 0 h 756"/>
                <a:gd name="T6" fmla="*/ 386 w 1751"/>
                <a:gd name="T7" fmla="*/ 0 h 756"/>
                <a:gd name="T8" fmla="*/ 378 w 1751"/>
                <a:gd name="T9" fmla="*/ 99 h 756"/>
                <a:gd name="T10" fmla="*/ 345 w 1751"/>
                <a:gd name="T11" fmla="*/ 165 h 756"/>
                <a:gd name="T12" fmla="*/ 271 w 1751"/>
                <a:gd name="T13" fmla="*/ 255 h 756"/>
                <a:gd name="T14" fmla="*/ 238 w 1751"/>
                <a:gd name="T15" fmla="*/ 362 h 756"/>
                <a:gd name="T16" fmla="*/ 164 w 1751"/>
                <a:gd name="T17" fmla="*/ 435 h 756"/>
                <a:gd name="T18" fmla="*/ 90 w 1751"/>
                <a:gd name="T19" fmla="*/ 608 h 756"/>
                <a:gd name="T20" fmla="*/ 0 w 1751"/>
                <a:gd name="T21" fmla="*/ 75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51" h="756">
                  <a:moveTo>
                    <a:pt x="0" y="756"/>
                  </a:moveTo>
                  <a:lnTo>
                    <a:pt x="1751" y="756"/>
                  </a:lnTo>
                  <a:lnTo>
                    <a:pt x="1751" y="0"/>
                  </a:lnTo>
                  <a:lnTo>
                    <a:pt x="386" y="0"/>
                  </a:lnTo>
                  <a:lnTo>
                    <a:pt x="378" y="99"/>
                  </a:lnTo>
                  <a:lnTo>
                    <a:pt x="345" y="165"/>
                  </a:lnTo>
                  <a:lnTo>
                    <a:pt x="271" y="255"/>
                  </a:lnTo>
                  <a:lnTo>
                    <a:pt x="238" y="362"/>
                  </a:lnTo>
                  <a:lnTo>
                    <a:pt x="164" y="435"/>
                  </a:lnTo>
                  <a:lnTo>
                    <a:pt x="90" y="608"/>
                  </a:lnTo>
                  <a:lnTo>
                    <a:pt x="0" y="756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rIns="0" anchor="ctr"/>
            <a:lstStyle/>
            <a:p>
              <a:pPr algn="ctr" fontAlgn="base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2800" kern="0" dirty="0">
                <a:solidFill>
                  <a:sysClr val="window" lastClr="FFFFFF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63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>
              <a:off x="9528936" y="2773012"/>
              <a:ext cx="1848538" cy="36933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kern="0" dirty="0">
                  <a:solidFill>
                    <a:sysClr val="window" lastClr="FFFFFF">
                      <a:lumMod val="95000"/>
                    </a:sysClr>
                  </a:solidFill>
                  <a:latin typeface="微软雅黑" pitchFamily="34" charset="-122"/>
                  <a:ea typeface="微软雅黑" pitchFamily="34" charset="-122"/>
                  <a:cs typeface="宋体" pitchFamily="2" charset="-122"/>
                </a:rPr>
                <a:t>单击此添加标题</a:t>
              </a:r>
              <a:endParaRPr lang="zh-CN" altLang="en-US" sz="2800" kern="0" dirty="0">
                <a:solidFill>
                  <a:sysClr val="window" lastClr="FFFFFF">
                    <a:lumMod val="95000"/>
                  </a:sysClr>
                </a:solidFill>
                <a:latin typeface="Arial" pitchFamily="34" charset="0"/>
                <a:cs typeface="宋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1971928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12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13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2" fill="hold" nodeType="with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16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17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2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2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2" fill="hold" nodeType="with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25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26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30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31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2" fill="hold" nodeType="with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34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35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pic>
        <p:nvPicPr>
          <p:cNvPr id="7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87"/>
          <a:stretch/>
        </p:blipFill>
        <p:spPr>
          <a:xfrm>
            <a:off x="2135560" y="3310389"/>
            <a:ext cx="7700483" cy="3556593"/>
          </a:xfrm>
          <a:prstGeom prst="rect">
            <a:avLst/>
          </a:prstGeom>
        </p:spPr>
      </p:pic>
      <p:sp>
        <p:nvSpPr>
          <p:cNvPr id="8" name="出自【趣你的PPT】(微信:qunideppt)：最优质的PPT资源库"/>
          <p:cNvSpPr txBox="1"/>
          <p:nvPr/>
        </p:nvSpPr>
        <p:spPr>
          <a:xfrm>
            <a:off x="1476345" y="3424679"/>
            <a:ext cx="1774338" cy="552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b="1" dirty="0">
                <a:solidFill>
                  <a:prstClr val="black"/>
                </a:solidFill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9" name="出自【趣你的PPT】(微信:qunideppt)：最优质的PPT资源库"/>
          <p:cNvSpPr txBox="1"/>
          <p:nvPr/>
        </p:nvSpPr>
        <p:spPr>
          <a:xfrm>
            <a:off x="4373876" y="2251449"/>
            <a:ext cx="1774337" cy="552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b="1" dirty="0">
                <a:solidFill>
                  <a:prstClr val="black"/>
                </a:solidFill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10" name="出自【趣你的PPT】(微信:qunideppt)：最优质的PPT资源库"/>
          <p:cNvSpPr txBox="1"/>
          <p:nvPr/>
        </p:nvSpPr>
        <p:spPr>
          <a:xfrm>
            <a:off x="6140144" y="3535881"/>
            <a:ext cx="1774337" cy="552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b="1" dirty="0">
                <a:solidFill>
                  <a:prstClr val="black"/>
                </a:solidFill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sp>
        <p:nvSpPr>
          <p:cNvPr id="11" name="出自【趣你的PPT】(微信:qunideppt)：最优质的PPT资源库"/>
          <p:cNvSpPr txBox="1"/>
          <p:nvPr/>
        </p:nvSpPr>
        <p:spPr>
          <a:xfrm>
            <a:off x="8555805" y="2733520"/>
            <a:ext cx="1774337" cy="552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b="1" dirty="0">
                <a:solidFill>
                  <a:prstClr val="black"/>
                </a:solidFill>
                <a:latin typeface="方正正准黑简体" panose="02000000000000000000" pitchFamily="2" charset="-122"/>
                <a:ea typeface="方正正准黑简体" panose="02000000000000000000" pitchFamily="2" charset="-122"/>
              </a:rPr>
              <a:t>内容内容</a:t>
            </a:r>
          </a:p>
        </p:txBody>
      </p:sp>
      <p:grpSp>
        <p:nvGrpSpPr>
          <p:cNvPr id="12" name="Group 11出自【趣你的PPT】(微信:qunideppt)：最优质的PPT资源库"/>
          <p:cNvGrpSpPr/>
          <p:nvPr/>
        </p:nvGrpSpPr>
        <p:grpSpPr>
          <a:xfrm>
            <a:off x="1905704" y="2555659"/>
            <a:ext cx="959129" cy="986456"/>
            <a:chOff x="1905704" y="2555659"/>
            <a:chExt cx="959129" cy="986456"/>
          </a:xfrm>
          <a:solidFill>
            <a:srgbClr val="C00000"/>
          </a:solidFill>
        </p:grpSpPr>
        <p:sp>
          <p:nvSpPr>
            <p:cNvPr id="13" name="出自【趣你的PPT】(微信:qunideppt)：最优质的PPT资源库"/>
            <p:cNvSpPr/>
            <p:nvPr/>
          </p:nvSpPr>
          <p:spPr>
            <a:xfrm>
              <a:off x="1905704" y="2555659"/>
              <a:ext cx="959129" cy="9591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4" name="出自【趣你的PPT】(微信:qunideppt)：最优质的PPT资源库"/>
            <p:cNvSpPr/>
            <p:nvPr/>
          </p:nvSpPr>
          <p:spPr>
            <a:xfrm>
              <a:off x="2168736" y="2696379"/>
              <a:ext cx="472370" cy="8457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altLang="zh-CN" sz="3600" dirty="0">
                  <a:solidFill>
                    <a:prstClr val="white"/>
                  </a:solidFill>
                  <a:latin typeface="Impact" panose="020B0806030902050204" pitchFamily="34" charset="0"/>
                  <a:ea typeface="方正正大黑简体" panose="02000000000000000000" pitchFamily="2" charset="-122"/>
                </a:rPr>
                <a:t>1</a:t>
              </a:r>
              <a:endParaRPr lang="zh-CN" altLang="en-US" sz="3600" dirty="0">
                <a:solidFill>
                  <a:prstClr val="white"/>
                </a:solidFill>
                <a:latin typeface="Impact" panose="020B0806030902050204" pitchFamily="34" charset="0"/>
                <a:ea typeface="方正正大黑简体" panose="02000000000000000000" pitchFamily="2" charset="-122"/>
              </a:endParaRPr>
            </a:p>
          </p:txBody>
        </p:sp>
      </p:grpSp>
      <p:grpSp>
        <p:nvGrpSpPr>
          <p:cNvPr id="16" name="Group 15出自【趣你的PPT】(微信:qunideppt)：最优质的PPT资源库"/>
          <p:cNvGrpSpPr/>
          <p:nvPr/>
        </p:nvGrpSpPr>
        <p:grpSpPr>
          <a:xfrm>
            <a:off x="4773411" y="1336541"/>
            <a:ext cx="959129" cy="964966"/>
            <a:chOff x="4773411" y="1336541"/>
            <a:chExt cx="959129" cy="964966"/>
          </a:xfrm>
          <a:solidFill>
            <a:srgbClr val="C00000"/>
          </a:solidFill>
        </p:grpSpPr>
        <p:sp>
          <p:nvSpPr>
            <p:cNvPr id="17" name="出自【趣你的PPT】(微信:qunideppt)：最优质的PPT资源库"/>
            <p:cNvSpPr/>
            <p:nvPr/>
          </p:nvSpPr>
          <p:spPr>
            <a:xfrm>
              <a:off x="4773411" y="1336541"/>
              <a:ext cx="959129" cy="9591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" name="出自【趣你的PPT】(微信:qunideppt)：最优质的PPT资源库"/>
            <p:cNvSpPr/>
            <p:nvPr/>
          </p:nvSpPr>
          <p:spPr>
            <a:xfrm>
              <a:off x="5048891" y="1455771"/>
              <a:ext cx="545786" cy="8457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altLang="zh-CN" sz="3600" dirty="0">
                  <a:solidFill>
                    <a:prstClr val="white"/>
                  </a:solidFill>
                  <a:latin typeface="Impact" panose="020B0806030902050204" pitchFamily="34" charset="0"/>
                  <a:ea typeface="方正正大黑简体" panose="02000000000000000000" pitchFamily="2" charset="-122"/>
                </a:rPr>
                <a:t>2</a:t>
              </a:r>
              <a:endParaRPr lang="zh-CN" altLang="en-US" sz="3600" dirty="0">
                <a:solidFill>
                  <a:prstClr val="white"/>
                </a:solidFill>
                <a:latin typeface="Impact" panose="020B0806030902050204" pitchFamily="34" charset="0"/>
                <a:ea typeface="方正正大黑简体" panose="02000000000000000000" pitchFamily="2" charset="-122"/>
              </a:endParaRPr>
            </a:p>
          </p:txBody>
        </p:sp>
      </p:grpSp>
      <p:grpSp>
        <p:nvGrpSpPr>
          <p:cNvPr id="19" name="Group 18出自【趣你的PPT】(微信:qunideppt)：最优质的PPT资源库"/>
          <p:cNvGrpSpPr/>
          <p:nvPr/>
        </p:nvGrpSpPr>
        <p:grpSpPr>
          <a:xfrm>
            <a:off x="6591702" y="2644811"/>
            <a:ext cx="959129" cy="995440"/>
            <a:chOff x="6591702" y="2644811"/>
            <a:chExt cx="959129" cy="995440"/>
          </a:xfrm>
          <a:solidFill>
            <a:srgbClr val="C00000"/>
          </a:solidFill>
        </p:grpSpPr>
        <p:sp>
          <p:nvSpPr>
            <p:cNvPr id="20" name="出自【趣你的PPT】(微信:qunideppt)：最优质的PPT资源库"/>
            <p:cNvSpPr/>
            <p:nvPr/>
          </p:nvSpPr>
          <p:spPr>
            <a:xfrm>
              <a:off x="6591702" y="2644811"/>
              <a:ext cx="959129" cy="9591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" name="出自【趣你的PPT】(微信:qunideppt)：最优质的PPT资源库"/>
            <p:cNvSpPr/>
            <p:nvPr/>
          </p:nvSpPr>
          <p:spPr>
            <a:xfrm>
              <a:off x="6814099" y="2794515"/>
              <a:ext cx="562566" cy="8457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altLang="zh-CN" sz="3600" dirty="0">
                  <a:solidFill>
                    <a:prstClr val="white"/>
                  </a:solidFill>
                  <a:latin typeface="Impact" panose="020B0806030902050204" pitchFamily="34" charset="0"/>
                  <a:ea typeface="方正正大黑简体" panose="02000000000000000000" pitchFamily="2" charset="-122"/>
                </a:rPr>
                <a:t>3</a:t>
              </a:r>
              <a:endParaRPr lang="zh-CN" altLang="en-US" sz="3600" dirty="0">
                <a:solidFill>
                  <a:prstClr val="white"/>
                </a:solidFill>
                <a:latin typeface="Impact" panose="020B0806030902050204" pitchFamily="34" charset="0"/>
                <a:ea typeface="方正正大黑简体" panose="02000000000000000000" pitchFamily="2" charset="-122"/>
              </a:endParaRPr>
            </a:p>
          </p:txBody>
        </p:sp>
      </p:grpSp>
      <p:grpSp>
        <p:nvGrpSpPr>
          <p:cNvPr id="22" name="Group 21出自【趣你的PPT】(微信:qunideppt)：最优质的PPT资源库"/>
          <p:cNvGrpSpPr/>
          <p:nvPr/>
        </p:nvGrpSpPr>
        <p:grpSpPr>
          <a:xfrm>
            <a:off x="8956832" y="1805800"/>
            <a:ext cx="959129" cy="1039834"/>
            <a:chOff x="8956832" y="1805800"/>
            <a:chExt cx="959129" cy="1039834"/>
          </a:xfrm>
          <a:solidFill>
            <a:srgbClr val="C00000"/>
          </a:solidFill>
        </p:grpSpPr>
        <p:sp>
          <p:nvSpPr>
            <p:cNvPr id="23" name="出自【趣你的PPT】(微信:qunideppt)：最优质的PPT资源库"/>
            <p:cNvSpPr/>
            <p:nvPr/>
          </p:nvSpPr>
          <p:spPr>
            <a:xfrm>
              <a:off x="8956832" y="1805800"/>
              <a:ext cx="959129" cy="9591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4" name="出自【趣你的PPT】(微信:qunideppt)：最优质的PPT资源库"/>
            <p:cNvSpPr/>
            <p:nvPr/>
          </p:nvSpPr>
          <p:spPr>
            <a:xfrm>
              <a:off x="9230913" y="1999898"/>
              <a:ext cx="543687" cy="8457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altLang="zh-CN" sz="3600" dirty="0">
                  <a:solidFill>
                    <a:prstClr val="white"/>
                  </a:solidFill>
                  <a:latin typeface="Impact" panose="020B0806030902050204" pitchFamily="34" charset="0"/>
                  <a:ea typeface="方正正大黑简体" panose="02000000000000000000" pitchFamily="2" charset="-122"/>
                </a:rPr>
                <a:t>4</a:t>
              </a:r>
              <a:endParaRPr lang="zh-CN" altLang="en-US" sz="3600" dirty="0">
                <a:solidFill>
                  <a:prstClr val="white"/>
                </a:solidFill>
                <a:latin typeface="Impact" panose="020B0806030902050204" pitchFamily="34" charset="0"/>
                <a:ea typeface="方正正大黑简体" panose="02000000000000000000" pitchFamily="2" charset="-122"/>
              </a:endParaRPr>
            </a:p>
          </p:txBody>
        </p:sp>
      </p:grpSp>
      <p:cxnSp>
        <p:nvCxnSpPr>
          <p:cNvPr id="25" name="出自【趣你的PPT】(微信:qunideppt)：最优质的PPT资源库"/>
          <p:cNvCxnSpPr>
            <a:endCxn id="17" idx="2"/>
          </p:cNvCxnSpPr>
          <p:nvPr/>
        </p:nvCxnSpPr>
        <p:spPr>
          <a:xfrm flipV="1">
            <a:off x="2880965" y="1816106"/>
            <a:ext cx="1892446" cy="1168292"/>
          </a:xfrm>
          <a:prstGeom prst="line">
            <a:avLst/>
          </a:prstGeom>
          <a:ln w="38100">
            <a:solidFill>
              <a:srgbClr val="A6A6A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出自【趣你的PPT】(微信:qunideppt)：最优质的PPT资源库"/>
          <p:cNvCxnSpPr>
            <a:stCxn id="17" idx="6"/>
            <a:endCxn id="20" idx="1"/>
          </p:cNvCxnSpPr>
          <p:nvPr/>
        </p:nvCxnSpPr>
        <p:spPr>
          <a:xfrm>
            <a:off x="5732541" y="1816106"/>
            <a:ext cx="999622" cy="969166"/>
          </a:xfrm>
          <a:prstGeom prst="line">
            <a:avLst/>
          </a:prstGeom>
          <a:ln w="38100">
            <a:solidFill>
              <a:srgbClr val="A6A6A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出自【趣你的PPT】(微信:qunideppt)：最优质的PPT资源库"/>
          <p:cNvCxnSpPr>
            <a:stCxn id="20" idx="6"/>
            <a:endCxn id="23" idx="2"/>
          </p:cNvCxnSpPr>
          <p:nvPr/>
        </p:nvCxnSpPr>
        <p:spPr>
          <a:xfrm flipV="1">
            <a:off x="7550831" y="2285365"/>
            <a:ext cx="1406001" cy="839011"/>
          </a:xfrm>
          <a:prstGeom prst="line">
            <a:avLst/>
          </a:prstGeom>
          <a:ln w="38100">
            <a:solidFill>
              <a:srgbClr val="A6A6A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8039284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90" name="出自【趣你的PPT】(微信:qunideppt)：最优质的PPT资源库"/>
          <p:cNvSpPr>
            <a:spLocks/>
          </p:cNvSpPr>
          <p:nvPr/>
        </p:nvSpPr>
        <p:spPr bwMode="auto">
          <a:xfrm>
            <a:off x="1829384" y="1585925"/>
            <a:ext cx="1810171" cy="2072766"/>
          </a:xfrm>
          <a:custGeom>
            <a:avLst/>
            <a:gdLst>
              <a:gd name="T0" fmla="*/ 381 w 426"/>
              <a:gd name="T1" fmla="*/ 0 h 540"/>
              <a:gd name="T2" fmla="*/ 46 w 426"/>
              <a:gd name="T3" fmla="*/ 0 h 540"/>
              <a:gd name="T4" fmla="*/ 0 w 426"/>
              <a:gd name="T5" fmla="*/ 46 h 540"/>
              <a:gd name="T6" fmla="*/ 0 w 426"/>
              <a:gd name="T7" fmla="*/ 380 h 540"/>
              <a:gd name="T8" fmla="*/ 46 w 426"/>
              <a:gd name="T9" fmla="*/ 426 h 540"/>
              <a:gd name="T10" fmla="*/ 164 w 426"/>
              <a:gd name="T11" fmla="*/ 426 h 540"/>
              <a:gd name="T12" fmla="*/ 213 w 426"/>
              <a:gd name="T13" fmla="*/ 540 h 540"/>
              <a:gd name="T14" fmla="*/ 264 w 426"/>
              <a:gd name="T15" fmla="*/ 426 h 540"/>
              <a:gd name="T16" fmla="*/ 381 w 426"/>
              <a:gd name="T17" fmla="*/ 426 h 540"/>
              <a:gd name="T18" fmla="*/ 426 w 426"/>
              <a:gd name="T19" fmla="*/ 380 h 540"/>
              <a:gd name="T20" fmla="*/ 426 w 426"/>
              <a:gd name="T21" fmla="*/ 46 h 540"/>
              <a:gd name="T22" fmla="*/ 381 w 426"/>
              <a:gd name="T23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26" h="540">
                <a:moveTo>
                  <a:pt x="381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6"/>
                </a:cubicBezTo>
                <a:cubicBezTo>
                  <a:pt x="0" y="380"/>
                  <a:pt x="0" y="380"/>
                  <a:pt x="0" y="380"/>
                </a:cubicBezTo>
                <a:cubicBezTo>
                  <a:pt x="0" y="405"/>
                  <a:pt x="21" y="426"/>
                  <a:pt x="46" y="426"/>
                </a:cubicBezTo>
                <a:cubicBezTo>
                  <a:pt x="164" y="426"/>
                  <a:pt x="164" y="426"/>
                  <a:pt x="164" y="426"/>
                </a:cubicBezTo>
                <a:cubicBezTo>
                  <a:pt x="213" y="540"/>
                  <a:pt x="213" y="540"/>
                  <a:pt x="213" y="540"/>
                </a:cubicBezTo>
                <a:cubicBezTo>
                  <a:pt x="264" y="426"/>
                  <a:pt x="264" y="426"/>
                  <a:pt x="264" y="426"/>
                </a:cubicBezTo>
                <a:cubicBezTo>
                  <a:pt x="381" y="426"/>
                  <a:pt x="381" y="426"/>
                  <a:pt x="381" y="426"/>
                </a:cubicBezTo>
                <a:cubicBezTo>
                  <a:pt x="406" y="426"/>
                  <a:pt x="426" y="405"/>
                  <a:pt x="426" y="380"/>
                </a:cubicBezTo>
                <a:cubicBezTo>
                  <a:pt x="426" y="46"/>
                  <a:pt x="426" y="46"/>
                  <a:pt x="426" y="46"/>
                </a:cubicBezTo>
                <a:cubicBezTo>
                  <a:pt x="426" y="20"/>
                  <a:pt x="406" y="0"/>
                  <a:pt x="381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1" name="出自【趣你的PPT】(微信:qunideppt)：最优质的PPT资源库"/>
          <p:cNvSpPr>
            <a:spLocks/>
          </p:cNvSpPr>
          <p:nvPr/>
        </p:nvSpPr>
        <p:spPr bwMode="auto">
          <a:xfrm>
            <a:off x="4094213" y="1585925"/>
            <a:ext cx="1810171" cy="2072766"/>
          </a:xfrm>
          <a:custGeom>
            <a:avLst/>
            <a:gdLst>
              <a:gd name="T0" fmla="*/ 380 w 426"/>
              <a:gd name="T1" fmla="*/ 0 h 540"/>
              <a:gd name="T2" fmla="*/ 46 w 426"/>
              <a:gd name="T3" fmla="*/ 0 h 540"/>
              <a:gd name="T4" fmla="*/ 0 w 426"/>
              <a:gd name="T5" fmla="*/ 46 h 540"/>
              <a:gd name="T6" fmla="*/ 0 w 426"/>
              <a:gd name="T7" fmla="*/ 380 h 540"/>
              <a:gd name="T8" fmla="*/ 46 w 426"/>
              <a:gd name="T9" fmla="*/ 426 h 540"/>
              <a:gd name="T10" fmla="*/ 164 w 426"/>
              <a:gd name="T11" fmla="*/ 426 h 540"/>
              <a:gd name="T12" fmla="*/ 213 w 426"/>
              <a:gd name="T13" fmla="*/ 540 h 540"/>
              <a:gd name="T14" fmla="*/ 264 w 426"/>
              <a:gd name="T15" fmla="*/ 426 h 540"/>
              <a:gd name="T16" fmla="*/ 380 w 426"/>
              <a:gd name="T17" fmla="*/ 426 h 540"/>
              <a:gd name="T18" fmla="*/ 426 w 426"/>
              <a:gd name="T19" fmla="*/ 380 h 540"/>
              <a:gd name="T20" fmla="*/ 426 w 426"/>
              <a:gd name="T21" fmla="*/ 46 h 540"/>
              <a:gd name="T22" fmla="*/ 380 w 426"/>
              <a:gd name="T23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26" h="540">
                <a:moveTo>
                  <a:pt x="380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6"/>
                </a:cubicBezTo>
                <a:cubicBezTo>
                  <a:pt x="0" y="380"/>
                  <a:pt x="0" y="380"/>
                  <a:pt x="0" y="380"/>
                </a:cubicBezTo>
                <a:cubicBezTo>
                  <a:pt x="0" y="405"/>
                  <a:pt x="21" y="426"/>
                  <a:pt x="46" y="426"/>
                </a:cubicBezTo>
                <a:cubicBezTo>
                  <a:pt x="164" y="426"/>
                  <a:pt x="164" y="426"/>
                  <a:pt x="164" y="426"/>
                </a:cubicBezTo>
                <a:cubicBezTo>
                  <a:pt x="213" y="540"/>
                  <a:pt x="213" y="540"/>
                  <a:pt x="213" y="540"/>
                </a:cubicBezTo>
                <a:cubicBezTo>
                  <a:pt x="264" y="426"/>
                  <a:pt x="264" y="426"/>
                  <a:pt x="264" y="426"/>
                </a:cubicBezTo>
                <a:cubicBezTo>
                  <a:pt x="380" y="426"/>
                  <a:pt x="380" y="426"/>
                  <a:pt x="380" y="426"/>
                </a:cubicBezTo>
                <a:cubicBezTo>
                  <a:pt x="406" y="426"/>
                  <a:pt x="426" y="405"/>
                  <a:pt x="426" y="380"/>
                </a:cubicBezTo>
                <a:cubicBezTo>
                  <a:pt x="426" y="46"/>
                  <a:pt x="426" y="46"/>
                  <a:pt x="426" y="46"/>
                </a:cubicBezTo>
                <a:cubicBezTo>
                  <a:pt x="426" y="20"/>
                  <a:pt x="406" y="0"/>
                  <a:pt x="380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2" name="出自【趣你的PPT】(微信:qunideppt)：最优质的PPT资源库"/>
          <p:cNvSpPr>
            <a:spLocks/>
          </p:cNvSpPr>
          <p:nvPr/>
        </p:nvSpPr>
        <p:spPr bwMode="auto">
          <a:xfrm>
            <a:off x="6359042" y="1591456"/>
            <a:ext cx="1810171" cy="2072766"/>
          </a:xfrm>
          <a:custGeom>
            <a:avLst/>
            <a:gdLst>
              <a:gd name="T0" fmla="*/ 380 w 426"/>
              <a:gd name="T1" fmla="*/ 0 h 540"/>
              <a:gd name="T2" fmla="*/ 46 w 426"/>
              <a:gd name="T3" fmla="*/ 0 h 540"/>
              <a:gd name="T4" fmla="*/ 0 w 426"/>
              <a:gd name="T5" fmla="*/ 46 h 540"/>
              <a:gd name="T6" fmla="*/ 0 w 426"/>
              <a:gd name="T7" fmla="*/ 380 h 540"/>
              <a:gd name="T8" fmla="*/ 46 w 426"/>
              <a:gd name="T9" fmla="*/ 426 h 540"/>
              <a:gd name="T10" fmla="*/ 164 w 426"/>
              <a:gd name="T11" fmla="*/ 426 h 540"/>
              <a:gd name="T12" fmla="*/ 213 w 426"/>
              <a:gd name="T13" fmla="*/ 540 h 540"/>
              <a:gd name="T14" fmla="*/ 264 w 426"/>
              <a:gd name="T15" fmla="*/ 426 h 540"/>
              <a:gd name="T16" fmla="*/ 380 w 426"/>
              <a:gd name="T17" fmla="*/ 426 h 540"/>
              <a:gd name="T18" fmla="*/ 426 w 426"/>
              <a:gd name="T19" fmla="*/ 380 h 540"/>
              <a:gd name="T20" fmla="*/ 426 w 426"/>
              <a:gd name="T21" fmla="*/ 46 h 540"/>
              <a:gd name="T22" fmla="*/ 380 w 426"/>
              <a:gd name="T23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26" h="540">
                <a:moveTo>
                  <a:pt x="380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6"/>
                </a:cubicBezTo>
                <a:cubicBezTo>
                  <a:pt x="0" y="380"/>
                  <a:pt x="0" y="380"/>
                  <a:pt x="0" y="380"/>
                </a:cubicBezTo>
                <a:cubicBezTo>
                  <a:pt x="0" y="405"/>
                  <a:pt x="21" y="426"/>
                  <a:pt x="46" y="426"/>
                </a:cubicBezTo>
                <a:cubicBezTo>
                  <a:pt x="164" y="426"/>
                  <a:pt x="164" y="426"/>
                  <a:pt x="164" y="426"/>
                </a:cubicBezTo>
                <a:cubicBezTo>
                  <a:pt x="213" y="540"/>
                  <a:pt x="213" y="540"/>
                  <a:pt x="213" y="540"/>
                </a:cubicBezTo>
                <a:cubicBezTo>
                  <a:pt x="264" y="426"/>
                  <a:pt x="264" y="426"/>
                  <a:pt x="264" y="426"/>
                </a:cubicBezTo>
                <a:cubicBezTo>
                  <a:pt x="380" y="426"/>
                  <a:pt x="380" y="426"/>
                  <a:pt x="380" y="426"/>
                </a:cubicBezTo>
                <a:cubicBezTo>
                  <a:pt x="406" y="426"/>
                  <a:pt x="426" y="405"/>
                  <a:pt x="426" y="380"/>
                </a:cubicBezTo>
                <a:cubicBezTo>
                  <a:pt x="426" y="46"/>
                  <a:pt x="426" y="46"/>
                  <a:pt x="426" y="46"/>
                </a:cubicBezTo>
                <a:cubicBezTo>
                  <a:pt x="426" y="20"/>
                  <a:pt x="406" y="0"/>
                  <a:pt x="3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3" name="出自【趣你的PPT】(微信:qunideppt)：最优质的PPT资源库"/>
          <p:cNvSpPr>
            <a:spLocks/>
          </p:cNvSpPr>
          <p:nvPr/>
        </p:nvSpPr>
        <p:spPr bwMode="auto">
          <a:xfrm>
            <a:off x="8623871" y="1591876"/>
            <a:ext cx="1810171" cy="2072766"/>
          </a:xfrm>
          <a:custGeom>
            <a:avLst/>
            <a:gdLst>
              <a:gd name="T0" fmla="*/ 380 w 426"/>
              <a:gd name="T1" fmla="*/ 0 h 540"/>
              <a:gd name="T2" fmla="*/ 46 w 426"/>
              <a:gd name="T3" fmla="*/ 0 h 540"/>
              <a:gd name="T4" fmla="*/ 0 w 426"/>
              <a:gd name="T5" fmla="*/ 46 h 540"/>
              <a:gd name="T6" fmla="*/ 0 w 426"/>
              <a:gd name="T7" fmla="*/ 380 h 540"/>
              <a:gd name="T8" fmla="*/ 46 w 426"/>
              <a:gd name="T9" fmla="*/ 426 h 540"/>
              <a:gd name="T10" fmla="*/ 164 w 426"/>
              <a:gd name="T11" fmla="*/ 426 h 540"/>
              <a:gd name="T12" fmla="*/ 213 w 426"/>
              <a:gd name="T13" fmla="*/ 540 h 540"/>
              <a:gd name="T14" fmla="*/ 263 w 426"/>
              <a:gd name="T15" fmla="*/ 426 h 540"/>
              <a:gd name="T16" fmla="*/ 380 w 426"/>
              <a:gd name="T17" fmla="*/ 426 h 540"/>
              <a:gd name="T18" fmla="*/ 426 w 426"/>
              <a:gd name="T19" fmla="*/ 380 h 540"/>
              <a:gd name="T20" fmla="*/ 426 w 426"/>
              <a:gd name="T21" fmla="*/ 46 h 540"/>
              <a:gd name="T22" fmla="*/ 380 w 426"/>
              <a:gd name="T23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26" h="540">
                <a:moveTo>
                  <a:pt x="380" y="0"/>
                </a:moveTo>
                <a:cubicBezTo>
                  <a:pt x="46" y="0"/>
                  <a:pt x="46" y="0"/>
                  <a:pt x="46" y="0"/>
                </a:cubicBezTo>
                <a:cubicBezTo>
                  <a:pt x="20" y="0"/>
                  <a:pt x="0" y="20"/>
                  <a:pt x="0" y="46"/>
                </a:cubicBezTo>
                <a:cubicBezTo>
                  <a:pt x="0" y="380"/>
                  <a:pt x="0" y="380"/>
                  <a:pt x="0" y="380"/>
                </a:cubicBezTo>
                <a:cubicBezTo>
                  <a:pt x="0" y="405"/>
                  <a:pt x="20" y="426"/>
                  <a:pt x="46" y="426"/>
                </a:cubicBezTo>
                <a:cubicBezTo>
                  <a:pt x="164" y="426"/>
                  <a:pt x="164" y="426"/>
                  <a:pt x="164" y="426"/>
                </a:cubicBezTo>
                <a:cubicBezTo>
                  <a:pt x="213" y="540"/>
                  <a:pt x="213" y="540"/>
                  <a:pt x="213" y="540"/>
                </a:cubicBezTo>
                <a:cubicBezTo>
                  <a:pt x="263" y="426"/>
                  <a:pt x="263" y="426"/>
                  <a:pt x="263" y="426"/>
                </a:cubicBezTo>
                <a:cubicBezTo>
                  <a:pt x="380" y="426"/>
                  <a:pt x="380" y="426"/>
                  <a:pt x="380" y="426"/>
                </a:cubicBezTo>
                <a:cubicBezTo>
                  <a:pt x="405" y="426"/>
                  <a:pt x="426" y="405"/>
                  <a:pt x="426" y="380"/>
                </a:cubicBezTo>
                <a:cubicBezTo>
                  <a:pt x="426" y="46"/>
                  <a:pt x="426" y="46"/>
                  <a:pt x="426" y="46"/>
                </a:cubicBezTo>
                <a:cubicBezTo>
                  <a:pt x="426" y="20"/>
                  <a:pt x="405" y="0"/>
                  <a:pt x="380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4" name="出自【趣你的PPT】(微信:qunideppt)：最优质的PPT资源库"/>
          <p:cNvSpPr txBox="1"/>
          <p:nvPr/>
        </p:nvSpPr>
        <p:spPr>
          <a:xfrm>
            <a:off x="1930702" y="1865320"/>
            <a:ext cx="160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出自【趣你的PPT】(微信:qunideppt)：最优质的PPT资源库"/>
          <p:cNvSpPr txBox="1"/>
          <p:nvPr/>
        </p:nvSpPr>
        <p:spPr>
          <a:xfrm>
            <a:off x="4195530" y="1865319"/>
            <a:ext cx="160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出自【趣你的PPT】(微信:qunideppt)：最优质的PPT资源库"/>
          <p:cNvSpPr txBox="1"/>
          <p:nvPr/>
        </p:nvSpPr>
        <p:spPr>
          <a:xfrm>
            <a:off x="6460359" y="1865318"/>
            <a:ext cx="160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出自【趣你的PPT】(微信:qunideppt)：最优质的PPT资源库"/>
          <p:cNvSpPr txBox="1"/>
          <p:nvPr/>
        </p:nvSpPr>
        <p:spPr>
          <a:xfrm>
            <a:off x="8725188" y="1865318"/>
            <a:ext cx="16075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出自【趣你的PPT】(微信:qunideppt)：最优质的PPT资源库"/>
          <p:cNvSpPr/>
          <p:nvPr/>
        </p:nvSpPr>
        <p:spPr>
          <a:xfrm>
            <a:off x="1829384" y="4034197"/>
            <a:ext cx="8604658" cy="122413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sp>
        <p:nvSpPr>
          <p:cNvPr id="99" name="出自【趣你的PPT】(微信:qunideppt)：最优质的PPT资源库"/>
          <p:cNvSpPr txBox="1"/>
          <p:nvPr/>
        </p:nvSpPr>
        <p:spPr>
          <a:xfrm>
            <a:off x="2927618" y="4333547"/>
            <a:ext cx="4698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5" name="出自【趣你的PPT】(微信:qunideppt)：最优质的PPT资源库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7995" y="4350307"/>
            <a:ext cx="591916" cy="591916"/>
          </a:xfrm>
          <a:prstGeom prst="rect">
            <a:avLst/>
          </a:prstGeom>
        </p:spPr>
      </p:pic>
      <p:sp>
        <p:nvSpPr>
          <p:cNvPr id="23" name="出自【趣你的PPT】(微信:qunideppt)：最优质的PPT资源库"/>
          <p:cNvSpPr txBox="1"/>
          <p:nvPr/>
        </p:nvSpPr>
        <p:spPr>
          <a:xfrm>
            <a:off x="2927618" y="4703102"/>
            <a:ext cx="4698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45586054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5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2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75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91" grpId="0" animBg="1"/>
      <p:bldP spid="92" grpId="0" animBg="1"/>
      <p:bldP spid="93" grpId="0" animBg="1"/>
      <p:bldP spid="94" grpId="0"/>
      <p:bldP spid="95" grpId="0"/>
      <p:bldP spid="96" grpId="0"/>
      <p:bldP spid="97" grpId="0"/>
      <p:bldP spid="98" grpId="0" animBg="1"/>
      <p:bldP spid="99" grpId="0"/>
      <p:bldP spid="2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6" name="Group 75出自【趣你的PPT】(微信:qunideppt)：最优质的PPT资源库"/>
          <p:cNvGrpSpPr/>
          <p:nvPr/>
        </p:nvGrpSpPr>
        <p:grpSpPr>
          <a:xfrm>
            <a:off x="2206382" y="1707435"/>
            <a:ext cx="3251187" cy="3251184"/>
            <a:chOff x="2358938" y="1846950"/>
            <a:chExt cx="3251187" cy="3251184"/>
          </a:xfrm>
        </p:grpSpPr>
        <p:sp>
          <p:nvSpPr>
            <p:cNvPr id="7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358938" y="2510871"/>
              <a:ext cx="947735" cy="1933478"/>
            </a:xfrm>
            <a:custGeom>
              <a:avLst/>
              <a:gdLst>
                <a:gd name="T0" fmla="*/ 4712 w 100"/>
                <a:gd name="T1" fmla="*/ 16633 h 204"/>
                <a:gd name="T2" fmla="*/ 0 w 100"/>
                <a:gd name="T3" fmla="*/ 20145 h 204"/>
                <a:gd name="T4" fmla="*/ 4712 w 100"/>
                <a:gd name="T5" fmla="*/ 23698 h 204"/>
                <a:gd name="T6" fmla="*/ 11931 w 100"/>
                <a:gd name="T7" fmla="*/ 39927 h 204"/>
                <a:gd name="T8" fmla="*/ 18995 w 100"/>
                <a:gd name="T9" fmla="*/ 32708 h 204"/>
                <a:gd name="T10" fmla="*/ 14493 w 100"/>
                <a:gd name="T11" fmla="*/ 20145 h 204"/>
                <a:gd name="T12" fmla="*/ 19568 w 100"/>
                <a:gd name="T13" fmla="*/ 7065 h 204"/>
                <a:gd name="T14" fmla="*/ 12507 w 100"/>
                <a:gd name="T15" fmla="*/ 0 h 204"/>
                <a:gd name="T16" fmla="*/ 4712 w 100"/>
                <a:gd name="T17" fmla="*/ 16633 h 2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204">
                  <a:moveTo>
                    <a:pt x="24" y="85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8" y="153"/>
                    <a:pt x="41" y="181"/>
                    <a:pt x="61" y="204"/>
                  </a:cubicBezTo>
                  <a:cubicBezTo>
                    <a:pt x="97" y="167"/>
                    <a:pt x="97" y="167"/>
                    <a:pt x="97" y="167"/>
                  </a:cubicBezTo>
                  <a:cubicBezTo>
                    <a:pt x="83" y="150"/>
                    <a:pt x="74" y="128"/>
                    <a:pt x="74" y="103"/>
                  </a:cubicBezTo>
                  <a:cubicBezTo>
                    <a:pt x="74" y="78"/>
                    <a:pt x="84" y="54"/>
                    <a:pt x="100" y="3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2" y="23"/>
                    <a:pt x="28" y="53"/>
                    <a:pt x="24" y="8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94985" y="4150399"/>
              <a:ext cx="1979094" cy="947735"/>
            </a:xfrm>
            <a:custGeom>
              <a:avLst/>
              <a:gdLst>
                <a:gd name="T0" fmla="*/ 7036 w 209"/>
                <a:gd name="T1" fmla="*/ 0 h 100"/>
                <a:gd name="T2" fmla="*/ 0 w 209"/>
                <a:gd name="T3" fmla="*/ 7065 h 100"/>
                <a:gd name="T4" fmla="*/ 17373 w 209"/>
                <a:gd name="T5" fmla="*/ 15637 h 100"/>
                <a:gd name="T6" fmla="*/ 20302 w 209"/>
                <a:gd name="T7" fmla="*/ 19568 h 100"/>
                <a:gd name="T8" fmla="*/ 23374 w 209"/>
                <a:gd name="T9" fmla="*/ 15637 h 100"/>
                <a:gd name="T10" fmla="*/ 40747 w 209"/>
                <a:gd name="T11" fmla="*/ 7847 h 100"/>
                <a:gd name="T12" fmla="*/ 33710 w 209"/>
                <a:gd name="T13" fmla="*/ 782 h 100"/>
                <a:gd name="T14" fmla="*/ 20668 w 209"/>
                <a:gd name="T15" fmla="*/ 5861 h 100"/>
                <a:gd name="T16" fmla="*/ 7036 w 209"/>
                <a:gd name="T17" fmla="*/ 0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9" h="100">
                  <a:moveTo>
                    <a:pt x="36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3" y="60"/>
                    <a:pt x="54" y="76"/>
                    <a:pt x="89" y="80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54" y="77"/>
                    <a:pt x="185" y="62"/>
                    <a:pt x="209" y="40"/>
                  </a:cubicBezTo>
                  <a:cubicBezTo>
                    <a:pt x="173" y="4"/>
                    <a:pt x="173" y="4"/>
                    <a:pt x="173" y="4"/>
                  </a:cubicBezTo>
                  <a:cubicBezTo>
                    <a:pt x="155" y="20"/>
                    <a:pt x="132" y="30"/>
                    <a:pt x="106" y="30"/>
                  </a:cubicBezTo>
                  <a:cubicBezTo>
                    <a:pt x="79" y="30"/>
                    <a:pt x="54" y="18"/>
                    <a:pt x="36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012722" y="1846950"/>
              <a:ext cx="1933481" cy="957871"/>
            </a:xfrm>
            <a:custGeom>
              <a:avLst/>
              <a:gdLst>
                <a:gd name="T0" fmla="*/ 19991 w 204"/>
                <a:gd name="T1" fmla="*/ 0 h 101"/>
                <a:gd name="T2" fmla="*/ 16423 w 204"/>
                <a:gd name="T3" fmla="*/ 4719 h 101"/>
                <a:gd name="T4" fmla="*/ 0 w 204"/>
                <a:gd name="T5" fmla="*/ 12732 h 101"/>
                <a:gd name="T6" fmla="*/ 7065 w 204"/>
                <a:gd name="T7" fmla="*/ 19821 h 101"/>
                <a:gd name="T8" fmla="*/ 20354 w 204"/>
                <a:gd name="T9" fmla="*/ 14525 h 101"/>
                <a:gd name="T10" fmla="*/ 32861 w 204"/>
                <a:gd name="T11" fmla="*/ 19035 h 101"/>
                <a:gd name="T12" fmla="*/ 39927 w 204"/>
                <a:gd name="T13" fmla="*/ 11946 h 101"/>
                <a:gd name="T14" fmla="*/ 23488 w 204"/>
                <a:gd name="T15" fmla="*/ 4719 h 101"/>
                <a:gd name="T16" fmla="*/ 19991 w 204"/>
                <a:gd name="T17" fmla="*/ 0 h 1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4" h="101">
                  <a:moveTo>
                    <a:pt x="102" y="0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52" y="29"/>
                    <a:pt x="23" y="43"/>
                    <a:pt x="0" y="65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4" y="84"/>
                    <a:pt x="78" y="74"/>
                    <a:pt x="104" y="74"/>
                  </a:cubicBezTo>
                  <a:cubicBezTo>
                    <a:pt x="129" y="74"/>
                    <a:pt x="151" y="83"/>
                    <a:pt x="168" y="97"/>
                  </a:cubicBezTo>
                  <a:cubicBezTo>
                    <a:pt x="204" y="61"/>
                    <a:pt x="204" y="61"/>
                    <a:pt x="204" y="61"/>
                  </a:cubicBezTo>
                  <a:cubicBezTo>
                    <a:pt x="182" y="41"/>
                    <a:pt x="152" y="27"/>
                    <a:pt x="120" y="24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662390" y="2482996"/>
              <a:ext cx="947735" cy="1989227"/>
            </a:xfrm>
            <a:custGeom>
              <a:avLst/>
              <a:gdLst>
                <a:gd name="T0" fmla="*/ 15637 w 100"/>
                <a:gd name="T1" fmla="*/ 17760 h 210"/>
                <a:gd name="T2" fmla="*/ 7065 w 100"/>
                <a:gd name="T3" fmla="*/ 0 h 210"/>
                <a:gd name="T4" fmla="*/ 0 w 100"/>
                <a:gd name="T5" fmla="*/ 7058 h 210"/>
                <a:gd name="T6" fmla="*/ 5861 w 100"/>
                <a:gd name="T7" fmla="*/ 20679 h 210"/>
                <a:gd name="T8" fmla="*/ 572 w 100"/>
                <a:gd name="T9" fmla="*/ 33957 h 210"/>
                <a:gd name="T10" fmla="*/ 7637 w 100"/>
                <a:gd name="T11" fmla="*/ 40999 h 210"/>
                <a:gd name="T12" fmla="*/ 15637 w 100"/>
                <a:gd name="T13" fmla="*/ 23823 h 210"/>
                <a:gd name="T14" fmla="*/ 19568 w 100"/>
                <a:gd name="T15" fmla="*/ 20679 h 210"/>
                <a:gd name="T16" fmla="*/ 15637 w 100"/>
                <a:gd name="T17" fmla="*/ 17760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210">
                  <a:moveTo>
                    <a:pt x="80" y="91"/>
                  </a:moveTo>
                  <a:cubicBezTo>
                    <a:pt x="76" y="55"/>
                    <a:pt x="60" y="24"/>
                    <a:pt x="3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8" y="54"/>
                    <a:pt x="30" y="79"/>
                    <a:pt x="30" y="106"/>
                  </a:cubicBezTo>
                  <a:cubicBezTo>
                    <a:pt x="30" y="133"/>
                    <a:pt x="19" y="156"/>
                    <a:pt x="3" y="174"/>
                  </a:cubicBezTo>
                  <a:cubicBezTo>
                    <a:pt x="39" y="210"/>
                    <a:pt x="39" y="210"/>
                    <a:pt x="39" y="210"/>
                  </a:cubicBezTo>
                  <a:cubicBezTo>
                    <a:pt x="61" y="187"/>
                    <a:pt x="76" y="156"/>
                    <a:pt x="80" y="122"/>
                  </a:cubicBezTo>
                  <a:cubicBezTo>
                    <a:pt x="100" y="106"/>
                    <a:pt x="100" y="106"/>
                    <a:pt x="100" y="106"/>
                  </a:cubicBezTo>
                  <a:lnTo>
                    <a:pt x="80" y="91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81" name="Group 80出自【趣你的PPT】(微信:qunideppt)：最优质的PPT资源库"/>
          <p:cNvGrpSpPr/>
          <p:nvPr/>
        </p:nvGrpSpPr>
        <p:grpSpPr>
          <a:xfrm>
            <a:off x="1486712" y="3139171"/>
            <a:ext cx="484005" cy="407981"/>
            <a:chOff x="1081602" y="2471024"/>
            <a:chExt cx="337082" cy="284136"/>
          </a:xfrm>
          <a:solidFill>
            <a:srgbClr val="C00000"/>
          </a:solidFill>
        </p:grpSpPr>
        <p:sp>
          <p:nvSpPr>
            <p:cNvPr id="8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122193" y="2523969"/>
              <a:ext cx="250605" cy="231191"/>
            </a:xfrm>
            <a:custGeom>
              <a:avLst/>
              <a:gdLst>
                <a:gd name="T0" fmla="*/ 71 w 142"/>
                <a:gd name="T1" fmla="*/ 0 h 131"/>
                <a:gd name="T2" fmla="*/ 37 w 142"/>
                <a:gd name="T3" fmla="*/ 26 h 131"/>
                <a:gd name="T4" fmla="*/ 0 w 142"/>
                <a:gd name="T5" fmla="*/ 56 h 131"/>
                <a:gd name="T6" fmla="*/ 0 w 142"/>
                <a:gd name="T7" fmla="*/ 131 h 131"/>
                <a:gd name="T8" fmla="*/ 52 w 142"/>
                <a:gd name="T9" fmla="*/ 131 h 131"/>
                <a:gd name="T10" fmla="*/ 52 w 142"/>
                <a:gd name="T11" fmla="*/ 67 h 131"/>
                <a:gd name="T12" fmla="*/ 90 w 142"/>
                <a:gd name="T13" fmla="*/ 67 h 131"/>
                <a:gd name="T14" fmla="*/ 90 w 142"/>
                <a:gd name="T15" fmla="*/ 131 h 131"/>
                <a:gd name="T16" fmla="*/ 142 w 142"/>
                <a:gd name="T17" fmla="*/ 131 h 131"/>
                <a:gd name="T18" fmla="*/ 142 w 142"/>
                <a:gd name="T19" fmla="*/ 56 h 131"/>
                <a:gd name="T20" fmla="*/ 108 w 142"/>
                <a:gd name="T21" fmla="*/ 26 h 131"/>
                <a:gd name="T22" fmla="*/ 71 w 142"/>
                <a:gd name="T23" fmla="*/ 0 h 1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2" h="131">
                  <a:moveTo>
                    <a:pt x="71" y="0"/>
                  </a:moveTo>
                  <a:lnTo>
                    <a:pt x="37" y="26"/>
                  </a:lnTo>
                  <a:lnTo>
                    <a:pt x="0" y="56"/>
                  </a:lnTo>
                  <a:lnTo>
                    <a:pt x="0" y="131"/>
                  </a:lnTo>
                  <a:lnTo>
                    <a:pt x="52" y="131"/>
                  </a:lnTo>
                  <a:lnTo>
                    <a:pt x="52" y="67"/>
                  </a:lnTo>
                  <a:lnTo>
                    <a:pt x="90" y="67"/>
                  </a:lnTo>
                  <a:lnTo>
                    <a:pt x="90" y="131"/>
                  </a:lnTo>
                  <a:lnTo>
                    <a:pt x="142" y="131"/>
                  </a:lnTo>
                  <a:lnTo>
                    <a:pt x="142" y="56"/>
                  </a:lnTo>
                  <a:lnTo>
                    <a:pt x="108" y="26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81602" y="2471024"/>
              <a:ext cx="337082" cy="151775"/>
            </a:xfrm>
            <a:custGeom>
              <a:avLst/>
              <a:gdLst>
                <a:gd name="T0" fmla="*/ 154 w 191"/>
                <a:gd name="T1" fmla="*/ 45 h 86"/>
                <a:gd name="T2" fmla="*/ 154 w 191"/>
                <a:gd name="T3" fmla="*/ 7 h 86"/>
                <a:gd name="T4" fmla="*/ 127 w 191"/>
                <a:gd name="T5" fmla="*/ 7 h 86"/>
                <a:gd name="T6" fmla="*/ 127 w 191"/>
                <a:gd name="T7" fmla="*/ 22 h 86"/>
                <a:gd name="T8" fmla="*/ 109 w 191"/>
                <a:gd name="T9" fmla="*/ 11 h 86"/>
                <a:gd name="T10" fmla="*/ 98 w 191"/>
                <a:gd name="T11" fmla="*/ 0 h 86"/>
                <a:gd name="T12" fmla="*/ 83 w 191"/>
                <a:gd name="T13" fmla="*/ 11 h 86"/>
                <a:gd name="T14" fmla="*/ 0 w 191"/>
                <a:gd name="T15" fmla="*/ 75 h 86"/>
                <a:gd name="T16" fmla="*/ 12 w 191"/>
                <a:gd name="T17" fmla="*/ 86 h 86"/>
                <a:gd name="T18" fmla="*/ 98 w 191"/>
                <a:gd name="T19" fmla="*/ 19 h 86"/>
                <a:gd name="T20" fmla="*/ 184 w 191"/>
                <a:gd name="T21" fmla="*/ 86 h 86"/>
                <a:gd name="T22" fmla="*/ 191 w 191"/>
                <a:gd name="T23" fmla="*/ 75 h 86"/>
                <a:gd name="T24" fmla="*/ 154 w 191"/>
                <a:gd name="T25" fmla="*/ 45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1" h="86">
                  <a:moveTo>
                    <a:pt x="154" y="45"/>
                  </a:moveTo>
                  <a:lnTo>
                    <a:pt x="154" y="7"/>
                  </a:lnTo>
                  <a:lnTo>
                    <a:pt x="127" y="7"/>
                  </a:lnTo>
                  <a:lnTo>
                    <a:pt x="127" y="22"/>
                  </a:lnTo>
                  <a:lnTo>
                    <a:pt x="109" y="11"/>
                  </a:lnTo>
                  <a:lnTo>
                    <a:pt x="98" y="0"/>
                  </a:lnTo>
                  <a:lnTo>
                    <a:pt x="83" y="11"/>
                  </a:lnTo>
                  <a:lnTo>
                    <a:pt x="0" y="75"/>
                  </a:lnTo>
                  <a:lnTo>
                    <a:pt x="12" y="86"/>
                  </a:lnTo>
                  <a:lnTo>
                    <a:pt x="98" y="19"/>
                  </a:lnTo>
                  <a:lnTo>
                    <a:pt x="184" y="86"/>
                  </a:lnTo>
                  <a:lnTo>
                    <a:pt x="191" y="75"/>
                  </a:lnTo>
                  <a:lnTo>
                    <a:pt x="154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4" name="Group 83出自【趣你的PPT】(微信:qunideppt)：最优质的PPT资源库"/>
          <p:cNvGrpSpPr/>
          <p:nvPr/>
        </p:nvGrpSpPr>
        <p:grpSpPr>
          <a:xfrm>
            <a:off x="5697673" y="3015005"/>
            <a:ext cx="283813" cy="712066"/>
            <a:chOff x="3938852" y="2384549"/>
            <a:chExt cx="197660" cy="495914"/>
          </a:xfrm>
          <a:solidFill>
            <a:srgbClr val="C00000"/>
          </a:solidFill>
        </p:grpSpPr>
        <p:sp>
          <p:nvSpPr>
            <p:cNvPr id="8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938852" y="2471024"/>
              <a:ext cx="197660" cy="409439"/>
            </a:xfrm>
            <a:custGeom>
              <a:avLst/>
              <a:gdLst>
                <a:gd name="T0" fmla="*/ 4473 w 30"/>
                <a:gd name="T1" fmla="*/ 0 h 62"/>
                <a:gd name="T2" fmla="*/ 1561 w 30"/>
                <a:gd name="T3" fmla="*/ 0 h 62"/>
                <a:gd name="T4" fmla="*/ 0 w 30"/>
                <a:gd name="T5" fmla="*/ 1149 h 62"/>
                <a:gd name="T6" fmla="*/ 0 w 30"/>
                <a:gd name="T7" fmla="*/ 1149 h 62"/>
                <a:gd name="T8" fmla="*/ 0 w 30"/>
                <a:gd name="T9" fmla="*/ 1358 h 62"/>
                <a:gd name="T10" fmla="*/ 0 w 30"/>
                <a:gd name="T11" fmla="*/ 5504 h 62"/>
                <a:gd name="T12" fmla="*/ 362 w 30"/>
                <a:gd name="T13" fmla="*/ 5867 h 62"/>
                <a:gd name="T14" fmla="*/ 989 w 30"/>
                <a:gd name="T15" fmla="*/ 5504 h 62"/>
                <a:gd name="T16" fmla="*/ 989 w 30"/>
                <a:gd name="T17" fmla="*/ 1931 h 62"/>
                <a:gd name="T18" fmla="*/ 1351 w 30"/>
                <a:gd name="T19" fmla="*/ 1931 h 62"/>
                <a:gd name="T20" fmla="*/ 1351 w 30"/>
                <a:gd name="T21" fmla="*/ 5291 h 62"/>
                <a:gd name="T22" fmla="*/ 1351 w 30"/>
                <a:gd name="T23" fmla="*/ 5504 h 62"/>
                <a:gd name="T24" fmla="*/ 1351 w 30"/>
                <a:gd name="T25" fmla="*/ 11581 h 62"/>
                <a:gd name="T26" fmla="*/ 2132 w 30"/>
                <a:gd name="T27" fmla="*/ 12154 h 62"/>
                <a:gd name="T28" fmla="*/ 2703 w 30"/>
                <a:gd name="T29" fmla="*/ 11581 h 62"/>
                <a:gd name="T30" fmla="*/ 2703 w 30"/>
                <a:gd name="T31" fmla="*/ 6077 h 62"/>
                <a:gd name="T32" fmla="*/ 3121 w 30"/>
                <a:gd name="T33" fmla="*/ 6077 h 62"/>
                <a:gd name="T34" fmla="*/ 3121 w 30"/>
                <a:gd name="T35" fmla="*/ 11581 h 62"/>
                <a:gd name="T36" fmla="*/ 3692 w 30"/>
                <a:gd name="T37" fmla="*/ 12154 h 62"/>
                <a:gd name="T38" fmla="*/ 4473 w 30"/>
                <a:gd name="T39" fmla="*/ 11581 h 62"/>
                <a:gd name="T40" fmla="*/ 4473 w 30"/>
                <a:gd name="T41" fmla="*/ 5291 h 62"/>
                <a:gd name="T42" fmla="*/ 4473 w 30"/>
                <a:gd name="T43" fmla="*/ 5291 h 62"/>
                <a:gd name="T44" fmla="*/ 4473 w 30"/>
                <a:gd name="T45" fmla="*/ 1931 h 62"/>
                <a:gd name="T46" fmla="*/ 4835 w 30"/>
                <a:gd name="T47" fmla="*/ 1931 h 62"/>
                <a:gd name="T48" fmla="*/ 4835 w 30"/>
                <a:gd name="T49" fmla="*/ 5504 h 62"/>
                <a:gd name="T50" fmla="*/ 5253 w 30"/>
                <a:gd name="T51" fmla="*/ 5867 h 62"/>
                <a:gd name="T52" fmla="*/ 5828 w 30"/>
                <a:gd name="T53" fmla="*/ 5504 h 62"/>
                <a:gd name="T54" fmla="*/ 5828 w 30"/>
                <a:gd name="T55" fmla="*/ 1358 h 62"/>
                <a:gd name="T56" fmla="*/ 5828 w 30"/>
                <a:gd name="T57" fmla="*/ 1149 h 62"/>
                <a:gd name="T58" fmla="*/ 5828 w 30"/>
                <a:gd name="T59" fmla="*/ 995 h 62"/>
                <a:gd name="T60" fmla="*/ 4473 w 30"/>
                <a:gd name="T61" fmla="*/ 0 h 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30" h="62">
                  <a:moveTo>
                    <a:pt x="2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2" y="0"/>
                    <a:pt x="0" y="4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4" y="30"/>
                    <a:pt x="5" y="29"/>
                    <a:pt x="5" y="28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8"/>
                    <a:pt x="7" y="28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1"/>
                    <a:pt x="9" y="62"/>
                    <a:pt x="11" y="62"/>
                  </a:cubicBezTo>
                  <a:cubicBezTo>
                    <a:pt x="13" y="62"/>
                    <a:pt x="14" y="61"/>
                    <a:pt x="14" y="59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61"/>
                    <a:pt x="17" y="62"/>
                    <a:pt x="19" y="62"/>
                  </a:cubicBezTo>
                  <a:cubicBezTo>
                    <a:pt x="21" y="62"/>
                    <a:pt x="23" y="61"/>
                    <a:pt x="23" y="59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29"/>
                    <a:pt x="26" y="30"/>
                    <a:pt x="27" y="30"/>
                  </a:cubicBezTo>
                  <a:cubicBezTo>
                    <a:pt x="29" y="30"/>
                    <a:pt x="30" y="29"/>
                    <a:pt x="30" y="28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4"/>
                    <a:pt x="28" y="0"/>
                    <a:pt x="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6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3998856" y="2384549"/>
              <a:ext cx="79418" cy="794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87" name="出自【趣你的PPT】(微信:qunideppt)：最优质的PPT资源库"/>
          <p:cNvSpPr>
            <a:spLocks/>
          </p:cNvSpPr>
          <p:nvPr/>
        </p:nvSpPr>
        <p:spPr bwMode="auto">
          <a:xfrm>
            <a:off x="3534224" y="5052380"/>
            <a:ext cx="595502" cy="539752"/>
          </a:xfrm>
          <a:custGeom>
            <a:avLst/>
            <a:gdLst>
              <a:gd name="T0" fmla="*/ 0 w 63"/>
              <a:gd name="T1" fmla="*/ 10751 h 57"/>
              <a:gd name="T2" fmla="*/ 780 w 63"/>
              <a:gd name="T3" fmla="*/ 11117 h 57"/>
              <a:gd name="T4" fmla="*/ 2130 w 63"/>
              <a:gd name="T5" fmla="*/ 8770 h 57"/>
              <a:gd name="T6" fmla="*/ 7736 w 63"/>
              <a:gd name="T7" fmla="*/ 7623 h 57"/>
              <a:gd name="T8" fmla="*/ 12201 w 63"/>
              <a:gd name="T9" fmla="*/ 0 h 57"/>
              <a:gd name="T10" fmla="*/ 1559 w 63"/>
              <a:gd name="T11" fmla="*/ 8408 h 57"/>
              <a:gd name="T12" fmla="*/ 6595 w 63"/>
              <a:gd name="T13" fmla="*/ 3337 h 57"/>
              <a:gd name="T14" fmla="*/ 0 w 63"/>
              <a:gd name="T15" fmla="*/ 10751 h 5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3" h="57">
                <a:moveTo>
                  <a:pt x="0" y="55"/>
                </a:moveTo>
                <a:cubicBezTo>
                  <a:pt x="0" y="55"/>
                  <a:pt x="0" y="57"/>
                  <a:pt x="4" y="57"/>
                </a:cubicBezTo>
                <a:cubicBezTo>
                  <a:pt x="3" y="54"/>
                  <a:pt x="11" y="45"/>
                  <a:pt x="11" y="45"/>
                </a:cubicBezTo>
                <a:cubicBezTo>
                  <a:pt x="11" y="45"/>
                  <a:pt x="25" y="54"/>
                  <a:pt x="40" y="39"/>
                </a:cubicBezTo>
                <a:cubicBezTo>
                  <a:pt x="54" y="23"/>
                  <a:pt x="44" y="11"/>
                  <a:pt x="63" y="0"/>
                </a:cubicBezTo>
                <a:cubicBezTo>
                  <a:pt x="17" y="10"/>
                  <a:pt x="7" y="24"/>
                  <a:pt x="8" y="43"/>
                </a:cubicBezTo>
                <a:cubicBezTo>
                  <a:pt x="12" y="34"/>
                  <a:pt x="24" y="22"/>
                  <a:pt x="34" y="17"/>
                </a:cubicBezTo>
                <a:cubicBezTo>
                  <a:pt x="17" y="29"/>
                  <a:pt x="5" y="47"/>
                  <a:pt x="0" y="55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8" name="出自【趣你的PPT】(微信:qunideppt)：最优质的PPT资源库"/>
          <p:cNvSpPr>
            <a:spLocks/>
          </p:cNvSpPr>
          <p:nvPr/>
        </p:nvSpPr>
        <p:spPr bwMode="auto">
          <a:xfrm>
            <a:off x="3589973" y="1205693"/>
            <a:ext cx="473869" cy="418117"/>
          </a:xfrm>
          <a:custGeom>
            <a:avLst/>
            <a:gdLst>
              <a:gd name="T0" fmla="*/ 4922 w 50"/>
              <a:gd name="T1" fmla="*/ 1800 h 44"/>
              <a:gd name="T2" fmla="*/ 2349 w 50"/>
              <a:gd name="T3" fmla="*/ 0 h 44"/>
              <a:gd name="T4" fmla="*/ 209 w 50"/>
              <a:gd name="T5" fmla="*/ 2955 h 44"/>
              <a:gd name="T6" fmla="*/ 4712 w 50"/>
              <a:gd name="T7" fmla="*/ 8704 h 44"/>
              <a:gd name="T8" fmla="*/ 9567 w 50"/>
              <a:gd name="T9" fmla="*/ 2955 h 44"/>
              <a:gd name="T10" fmla="*/ 7428 w 50"/>
              <a:gd name="T11" fmla="*/ 0 h 44"/>
              <a:gd name="T12" fmla="*/ 4922 w 50"/>
              <a:gd name="T13" fmla="*/ 1800 h 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0" h="44">
                <a:moveTo>
                  <a:pt x="25" y="9"/>
                </a:moveTo>
                <a:cubicBezTo>
                  <a:pt x="22" y="3"/>
                  <a:pt x="19" y="0"/>
                  <a:pt x="12" y="0"/>
                </a:cubicBezTo>
                <a:cubicBezTo>
                  <a:pt x="3" y="1"/>
                  <a:pt x="0" y="7"/>
                  <a:pt x="1" y="15"/>
                </a:cubicBezTo>
                <a:cubicBezTo>
                  <a:pt x="2" y="25"/>
                  <a:pt x="15" y="31"/>
                  <a:pt x="24" y="44"/>
                </a:cubicBezTo>
                <a:cubicBezTo>
                  <a:pt x="34" y="32"/>
                  <a:pt x="48" y="26"/>
                  <a:pt x="49" y="15"/>
                </a:cubicBezTo>
                <a:cubicBezTo>
                  <a:pt x="50" y="7"/>
                  <a:pt x="46" y="1"/>
                  <a:pt x="38" y="0"/>
                </a:cubicBezTo>
                <a:cubicBezTo>
                  <a:pt x="31" y="0"/>
                  <a:pt x="27" y="3"/>
                  <a:pt x="25" y="9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9" name="出自【趣你的PPT】(微信:qunideppt)：最优质的PPT资源库"/>
          <p:cNvSpPr>
            <a:spLocks/>
          </p:cNvSpPr>
          <p:nvPr/>
        </p:nvSpPr>
        <p:spPr bwMode="auto">
          <a:xfrm>
            <a:off x="3080631" y="3906989"/>
            <a:ext cx="27874" cy="38010"/>
          </a:xfrm>
          <a:custGeom>
            <a:avLst/>
            <a:gdLst>
              <a:gd name="T0" fmla="*/ 2147483647 w 3"/>
              <a:gd name="T1" fmla="*/ 2147483647 h 4"/>
              <a:gd name="T2" fmla="*/ 2147483647 w 3"/>
              <a:gd name="T3" fmla="*/ 2147483647 h 4"/>
              <a:gd name="T4" fmla="*/ 0 w 3"/>
              <a:gd name="T5" fmla="*/ 2147483647 h 4"/>
              <a:gd name="T6" fmla="*/ 0 w 3"/>
              <a:gd name="T7" fmla="*/ 2147483647 h 4"/>
              <a:gd name="T8" fmla="*/ 0 w 3"/>
              <a:gd name="T9" fmla="*/ 0 h 4"/>
              <a:gd name="T10" fmla="*/ 0 w 3"/>
              <a:gd name="T11" fmla="*/ 0 h 4"/>
              <a:gd name="T12" fmla="*/ 0 w 3"/>
              <a:gd name="T13" fmla="*/ 2147483647 h 4"/>
              <a:gd name="T14" fmla="*/ 0 w 3"/>
              <a:gd name="T15" fmla="*/ 2147483647 h 4"/>
              <a:gd name="T16" fmla="*/ 2147483647 w 3"/>
              <a:gd name="T17" fmla="*/ 2147483647 h 4"/>
              <a:gd name="T18" fmla="*/ 2147483647 w 3"/>
              <a:gd name="T19" fmla="*/ 2147483647 h 4"/>
              <a:gd name="T20" fmla="*/ 2147483647 w 3"/>
              <a:gd name="T21" fmla="*/ 0 h 4"/>
              <a:gd name="T22" fmla="*/ 2147483647 w 3"/>
              <a:gd name="T23" fmla="*/ 0 h 4"/>
              <a:gd name="T24" fmla="*/ 2147483647 w 3"/>
              <a:gd name="T25" fmla="*/ 2147483647 h 4"/>
              <a:gd name="T26" fmla="*/ 2147483647 w 3"/>
              <a:gd name="T27" fmla="*/ 2147483647 h 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" h="4">
                <a:moveTo>
                  <a:pt x="2" y="4"/>
                </a:moveTo>
                <a:cubicBezTo>
                  <a:pt x="2" y="4"/>
                  <a:pt x="2" y="4"/>
                  <a:pt x="1" y="4"/>
                </a:cubicBezTo>
                <a:cubicBezTo>
                  <a:pt x="1" y="4"/>
                  <a:pt x="0" y="4"/>
                  <a:pt x="0" y="4"/>
                </a:cubicBezTo>
                <a:cubicBezTo>
                  <a:pt x="0" y="3"/>
                  <a:pt x="0" y="3"/>
                  <a:pt x="0" y="3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4"/>
                  <a:pt x="1" y="4"/>
                  <a:pt x="1" y="4"/>
                </a:cubicBezTo>
                <a:cubicBezTo>
                  <a:pt x="2" y="4"/>
                  <a:pt x="2" y="3"/>
                  <a:pt x="2" y="3"/>
                </a:cubicBezTo>
                <a:cubicBezTo>
                  <a:pt x="2" y="0"/>
                  <a:pt x="2" y="0"/>
                  <a:pt x="2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2" y="3"/>
                  <a:pt x="2" y="4"/>
                </a:cubicBez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0" name="出自【趣你的PPT】(微信:qunideppt)：最优质的PPT资源库"/>
          <p:cNvSpPr>
            <a:spLocks/>
          </p:cNvSpPr>
          <p:nvPr/>
        </p:nvSpPr>
        <p:spPr bwMode="auto">
          <a:xfrm>
            <a:off x="3118639" y="3906989"/>
            <a:ext cx="17739" cy="3801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0 h 4"/>
              <a:gd name="T4" fmla="*/ 2147483647 w 2"/>
              <a:gd name="T5" fmla="*/ 0 h 4"/>
              <a:gd name="T6" fmla="*/ 2147483647 w 2"/>
              <a:gd name="T7" fmla="*/ 2147483647 h 4"/>
              <a:gd name="T8" fmla="*/ 0 w 2"/>
              <a:gd name="T9" fmla="*/ 2147483647 h 4"/>
              <a:gd name="T10" fmla="*/ 0 w 2"/>
              <a:gd name="T11" fmla="*/ 2147483647 h 4"/>
              <a:gd name="T12" fmla="*/ 0 w 2"/>
              <a:gd name="T13" fmla="*/ 2147483647 h 4"/>
              <a:gd name="T14" fmla="*/ 0 w 2"/>
              <a:gd name="T15" fmla="*/ 2147483647 h 4"/>
              <a:gd name="T16" fmla="*/ 0 w 2"/>
              <a:gd name="T17" fmla="*/ 2147483647 h 4"/>
              <a:gd name="T18" fmla="*/ 0 w 2"/>
              <a:gd name="T19" fmla="*/ 0 h 4"/>
              <a:gd name="T20" fmla="*/ 0 w 2"/>
              <a:gd name="T21" fmla="*/ 0 h 4"/>
              <a:gd name="T22" fmla="*/ 0 w 2"/>
              <a:gd name="T23" fmla="*/ 2147483647 h 4"/>
              <a:gd name="T24" fmla="*/ 2147483647 w 2"/>
              <a:gd name="T25" fmla="*/ 0 h 4"/>
              <a:gd name="T26" fmla="*/ 2147483647 w 2"/>
              <a:gd name="T27" fmla="*/ 0 h 4"/>
              <a:gd name="T28" fmla="*/ 2147483647 w 2"/>
              <a:gd name="T29" fmla="*/ 0 h 4"/>
              <a:gd name="T30" fmla="*/ 2147483647 w 2"/>
              <a:gd name="T31" fmla="*/ 0 h 4"/>
              <a:gd name="T32" fmla="*/ 2147483647 w 2"/>
              <a:gd name="T33" fmla="*/ 2147483647 h 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4">
                <a:moveTo>
                  <a:pt x="2" y="1"/>
                </a:moveTo>
                <a:cubicBezTo>
                  <a:pt x="2" y="1"/>
                  <a:pt x="1" y="1"/>
                  <a:pt x="1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1"/>
                </a:cubicBezTo>
                <a:cubicBezTo>
                  <a:pt x="1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4"/>
                  <a:pt x="0" y="4"/>
                  <a:pt x="0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cubicBezTo>
                  <a:pt x="2" y="0"/>
                  <a:pt x="2" y="0"/>
                  <a:pt x="2" y="0"/>
                </a:cubicBezTo>
                <a:lnTo>
                  <a:pt x="2" y="1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1" name="出自【趣你的PPT】(微信:qunideppt)：最优质的PPT资源库"/>
          <p:cNvSpPr txBox="1"/>
          <p:nvPr/>
        </p:nvSpPr>
        <p:spPr bwMode="auto">
          <a:xfrm>
            <a:off x="4280921" y="5156533"/>
            <a:ext cx="1056700" cy="30777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400" spc="3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添加标题</a:t>
            </a:r>
          </a:p>
        </p:txBody>
      </p:sp>
      <p:sp>
        <p:nvSpPr>
          <p:cNvPr id="92" name="出自【趣你的PPT】(微信:qunideppt)：最优质的PPT资源库"/>
          <p:cNvSpPr txBox="1"/>
          <p:nvPr/>
        </p:nvSpPr>
        <p:spPr bwMode="auto">
          <a:xfrm>
            <a:off x="1200364" y="3725563"/>
            <a:ext cx="1056700" cy="307776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EBAC07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pPr>
              <a:defRPr/>
            </a:pPr>
            <a:r>
              <a:rPr lang="zh-CN" altLang="en-US" sz="1400" dirty="0">
                <a:solidFill>
                  <a:prstClr val="black"/>
                </a:solidFill>
              </a:rPr>
              <a:t>添加标题</a:t>
            </a:r>
          </a:p>
        </p:txBody>
      </p:sp>
      <p:sp>
        <p:nvSpPr>
          <p:cNvPr id="93" name="出自【趣你的PPT】(微信:qunideppt)：最优质的PPT资源库"/>
          <p:cNvSpPr txBox="1"/>
          <p:nvPr/>
        </p:nvSpPr>
        <p:spPr bwMode="auto">
          <a:xfrm>
            <a:off x="4108592" y="1275536"/>
            <a:ext cx="1056700" cy="307776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sz="1400" dirty="0">
                <a:solidFill>
                  <a:sysClr val="windowText" lastClr="000000"/>
                </a:solidFill>
              </a:rPr>
              <a:t>添加标题</a:t>
            </a:r>
          </a:p>
        </p:txBody>
      </p:sp>
      <p:sp>
        <p:nvSpPr>
          <p:cNvPr id="94" name="出自【趣你的PPT】(微信:qunideppt)：最优质的PPT资源库"/>
          <p:cNvSpPr txBox="1"/>
          <p:nvPr/>
        </p:nvSpPr>
        <p:spPr bwMode="auto">
          <a:xfrm>
            <a:off x="5327076" y="3725563"/>
            <a:ext cx="1056700" cy="307776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284848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pPr>
              <a:defRPr/>
            </a:pPr>
            <a:r>
              <a:rPr lang="zh-CN" altLang="en-US" sz="1400" dirty="0">
                <a:solidFill>
                  <a:prstClr val="black"/>
                </a:solidFill>
              </a:rPr>
              <a:t>添加标题</a:t>
            </a:r>
          </a:p>
        </p:txBody>
      </p:sp>
      <p:sp>
        <p:nvSpPr>
          <p:cNvPr id="95" name="出自【趣你的PPT】(微信:qunideppt)：最优质的PPT资源库"/>
          <p:cNvSpPr txBox="1"/>
          <p:nvPr/>
        </p:nvSpPr>
        <p:spPr>
          <a:xfrm>
            <a:off x="7311596" y="2382756"/>
            <a:ext cx="3928837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4301262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250"/>
                                            <p:tgtEl>
                                              <p:spTgt spid="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2" presetClass="entr" presetSubtype="2" fill="hold" grpId="0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17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18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0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25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4" presetID="2" presetClass="entr" presetSubtype="8" fill="hold" grpId="0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26" dur="500" fill="hold"/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27" dur="500" fill="hold"/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9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25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3" presetID="2" presetClass="entr" presetSubtype="2" fill="hold" grpId="0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35" dur="500" fill="hold"/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36" dur="500" fill="hold"/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38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250"/>
                                            <p:tgtEl>
                                              <p:spTgt spid="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42" presetID="2" presetClass="entr" presetSubtype="2" fill="hold" grpId="0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44" dur="5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45" dur="5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47" presetID="56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49" dur="125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50" dur="125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51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52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7" grpId="0" animBg="1"/>
          <p:bldP spid="88" grpId="0" animBg="1"/>
          <p:bldP spid="91" grpId="0"/>
          <p:bldP spid="92" grpId="0"/>
          <p:bldP spid="93" grpId="0"/>
          <p:bldP spid="94" grpId="0"/>
          <p:bldP spid="9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250"/>
                                            <p:tgtEl>
                                              <p:spTgt spid="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0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25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4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6" dur="500" fill="hold"/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9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25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3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500" fill="hold"/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38" presetID="10" presetClass="entr" presetSubtype="0" repeatCount="2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250"/>
                                            <p:tgtEl>
                                              <p:spTgt spid="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42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4" dur="5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5" dur="5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47" presetID="56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by="(-#ppt_w*2)" calcmode="lin" valueType="num">
                                          <p:cBhvr rctx="PPT">
                                            <p:cTn id="49" dur="125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</p:anim>
                                        <p:anim by="(#ppt_w*0.50)" calcmode="lin" valueType="num">
                                          <p:cBhvr>
                                            <p:cTn id="50" dur="125" decel="50000" autoRev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</p:anim>
                                        <p:anim from="(-#ppt_h/2)" to="(#ppt_y)" calcmode="lin" valueType="num">
                                          <p:cBhvr>
                                            <p:cTn id="51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</p:anim>
                                        <p:animRot by="21600000">
                                          <p:cBhvr>
                                            <p:cTn id="52" dur="25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7" grpId="0" animBg="1"/>
          <p:bldP spid="88" grpId="0" animBg="1"/>
          <p:bldP spid="91" grpId="0"/>
          <p:bldP spid="92" grpId="0"/>
          <p:bldP spid="93" grpId="0"/>
          <p:bldP spid="94" grpId="0"/>
          <p:bldP spid="95" grpId="0"/>
        </p:bldLst>
      </p:timing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58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7197388" y="1531196"/>
            <a:ext cx="3845010" cy="3634986"/>
          </a:xfrm>
          <a:prstGeom prst="roundRect">
            <a:avLst>
              <a:gd name="adj" fmla="val 2259"/>
            </a:avLst>
          </a:prstGeom>
          <a:solidFill>
            <a:srgbClr val="C00000"/>
          </a:solidFill>
          <a:ln w="3175" cap="flat" cmpd="sng" algn="ctr">
            <a:solidFill>
              <a:srgbClr val="D7D7D7"/>
            </a:solidFill>
            <a:prstDash val="solid"/>
          </a:ln>
          <a:effectLst/>
          <a:extLst/>
        </p:spPr>
        <p:txBody>
          <a:bodyPr lIns="180000" anchor="ctr"/>
          <a:lstStyle/>
          <a:p>
            <a:pPr>
              <a:lnSpc>
                <a:spcPct val="150000"/>
              </a:lnSpc>
              <a:defRPr/>
            </a:pPr>
            <a:r>
              <a:rPr lang="zh-CN" altLang="en-US" sz="1600" kern="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       </a:t>
            </a:r>
            <a:endParaRPr lang="zh-CN" altLang="en-US" sz="1050" kern="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3375438" y="1484752"/>
            <a:ext cx="3250041" cy="3272726"/>
          </a:xfrm>
          <a:prstGeom prst="ellipse">
            <a:avLst/>
          </a:prstGeom>
          <a:noFill/>
          <a:ln w="12700" algn="ctr">
            <a:solidFill>
              <a:srgbClr val="2B2E3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zh-CN" altLang="en-US" kern="0" dirty="0">
              <a:solidFill>
                <a:sysClr val="windowText" lastClr="000000"/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60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3072572" y="1726259"/>
            <a:ext cx="1106919" cy="111464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38100" algn="ctr">
            <a:solidFill>
              <a:srgbClr val="EBF5FF"/>
            </a:solidFill>
            <a:round/>
            <a:headEnd/>
            <a:tailEnd/>
          </a:ln>
          <a:effectLst/>
        </p:spPr>
        <p:txBody>
          <a:bodyPr wrap="square" anchor="ctr"/>
          <a:lstStyle/>
          <a:p>
            <a:pPr algn="ctr">
              <a:defRPr/>
            </a:pPr>
            <a:r>
              <a:rPr lang="zh-CN" altLang="en-US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添加文本</a:t>
            </a:r>
            <a:r>
              <a:rPr lang="en-US" altLang="zh-CN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3</a:t>
            </a:r>
            <a:endParaRPr lang="zh-CN" altLang="en-US" sz="1200" kern="0" dirty="0">
              <a:solidFill>
                <a:srgbClr val="FFFFFF"/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61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5779915" y="1726259"/>
            <a:ext cx="1106920" cy="1114646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38100" algn="ctr">
            <a:solidFill>
              <a:srgbClr val="EBF5FF"/>
            </a:solidFill>
            <a:round/>
            <a:headEnd/>
            <a:tailEnd/>
          </a:ln>
          <a:effectLst/>
        </p:spPr>
        <p:txBody>
          <a:bodyPr wrap="square" anchor="ctr"/>
          <a:lstStyle/>
          <a:p>
            <a:pPr algn="ctr">
              <a:defRPr/>
            </a:pPr>
            <a:r>
              <a:rPr lang="zh-CN" altLang="en-US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添加文本</a:t>
            </a:r>
            <a:r>
              <a:rPr lang="en-US" altLang="zh-CN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1</a:t>
            </a:r>
            <a:endParaRPr lang="zh-CN" altLang="en-US" sz="1200" kern="0" dirty="0">
              <a:solidFill>
                <a:srgbClr val="FFFFFF"/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62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4476209" y="4176934"/>
            <a:ext cx="1106920" cy="1114646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38100" algn="ctr">
            <a:solidFill>
              <a:srgbClr val="EBF5FF"/>
            </a:solidFill>
            <a:round/>
            <a:headEnd/>
            <a:tailEnd/>
          </a:ln>
          <a:effectLst/>
        </p:spPr>
        <p:txBody>
          <a:bodyPr wrap="square" anchor="ctr"/>
          <a:lstStyle/>
          <a:p>
            <a:pPr algn="ctr"/>
            <a:r>
              <a:rPr lang="zh-CN" altLang="en-US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添加文本</a:t>
            </a:r>
            <a:r>
              <a:rPr lang="en-US" altLang="zh-CN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2</a:t>
            </a:r>
            <a:endParaRPr lang="zh-CN" altLang="en-US" sz="1200" kern="0" dirty="0">
              <a:solidFill>
                <a:srgbClr val="FFFFFF"/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63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4605350" y="1151907"/>
            <a:ext cx="753321" cy="758579"/>
          </a:xfrm>
          <a:prstGeom prst="ellipse">
            <a:avLst/>
          </a:prstGeom>
          <a:solidFill>
            <a:srgbClr val="C00000"/>
          </a:solidFill>
          <a:ln w="381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zh-CN" altLang="en-US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文本</a:t>
            </a:r>
            <a:r>
              <a:rPr lang="en-US" altLang="zh-CN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1</a:t>
            </a:r>
            <a:endParaRPr lang="zh-CN" altLang="en-US" sz="1200" kern="0" dirty="0">
              <a:solidFill>
                <a:srgbClr val="FFFFFF"/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64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6016673" y="3464798"/>
            <a:ext cx="753321" cy="758579"/>
          </a:xfrm>
          <a:prstGeom prst="ellipse">
            <a:avLst/>
          </a:prstGeom>
          <a:solidFill>
            <a:srgbClr val="C00000"/>
          </a:solidFill>
          <a:ln w="381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zh-CN" altLang="en-US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文本</a:t>
            </a:r>
            <a:r>
              <a:rPr lang="en-US" altLang="zh-CN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2</a:t>
            </a:r>
            <a:endParaRPr lang="zh-CN" altLang="en-US" sz="1200" kern="0" dirty="0">
              <a:solidFill>
                <a:srgbClr val="FFFFFF"/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65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3186339" y="3501953"/>
            <a:ext cx="753321" cy="758579"/>
          </a:xfrm>
          <a:prstGeom prst="ellipse">
            <a:avLst/>
          </a:prstGeom>
          <a:solidFill>
            <a:srgbClr val="C00000"/>
          </a:solidFill>
          <a:ln w="381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zh-CN" altLang="en-US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文本</a:t>
            </a:r>
            <a:r>
              <a:rPr lang="en-US" altLang="zh-CN" sz="1200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3</a:t>
            </a:r>
            <a:endParaRPr lang="zh-CN" altLang="en-US" sz="1200" kern="0" dirty="0">
              <a:solidFill>
                <a:srgbClr val="FFFFFF"/>
              </a:solidFill>
              <a:latin typeface="Impact" pitchFamily="34" charset="0"/>
              <a:ea typeface="微软雅黑" pitchFamily="34" charset="-122"/>
            </a:endParaRPr>
          </a:p>
        </p:txBody>
      </p:sp>
      <p:cxnSp>
        <p:nvCxnSpPr>
          <p:cNvPr id="66" name="出自【趣你的PPT】(微信:qunideppt)：最优质的PPT资源库"/>
          <p:cNvCxnSpPr>
            <a:cxnSpLocks noChangeShapeType="1"/>
            <a:stCxn id="62" idx="0"/>
          </p:cNvCxnSpPr>
          <p:nvPr/>
        </p:nvCxnSpPr>
        <p:spPr bwMode="gray">
          <a:xfrm flipH="1" flipV="1">
            <a:off x="5020445" y="3717141"/>
            <a:ext cx="9224" cy="441215"/>
          </a:xfrm>
          <a:prstGeom prst="straightConnector1">
            <a:avLst/>
          </a:prstGeom>
          <a:noFill/>
          <a:ln w="9525">
            <a:solidFill>
              <a:srgbClr val="2B2E3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7" name="出自【趣你的PPT】(微信:qunideppt)：最优质的PPT资源库"/>
          <p:cNvCxnSpPr>
            <a:cxnSpLocks noChangeShapeType="1"/>
            <a:stCxn id="61" idx="3"/>
          </p:cNvCxnSpPr>
          <p:nvPr/>
        </p:nvCxnSpPr>
        <p:spPr bwMode="gray">
          <a:xfrm flipH="1">
            <a:off x="5543157" y="2696931"/>
            <a:ext cx="398183" cy="106820"/>
          </a:xfrm>
          <a:prstGeom prst="straightConnector1">
            <a:avLst/>
          </a:prstGeom>
          <a:noFill/>
          <a:ln w="9525">
            <a:solidFill>
              <a:srgbClr val="2B2E3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出自【趣你的PPT】(微信:qunideppt)：最优质的PPT资源库"/>
          <p:cNvCxnSpPr>
            <a:cxnSpLocks noChangeShapeType="1"/>
            <a:stCxn id="60" idx="5"/>
          </p:cNvCxnSpPr>
          <p:nvPr/>
        </p:nvCxnSpPr>
        <p:spPr bwMode="gray">
          <a:xfrm>
            <a:off x="4018067" y="2696931"/>
            <a:ext cx="479665" cy="106820"/>
          </a:xfrm>
          <a:prstGeom prst="straightConnector1">
            <a:avLst/>
          </a:prstGeom>
          <a:noFill/>
          <a:ln w="9525">
            <a:solidFill>
              <a:srgbClr val="2B2E3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9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7334215" y="1320652"/>
            <a:ext cx="3569818" cy="489206"/>
          </a:xfrm>
          <a:prstGeom prst="roundRect">
            <a:avLst>
              <a:gd name="adj" fmla="val 0"/>
            </a:avLst>
          </a:prstGeom>
          <a:solidFill>
            <a:srgbClr val="404040"/>
          </a:solidFill>
          <a:ln w="31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lnSpc>
                <a:spcPct val="120000"/>
              </a:lnSpc>
              <a:defRPr/>
            </a:pPr>
            <a:r>
              <a:rPr lang="zh-CN" altLang="en-US" sz="16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单击此处添加文本</a:t>
            </a:r>
          </a:p>
        </p:txBody>
      </p:sp>
      <p:sp>
        <p:nvSpPr>
          <p:cNvPr id="70" name="出自【趣你的PPT】(微信:qunideppt)：最优质的PPT资源库"/>
          <p:cNvSpPr>
            <a:spLocks noChangeArrowheads="1"/>
          </p:cNvSpPr>
          <p:nvPr/>
        </p:nvSpPr>
        <p:spPr bwMode="gray">
          <a:xfrm>
            <a:off x="4287638" y="2329784"/>
            <a:ext cx="1425879" cy="1404435"/>
          </a:xfrm>
          <a:prstGeom prst="ellipse">
            <a:avLst/>
          </a:prstGeom>
          <a:solidFill>
            <a:srgbClr val="C00000"/>
          </a:solidFill>
          <a:ln w="381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zh-CN" altLang="en-US" sz="2400" b="1" kern="0" dirty="0">
                <a:solidFill>
                  <a:srgbClr val="FFFFFF"/>
                </a:solidFill>
                <a:latin typeface="Impact" pitchFamily="34" charset="0"/>
                <a:ea typeface="微软雅黑" pitchFamily="34" charset="-122"/>
              </a:rPr>
              <a:t>标题</a:t>
            </a:r>
            <a:endParaRPr lang="zh-CN" altLang="en-US" b="1" kern="0" dirty="0">
              <a:solidFill>
                <a:srgbClr val="FFFFFF"/>
              </a:solidFill>
              <a:latin typeface="Impact" pitchFamily="34" charset="0"/>
              <a:ea typeface="微软雅黑" pitchFamily="34" charset="-122"/>
            </a:endParaRPr>
          </a:p>
        </p:txBody>
      </p:sp>
      <p:sp>
        <p:nvSpPr>
          <p:cNvPr id="71" name="出自【趣你的PPT】(微信:qunideppt)：最优质的PPT资源库"/>
          <p:cNvSpPr/>
          <p:nvPr/>
        </p:nvSpPr>
        <p:spPr>
          <a:xfrm>
            <a:off x="7510646" y="2243952"/>
            <a:ext cx="32730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出自【趣你的PPT】(微信:qunideppt)：最优质的PPT资源库"/>
          <p:cNvSpPr>
            <a:spLocks/>
          </p:cNvSpPr>
          <p:nvPr/>
        </p:nvSpPr>
        <p:spPr bwMode="auto">
          <a:xfrm>
            <a:off x="9585189" y="4293537"/>
            <a:ext cx="515937" cy="520700"/>
          </a:xfrm>
          <a:custGeom>
            <a:avLst/>
            <a:gdLst>
              <a:gd name="T0" fmla="*/ 0 w 137"/>
              <a:gd name="T1" fmla="*/ 0 h 138"/>
              <a:gd name="T2" fmla="*/ 10 w 137"/>
              <a:gd name="T3" fmla="*/ 65 h 138"/>
              <a:gd name="T4" fmla="*/ 28 w 137"/>
              <a:gd name="T5" fmla="*/ 47 h 138"/>
              <a:gd name="T6" fmla="*/ 114 w 137"/>
              <a:gd name="T7" fmla="*/ 133 h 138"/>
              <a:gd name="T8" fmla="*/ 132 w 137"/>
              <a:gd name="T9" fmla="*/ 133 h 138"/>
              <a:gd name="T10" fmla="*/ 132 w 137"/>
              <a:gd name="T11" fmla="*/ 114 h 138"/>
              <a:gd name="T12" fmla="*/ 47 w 137"/>
              <a:gd name="T13" fmla="*/ 29 h 138"/>
              <a:gd name="T14" fmla="*/ 65 w 137"/>
              <a:gd name="T15" fmla="*/ 10 h 138"/>
              <a:gd name="T16" fmla="*/ 0 w 137"/>
              <a:gd name="T17" fmla="*/ 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7" h="138">
                <a:moveTo>
                  <a:pt x="0" y="0"/>
                </a:moveTo>
                <a:cubicBezTo>
                  <a:pt x="10" y="65"/>
                  <a:pt x="10" y="65"/>
                  <a:pt x="10" y="65"/>
                </a:cubicBezTo>
                <a:cubicBezTo>
                  <a:pt x="28" y="47"/>
                  <a:pt x="28" y="47"/>
                  <a:pt x="28" y="47"/>
                </a:cubicBezTo>
                <a:cubicBezTo>
                  <a:pt x="114" y="133"/>
                  <a:pt x="114" y="133"/>
                  <a:pt x="114" y="133"/>
                </a:cubicBezTo>
                <a:cubicBezTo>
                  <a:pt x="119" y="138"/>
                  <a:pt x="127" y="138"/>
                  <a:pt x="132" y="133"/>
                </a:cubicBezTo>
                <a:cubicBezTo>
                  <a:pt x="137" y="127"/>
                  <a:pt x="137" y="119"/>
                  <a:pt x="132" y="114"/>
                </a:cubicBezTo>
                <a:cubicBezTo>
                  <a:pt x="47" y="29"/>
                  <a:pt x="47" y="29"/>
                  <a:pt x="47" y="29"/>
                </a:cubicBezTo>
                <a:cubicBezTo>
                  <a:pt x="65" y="10"/>
                  <a:pt x="65" y="10"/>
                  <a:pt x="65" y="10"/>
                </a:cubicBezTo>
                <a:lnTo>
                  <a:pt x="0" y="0"/>
                </a:lnTo>
                <a:close/>
              </a:path>
            </a:pathLst>
          </a:custGeom>
          <a:solidFill>
            <a:srgbClr val="F5F4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3" name="出自【趣你的PPT】(微信:qunideppt)：最优质的PPT资源库"/>
          <p:cNvSpPr>
            <a:spLocks/>
          </p:cNvSpPr>
          <p:nvPr/>
        </p:nvSpPr>
        <p:spPr bwMode="auto">
          <a:xfrm>
            <a:off x="10256403" y="4293073"/>
            <a:ext cx="515937" cy="517525"/>
          </a:xfrm>
          <a:custGeom>
            <a:avLst/>
            <a:gdLst>
              <a:gd name="T0" fmla="*/ 0 w 137"/>
              <a:gd name="T1" fmla="*/ 137 h 137"/>
              <a:gd name="T2" fmla="*/ 65 w 137"/>
              <a:gd name="T3" fmla="*/ 128 h 137"/>
              <a:gd name="T4" fmla="*/ 47 w 137"/>
              <a:gd name="T5" fmla="*/ 109 h 137"/>
              <a:gd name="T6" fmla="*/ 132 w 137"/>
              <a:gd name="T7" fmla="*/ 24 h 137"/>
              <a:gd name="T8" fmla="*/ 132 w 137"/>
              <a:gd name="T9" fmla="*/ 5 h 137"/>
              <a:gd name="T10" fmla="*/ 114 w 137"/>
              <a:gd name="T11" fmla="*/ 5 h 137"/>
              <a:gd name="T12" fmla="*/ 28 w 137"/>
              <a:gd name="T13" fmla="*/ 91 h 137"/>
              <a:gd name="T14" fmla="*/ 10 w 137"/>
              <a:gd name="T15" fmla="*/ 72 h 137"/>
              <a:gd name="T16" fmla="*/ 0 w 137"/>
              <a:gd name="T17" fmla="*/ 137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7" h="137">
                <a:moveTo>
                  <a:pt x="0" y="137"/>
                </a:moveTo>
                <a:cubicBezTo>
                  <a:pt x="65" y="128"/>
                  <a:pt x="65" y="128"/>
                  <a:pt x="65" y="128"/>
                </a:cubicBezTo>
                <a:cubicBezTo>
                  <a:pt x="47" y="109"/>
                  <a:pt x="47" y="109"/>
                  <a:pt x="47" y="109"/>
                </a:cubicBezTo>
                <a:cubicBezTo>
                  <a:pt x="132" y="24"/>
                  <a:pt x="132" y="24"/>
                  <a:pt x="132" y="24"/>
                </a:cubicBezTo>
                <a:cubicBezTo>
                  <a:pt x="137" y="19"/>
                  <a:pt x="137" y="10"/>
                  <a:pt x="132" y="5"/>
                </a:cubicBezTo>
                <a:cubicBezTo>
                  <a:pt x="127" y="0"/>
                  <a:pt x="119" y="0"/>
                  <a:pt x="114" y="5"/>
                </a:cubicBezTo>
                <a:cubicBezTo>
                  <a:pt x="28" y="91"/>
                  <a:pt x="28" y="91"/>
                  <a:pt x="28" y="91"/>
                </a:cubicBezTo>
                <a:cubicBezTo>
                  <a:pt x="10" y="72"/>
                  <a:pt x="10" y="72"/>
                  <a:pt x="10" y="72"/>
                </a:cubicBezTo>
                <a:lnTo>
                  <a:pt x="0" y="137"/>
                </a:lnTo>
                <a:close/>
              </a:path>
            </a:pathLst>
          </a:custGeom>
          <a:solidFill>
            <a:srgbClr val="F5F4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4" name="出自【趣你的PPT】(微信:qunideppt)：最优质的PPT资源库"/>
          <p:cNvSpPr>
            <a:spLocks/>
          </p:cNvSpPr>
          <p:nvPr/>
        </p:nvSpPr>
        <p:spPr bwMode="auto">
          <a:xfrm rot="18991020">
            <a:off x="8824971" y="4032722"/>
            <a:ext cx="515937" cy="520700"/>
          </a:xfrm>
          <a:custGeom>
            <a:avLst/>
            <a:gdLst>
              <a:gd name="T0" fmla="*/ 0 w 137"/>
              <a:gd name="T1" fmla="*/ 0 h 138"/>
              <a:gd name="T2" fmla="*/ 10 w 137"/>
              <a:gd name="T3" fmla="*/ 65 h 138"/>
              <a:gd name="T4" fmla="*/ 28 w 137"/>
              <a:gd name="T5" fmla="*/ 47 h 138"/>
              <a:gd name="T6" fmla="*/ 114 w 137"/>
              <a:gd name="T7" fmla="*/ 133 h 138"/>
              <a:gd name="T8" fmla="*/ 132 w 137"/>
              <a:gd name="T9" fmla="*/ 133 h 138"/>
              <a:gd name="T10" fmla="*/ 132 w 137"/>
              <a:gd name="T11" fmla="*/ 114 h 138"/>
              <a:gd name="T12" fmla="*/ 47 w 137"/>
              <a:gd name="T13" fmla="*/ 29 h 138"/>
              <a:gd name="T14" fmla="*/ 65 w 137"/>
              <a:gd name="T15" fmla="*/ 10 h 138"/>
              <a:gd name="T16" fmla="*/ 0 w 137"/>
              <a:gd name="T17" fmla="*/ 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7" h="138">
                <a:moveTo>
                  <a:pt x="0" y="0"/>
                </a:moveTo>
                <a:cubicBezTo>
                  <a:pt x="10" y="65"/>
                  <a:pt x="10" y="65"/>
                  <a:pt x="10" y="65"/>
                </a:cubicBezTo>
                <a:cubicBezTo>
                  <a:pt x="28" y="47"/>
                  <a:pt x="28" y="47"/>
                  <a:pt x="28" y="47"/>
                </a:cubicBezTo>
                <a:cubicBezTo>
                  <a:pt x="114" y="133"/>
                  <a:pt x="114" y="133"/>
                  <a:pt x="114" y="133"/>
                </a:cubicBezTo>
                <a:cubicBezTo>
                  <a:pt x="119" y="138"/>
                  <a:pt x="127" y="138"/>
                  <a:pt x="132" y="133"/>
                </a:cubicBezTo>
                <a:cubicBezTo>
                  <a:pt x="137" y="127"/>
                  <a:pt x="137" y="119"/>
                  <a:pt x="132" y="114"/>
                </a:cubicBezTo>
                <a:cubicBezTo>
                  <a:pt x="47" y="29"/>
                  <a:pt x="47" y="29"/>
                  <a:pt x="47" y="29"/>
                </a:cubicBezTo>
                <a:cubicBezTo>
                  <a:pt x="65" y="10"/>
                  <a:pt x="65" y="10"/>
                  <a:pt x="65" y="10"/>
                </a:cubicBezTo>
                <a:lnTo>
                  <a:pt x="0" y="0"/>
                </a:lnTo>
                <a:close/>
              </a:path>
            </a:pathLst>
          </a:custGeom>
          <a:solidFill>
            <a:srgbClr val="F5F4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grpSp>
        <p:nvGrpSpPr>
          <p:cNvPr id="75" name="Group 74出自【趣你的PPT】(微信:qunideppt)：最优质的PPT资源库"/>
          <p:cNvGrpSpPr/>
          <p:nvPr/>
        </p:nvGrpSpPr>
        <p:grpSpPr>
          <a:xfrm>
            <a:off x="1200364" y="2880099"/>
            <a:ext cx="1722438" cy="2830512"/>
            <a:chOff x="660400" y="576263"/>
            <a:chExt cx="1722438" cy="2830512"/>
          </a:xfrm>
        </p:grpSpPr>
        <p:sp>
          <p:nvSpPr>
            <p:cNvPr id="76" name="出自【趣你的PPT】(微信:qunideppt)：最优质的PPT资源库"/>
            <p:cNvSpPr>
              <a:spLocks noChangeAspect="1" noChangeArrowheads="1" noTextEdit="1"/>
            </p:cNvSpPr>
            <p:nvPr/>
          </p:nvSpPr>
          <p:spPr bwMode="auto">
            <a:xfrm>
              <a:off x="660400" y="576263"/>
              <a:ext cx="1697038" cy="2805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119313" y="974725"/>
              <a:ext cx="263525" cy="274637"/>
            </a:xfrm>
            <a:custGeom>
              <a:avLst/>
              <a:gdLst>
                <a:gd name="T0" fmla="*/ 1 w 21"/>
                <a:gd name="T1" fmla="*/ 21 h 22"/>
                <a:gd name="T2" fmla="*/ 5 w 21"/>
                <a:gd name="T3" fmla="*/ 22 h 22"/>
                <a:gd name="T4" fmla="*/ 13 w 21"/>
                <a:gd name="T5" fmla="*/ 16 h 22"/>
                <a:gd name="T6" fmla="*/ 15 w 21"/>
                <a:gd name="T7" fmla="*/ 13 h 22"/>
                <a:gd name="T8" fmla="*/ 17 w 21"/>
                <a:gd name="T9" fmla="*/ 8 h 22"/>
                <a:gd name="T10" fmla="*/ 16 w 21"/>
                <a:gd name="T11" fmla="*/ 9 h 22"/>
                <a:gd name="T12" fmla="*/ 17 w 21"/>
                <a:gd name="T13" fmla="*/ 6 h 22"/>
                <a:gd name="T14" fmla="*/ 20 w 21"/>
                <a:gd name="T15" fmla="*/ 0 h 22"/>
                <a:gd name="T16" fmla="*/ 18 w 21"/>
                <a:gd name="T17" fmla="*/ 1 h 22"/>
                <a:gd name="T18" fmla="*/ 17 w 21"/>
                <a:gd name="T19" fmla="*/ 1 h 22"/>
                <a:gd name="T20" fmla="*/ 13 w 21"/>
                <a:gd name="T21" fmla="*/ 4 h 22"/>
                <a:gd name="T22" fmla="*/ 10 w 21"/>
                <a:gd name="T23" fmla="*/ 10 h 22"/>
                <a:gd name="T24" fmla="*/ 4 w 21"/>
                <a:gd name="T25" fmla="*/ 14 h 22"/>
                <a:gd name="T26" fmla="*/ 0 w 21"/>
                <a:gd name="T27" fmla="*/ 15 h 22"/>
                <a:gd name="T28" fmla="*/ 1 w 21"/>
                <a:gd name="T2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22">
                  <a:moveTo>
                    <a:pt x="1" y="21"/>
                  </a:moveTo>
                  <a:cubicBezTo>
                    <a:pt x="1" y="21"/>
                    <a:pt x="4" y="22"/>
                    <a:pt x="5" y="22"/>
                  </a:cubicBezTo>
                  <a:cubicBezTo>
                    <a:pt x="6" y="21"/>
                    <a:pt x="13" y="16"/>
                    <a:pt x="13" y="16"/>
                  </a:cubicBezTo>
                  <a:cubicBezTo>
                    <a:pt x="13" y="16"/>
                    <a:pt x="14" y="14"/>
                    <a:pt x="15" y="13"/>
                  </a:cubicBezTo>
                  <a:cubicBezTo>
                    <a:pt x="16" y="12"/>
                    <a:pt x="19" y="9"/>
                    <a:pt x="17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7"/>
                    <a:pt x="17" y="6"/>
                  </a:cubicBezTo>
                  <a:cubicBezTo>
                    <a:pt x="17" y="6"/>
                    <a:pt x="21" y="2"/>
                    <a:pt x="20" y="0"/>
                  </a:cubicBezTo>
                  <a:cubicBezTo>
                    <a:pt x="20" y="0"/>
                    <a:pt x="19" y="0"/>
                    <a:pt x="18" y="1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5" y="2"/>
                    <a:pt x="14" y="4"/>
                    <a:pt x="13" y="4"/>
                  </a:cubicBezTo>
                  <a:cubicBezTo>
                    <a:pt x="12" y="6"/>
                    <a:pt x="10" y="9"/>
                    <a:pt x="10" y="10"/>
                  </a:cubicBezTo>
                  <a:cubicBezTo>
                    <a:pt x="9" y="10"/>
                    <a:pt x="6" y="12"/>
                    <a:pt x="4" y="14"/>
                  </a:cubicBezTo>
                  <a:cubicBezTo>
                    <a:pt x="1" y="16"/>
                    <a:pt x="0" y="15"/>
                    <a:pt x="0" y="15"/>
                  </a:cubicBezTo>
                  <a:cubicBezTo>
                    <a:pt x="0" y="15"/>
                    <a:pt x="0" y="19"/>
                    <a:pt x="1" y="21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132013" y="974725"/>
              <a:ext cx="250825" cy="274637"/>
            </a:xfrm>
            <a:custGeom>
              <a:avLst/>
              <a:gdLst>
                <a:gd name="T0" fmla="*/ 19 w 20"/>
                <a:gd name="T1" fmla="*/ 0 h 22"/>
                <a:gd name="T2" fmla="*/ 18 w 20"/>
                <a:gd name="T3" fmla="*/ 0 h 22"/>
                <a:gd name="T4" fmla="*/ 15 w 20"/>
                <a:gd name="T5" fmla="*/ 6 h 22"/>
                <a:gd name="T6" fmla="*/ 13 w 20"/>
                <a:gd name="T7" fmla="*/ 10 h 22"/>
                <a:gd name="T8" fmla="*/ 15 w 20"/>
                <a:gd name="T9" fmla="*/ 10 h 22"/>
                <a:gd name="T10" fmla="*/ 11 w 20"/>
                <a:gd name="T11" fmla="*/ 16 h 22"/>
                <a:gd name="T12" fmla="*/ 5 w 20"/>
                <a:gd name="T13" fmla="*/ 20 h 22"/>
                <a:gd name="T14" fmla="*/ 1 w 20"/>
                <a:gd name="T15" fmla="*/ 19 h 22"/>
                <a:gd name="T16" fmla="*/ 0 w 20"/>
                <a:gd name="T17" fmla="*/ 21 h 22"/>
                <a:gd name="T18" fmla="*/ 0 w 20"/>
                <a:gd name="T19" fmla="*/ 21 h 22"/>
                <a:gd name="T20" fmla="*/ 4 w 20"/>
                <a:gd name="T21" fmla="*/ 22 h 22"/>
                <a:gd name="T22" fmla="*/ 12 w 20"/>
                <a:gd name="T23" fmla="*/ 16 h 22"/>
                <a:gd name="T24" fmla="*/ 14 w 20"/>
                <a:gd name="T25" fmla="*/ 13 h 22"/>
                <a:gd name="T26" fmla="*/ 16 w 20"/>
                <a:gd name="T27" fmla="*/ 8 h 22"/>
                <a:gd name="T28" fmla="*/ 15 w 20"/>
                <a:gd name="T29" fmla="*/ 9 h 22"/>
                <a:gd name="T30" fmla="*/ 16 w 20"/>
                <a:gd name="T31" fmla="*/ 6 h 22"/>
                <a:gd name="T32" fmla="*/ 19 w 20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22">
                  <a:moveTo>
                    <a:pt x="19" y="0"/>
                  </a:moveTo>
                  <a:cubicBezTo>
                    <a:pt x="19" y="0"/>
                    <a:pt x="18" y="0"/>
                    <a:pt x="18" y="0"/>
                  </a:cubicBezTo>
                  <a:cubicBezTo>
                    <a:pt x="19" y="2"/>
                    <a:pt x="15" y="6"/>
                    <a:pt x="15" y="6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5" y="9"/>
                    <a:pt x="15" y="10"/>
                  </a:cubicBezTo>
                  <a:cubicBezTo>
                    <a:pt x="14" y="11"/>
                    <a:pt x="11" y="16"/>
                    <a:pt x="11" y="16"/>
                  </a:cubicBezTo>
                  <a:cubicBezTo>
                    <a:pt x="11" y="16"/>
                    <a:pt x="8" y="18"/>
                    <a:pt x="5" y="20"/>
                  </a:cubicBezTo>
                  <a:cubicBezTo>
                    <a:pt x="1" y="22"/>
                    <a:pt x="1" y="19"/>
                    <a:pt x="1" y="19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3" y="22"/>
                    <a:pt x="4" y="22"/>
                  </a:cubicBezTo>
                  <a:cubicBezTo>
                    <a:pt x="5" y="21"/>
                    <a:pt x="12" y="16"/>
                    <a:pt x="12" y="16"/>
                  </a:cubicBezTo>
                  <a:cubicBezTo>
                    <a:pt x="12" y="16"/>
                    <a:pt x="13" y="14"/>
                    <a:pt x="14" y="13"/>
                  </a:cubicBezTo>
                  <a:cubicBezTo>
                    <a:pt x="15" y="12"/>
                    <a:pt x="18" y="9"/>
                    <a:pt x="16" y="8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7"/>
                    <a:pt x="16" y="6"/>
                  </a:cubicBezTo>
                  <a:cubicBezTo>
                    <a:pt x="16" y="6"/>
                    <a:pt x="20" y="2"/>
                    <a:pt x="19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57425" y="1074738"/>
              <a:ext cx="61913" cy="619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2 h 5"/>
                <a:gd name="T4" fmla="*/ 4 w 5"/>
                <a:gd name="T5" fmla="*/ 0 h 5"/>
                <a:gd name="T6" fmla="*/ 0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0" y="5"/>
                    <a:pt x="3" y="2"/>
                    <a:pt x="5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1" y="4"/>
                    <a:pt x="0" y="5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70125" y="1000125"/>
              <a:ext cx="74613" cy="74612"/>
            </a:xfrm>
            <a:custGeom>
              <a:avLst/>
              <a:gdLst>
                <a:gd name="T0" fmla="*/ 0 w 6"/>
                <a:gd name="T1" fmla="*/ 6 h 6"/>
                <a:gd name="T2" fmla="*/ 2 w 6"/>
                <a:gd name="T3" fmla="*/ 3 h 6"/>
                <a:gd name="T4" fmla="*/ 6 w 6"/>
                <a:gd name="T5" fmla="*/ 0 h 6"/>
                <a:gd name="T6" fmla="*/ 2 w 6"/>
                <a:gd name="T7" fmla="*/ 3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cubicBezTo>
                    <a:pt x="0" y="6"/>
                    <a:pt x="2" y="3"/>
                    <a:pt x="2" y="3"/>
                  </a:cubicBezTo>
                  <a:cubicBezTo>
                    <a:pt x="3" y="3"/>
                    <a:pt x="6" y="0"/>
                    <a:pt x="6" y="0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168525" y="1111250"/>
              <a:ext cx="63500" cy="150812"/>
            </a:xfrm>
            <a:custGeom>
              <a:avLst/>
              <a:gdLst>
                <a:gd name="T0" fmla="*/ 3 w 5"/>
                <a:gd name="T1" fmla="*/ 0 h 12"/>
                <a:gd name="T2" fmla="*/ 0 w 5"/>
                <a:gd name="T3" fmla="*/ 2 h 12"/>
                <a:gd name="T4" fmla="*/ 3 w 5"/>
                <a:gd name="T5" fmla="*/ 12 h 12"/>
                <a:gd name="T6" fmla="*/ 3 w 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3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5" y="5"/>
                    <a:pt x="3" y="0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85813" y="1884363"/>
              <a:ext cx="138113" cy="212725"/>
            </a:xfrm>
            <a:custGeom>
              <a:avLst/>
              <a:gdLst>
                <a:gd name="T0" fmla="*/ 0 w 11"/>
                <a:gd name="T1" fmla="*/ 0 h 17"/>
                <a:gd name="T2" fmla="*/ 0 w 11"/>
                <a:gd name="T3" fmla="*/ 14 h 17"/>
                <a:gd name="T4" fmla="*/ 11 w 11"/>
                <a:gd name="T5" fmla="*/ 17 h 17"/>
                <a:gd name="T6" fmla="*/ 6 w 11"/>
                <a:gd name="T7" fmla="*/ 0 h 17"/>
                <a:gd name="T8" fmla="*/ 0 w 1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0" y="0"/>
                    <a:pt x="0" y="13"/>
                    <a:pt x="0" y="14"/>
                  </a:cubicBezTo>
                  <a:cubicBezTo>
                    <a:pt x="1" y="16"/>
                    <a:pt x="11" y="17"/>
                    <a:pt x="11" y="17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62038" y="825500"/>
              <a:ext cx="201613" cy="236537"/>
            </a:xfrm>
            <a:custGeom>
              <a:avLst/>
              <a:gdLst>
                <a:gd name="T0" fmla="*/ 16 w 16"/>
                <a:gd name="T1" fmla="*/ 8 h 19"/>
                <a:gd name="T2" fmla="*/ 15 w 16"/>
                <a:gd name="T3" fmla="*/ 12 h 19"/>
                <a:gd name="T4" fmla="*/ 8 w 16"/>
                <a:gd name="T5" fmla="*/ 19 h 19"/>
                <a:gd name="T6" fmla="*/ 3 w 16"/>
                <a:gd name="T7" fmla="*/ 17 h 19"/>
                <a:gd name="T8" fmla="*/ 1 w 16"/>
                <a:gd name="T9" fmla="*/ 11 h 19"/>
                <a:gd name="T10" fmla="*/ 0 w 16"/>
                <a:gd name="T11" fmla="*/ 2 h 19"/>
                <a:gd name="T12" fmla="*/ 16 w 16"/>
                <a:gd name="T1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9">
                  <a:moveTo>
                    <a:pt x="16" y="8"/>
                  </a:move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0" y="18"/>
                    <a:pt x="8" y="19"/>
                  </a:cubicBezTo>
                  <a:cubicBezTo>
                    <a:pt x="7" y="19"/>
                    <a:pt x="3" y="17"/>
                    <a:pt x="3" y="17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5"/>
                    <a:pt x="0" y="2"/>
                  </a:cubicBezTo>
                  <a:cubicBezTo>
                    <a:pt x="0" y="0"/>
                    <a:pt x="12" y="7"/>
                    <a:pt x="16" y="8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87438" y="900113"/>
              <a:ext cx="138113" cy="161925"/>
            </a:xfrm>
            <a:custGeom>
              <a:avLst/>
              <a:gdLst>
                <a:gd name="T0" fmla="*/ 0 w 11"/>
                <a:gd name="T1" fmla="*/ 0 h 13"/>
                <a:gd name="T2" fmla="*/ 4 w 11"/>
                <a:gd name="T3" fmla="*/ 5 h 13"/>
                <a:gd name="T4" fmla="*/ 11 w 11"/>
                <a:gd name="T5" fmla="*/ 9 h 13"/>
                <a:gd name="T6" fmla="*/ 6 w 11"/>
                <a:gd name="T7" fmla="*/ 13 h 13"/>
                <a:gd name="T8" fmla="*/ 1 w 11"/>
                <a:gd name="T9" fmla="*/ 11 h 13"/>
                <a:gd name="T10" fmla="*/ 0 w 11"/>
                <a:gd name="T11" fmla="*/ 7 h 13"/>
                <a:gd name="T12" fmla="*/ 0 w 11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3">
                  <a:moveTo>
                    <a:pt x="0" y="0"/>
                  </a:moveTo>
                  <a:cubicBezTo>
                    <a:pt x="1" y="0"/>
                    <a:pt x="3" y="4"/>
                    <a:pt x="4" y="5"/>
                  </a:cubicBezTo>
                  <a:cubicBezTo>
                    <a:pt x="4" y="6"/>
                    <a:pt x="8" y="8"/>
                    <a:pt x="11" y="9"/>
                  </a:cubicBezTo>
                  <a:cubicBezTo>
                    <a:pt x="9" y="11"/>
                    <a:pt x="7" y="13"/>
                    <a:pt x="6" y="13"/>
                  </a:cubicBezTo>
                  <a:cubicBezTo>
                    <a:pt x="5" y="13"/>
                    <a:pt x="1" y="11"/>
                    <a:pt x="1" y="1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00125" y="576263"/>
              <a:ext cx="301625" cy="285750"/>
            </a:xfrm>
            <a:custGeom>
              <a:avLst/>
              <a:gdLst>
                <a:gd name="T0" fmla="*/ 23 w 24"/>
                <a:gd name="T1" fmla="*/ 6 h 23"/>
                <a:gd name="T2" fmla="*/ 24 w 24"/>
                <a:gd name="T3" fmla="*/ 5 h 23"/>
                <a:gd name="T4" fmla="*/ 18 w 24"/>
                <a:gd name="T5" fmla="*/ 0 h 23"/>
                <a:gd name="T6" fmla="*/ 9 w 24"/>
                <a:gd name="T7" fmla="*/ 0 h 23"/>
                <a:gd name="T8" fmla="*/ 2 w 24"/>
                <a:gd name="T9" fmla="*/ 6 h 23"/>
                <a:gd name="T10" fmla="*/ 1 w 24"/>
                <a:gd name="T11" fmla="*/ 13 h 23"/>
                <a:gd name="T12" fmla="*/ 4 w 24"/>
                <a:gd name="T13" fmla="*/ 20 h 23"/>
                <a:gd name="T14" fmla="*/ 23 w 24"/>
                <a:gd name="T15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3">
                  <a:moveTo>
                    <a:pt x="23" y="6"/>
                  </a:moveTo>
                  <a:cubicBezTo>
                    <a:pt x="23" y="6"/>
                    <a:pt x="24" y="5"/>
                    <a:pt x="24" y="5"/>
                  </a:cubicBezTo>
                  <a:cubicBezTo>
                    <a:pt x="23" y="4"/>
                    <a:pt x="21" y="0"/>
                    <a:pt x="18" y="0"/>
                  </a:cubicBezTo>
                  <a:cubicBezTo>
                    <a:pt x="15" y="0"/>
                    <a:pt x="9" y="0"/>
                    <a:pt x="9" y="0"/>
                  </a:cubicBezTo>
                  <a:cubicBezTo>
                    <a:pt x="9" y="0"/>
                    <a:pt x="4" y="3"/>
                    <a:pt x="2" y="6"/>
                  </a:cubicBezTo>
                  <a:cubicBezTo>
                    <a:pt x="0" y="9"/>
                    <a:pt x="1" y="13"/>
                    <a:pt x="1" y="13"/>
                  </a:cubicBezTo>
                  <a:cubicBezTo>
                    <a:pt x="1" y="13"/>
                    <a:pt x="0" y="19"/>
                    <a:pt x="4" y="20"/>
                  </a:cubicBezTo>
                  <a:cubicBezTo>
                    <a:pt x="4" y="20"/>
                    <a:pt x="11" y="23"/>
                    <a:pt x="23" y="6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12825" y="650875"/>
              <a:ext cx="314325" cy="311150"/>
            </a:xfrm>
            <a:custGeom>
              <a:avLst/>
              <a:gdLst>
                <a:gd name="T0" fmla="*/ 21 w 25"/>
                <a:gd name="T1" fmla="*/ 24 h 25"/>
                <a:gd name="T2" fmla="*/ 17 w 25"/>
                <a:gd name="T3" fmla="*/ 25 h 25"/>
                <a:gd name="T4" fmla="*/ 9 w 25"/>
                <a:gd name="T5" fmla="*/ 22 h 25"/>
                <a:gd name="T6" fmla="*/ 6 w 25"/>
                <a:gd name="T7" fmla="*/ 17 h 25"/>
                <a:gd name="T8" fmla="*/ 5 w 25"/>
                <a:gd name="T9" fmla="*/ 17 h 25"/>
                <a:gd name="T10" fmla="*/ 2 w 25"/>
                <a:gd name="T11" fmla="*/ 14 h 25"/>
                <a:gd name="T12" fmla="*/ 2 w 25"/>
                <a:gd name="T13" fmla="*/ 9 h 25"/>
                <a:gd name="T14" fmla="*/ 5 w 25"/>
                <a:gd name="T15" fmla="*/ 10 h 25"/>
                <a:gd name="T16" fmla="*/ 7 w 25"/>
                <a:gd name="T17" fmla="*/ 13 h 25"/>
                <a:gd name="T18" fmla="*/ 8 w 25"/>
                <a:gd name="T19" fmla="*/ 13 h 25"/>
                <a:gd name="T20" fmla="*/ 7 w 25"/>
                <a:gd name="T21" fmla="*/ 10 h 25"/>
                <a:gd name="T22" fmla="*/ 10 w 25"/>
                <a:gd name="T23" fmla="*/ 5 h 25"/>
                <a:gd name="T24" fmla="*/ 9 w 25"/>
                <a:gd name="T25" fmla="*/ 4 h 25"/>
                <a:gd name="T26" fmla="*/ 12 w 25"/>
                <a:gd name="T27" fmla="*/ 0 h 25"/>
                <a:gd name="T28" fmla="*/ 22 w 25"/>
                <a:gd name="T29" fmla="*/ 0 h 25"/>
                <a:gd name="T30" fmla="*/ 24 w 25"/>
                <a:gd name="T31" fmla="*/ 7 h 25"/>
                <a:gd name="T32" fmla="*/ 23 w 25"/>
                <a:gd name="T33" fmla="*/ 9 h 25"/>
                <a:gd name="T34" fmla="*/ 24 w 25"/>
                <a:gd name="T35" fmla="*/ 14 h 25"/>
                <a:gd name="T36" fmla="*/ 22 w 25"/>
                <a:gd name="T37" fmla="*/ 21 h 25"/>
                <a:gd name="T38" fmla="*/ 21 w 25"/>
                <a:gd name="T3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5">
                  <a:moveTo>
                    <a:pt x="21" y="24"/>
                  </a:moveTo>
                  <a:cubicBezTo>
                    <a:pt x="21" y="24"/>
                    <a:pt x="18" y="25"/>
                    <a:pt x="17" y="25"/>
                  </a:cubicBezTo>
                  <a:cubicBezTo>
                    <a:pt x="17" y="25"/>
                    <a:pt x="11" y="25"/>
                    <a:pt x="9" y="22"/>
                  </a:cubicBezTo>
                  <a:cubicBezTo>
                    <a:pt x="7" y="19"/>
                    <a:pt x="6" y="17"/>
                    <a:pt x="6" y="17"/>
                  </a:cubicBezTo>
                  <a:cubicBezTo>
                    <a:pt x="6" y="17"/>
                    <a:pt x="5" y="17"/>
                    <a:pt x="5" y="17"/>
                  </a:cubicBezTo>
                  <a:cubicBezTo>
                    <a:pt x="4" y="17"/>
                    <a:pt x="3" y="14"/>
                    <a:pt x="2" y="14"/>
                  </a:cubicBezTo>
                  <a:cubicBezTo>
                    <a:pt x="2" y="13"/>
                    <a:pt x="0" y="10"/>
                    <a:pt x="2" y="9"/>
                  </a:cubicBezTo>
                  <a:cubicBezTo>
                    <a:pt x="3" y="8"/>
                    <a:pt x="5" y="9"/>
                    <a:pt x="5" y="10"/>
                  </a:cubicBezTo>
                  <a:cubicBezTo>
                    <a:pt x="5" y="10"/>
                    <a:pt x="7" y="13"/>
                    <a:pt x="7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7" y="10"/>
                    <a:pt x="7" y="10"/>
                  </a:cubicBezTo>
                  <a:cubicBezTo>
                    <a:pt x="8" y="9"/>
                    <a:pt x="11" y="6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3"/>
                    <a:pt x="12" y="1"/>
                    <a:pt x="12" y="0"/>
                  </a:cubicBezTo>
                  <a:cubicBezTo>
                    <a:pt x="13" y="0"/>
                    <a:pt x="19" y="0"/>
                    <a:pt x="22" y="0"/>
                  </a:cubicBezTo>
                  <a:cubicBezTo>
                    <a:pt x="22" y="0"/>
                    <a:pt x="24" y="3"/>
                    <a:pt x="24" y="7"/>
                  </a:cubicBezTo>
                  <a:cubicBezTo>
                    <a:pt x="24" y="7"/>
                    <a:pt x="24" y="8"/>
                    <a:pt x="23" y="9"/>
                  </a:cubicBezTo>
                  <a:cubicBezTo>
                    <a:pt x="23" y="9"/>
                    <a:pt x="25" y="11"/>
                    <a:pt x="24" y="14"/>
                  </a:cubicBezTo>
                  <a:cubicBezTo>
                    <a:pt x="24" y="17"/>
                    <a:pt x="22" y="20"/>
                    <a:pt x="22" y="21"/>
                  </a:cubicBezTo>
                  <a:cubicBezTo>
                    <a:pt x="22" y="22"/>
                    <a:pt x="22" y="24"/>
                    <a:pt x="21" y="24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12825" y="650875"/>
              <a:ext cx="276225" cy="311150"/>
            </a:xfrm>
            <a:custGeom>
              <a:avLst/>
              <a:gdLst>
                <a:gd name="T0" fmla="*/ 2 w 22"/>
                <a:gd name="T1" fmla="*/ 9 h 25"/>
                <a:gd name="T2" fmla="*/ 5 w 22"/>
                <a:gd name="T3" fmla="*/ 10 h 25"/>
                <a:gd name="T4" fmla="*/ 7 w 22"/>
                <a:gd name="T5" fmla="*/ 13 h 25"/>
                <a:gd name="T6" fmla="*/ 8 w 22"/>
                <a:gd name="T7" fmla="*/ 13 h 25"/>
                <a:gd name="T8" fmla="*/ 7 w 22"/>
                <a:gd name="T9" fmla="*/ 10 h 25"/>
                <a:gd name="T10" fmla="*/ 10 w 22"/>
                <a:gd name="T11" fmla="*/ 5 h 25"/>
                <a:gd name="T12" fmla="*/ 9 w 22"/>
                <a:gd name="T13" fmla="*/ 4 h 25"/>
                <a:gd name="T14" fmla="*/ 12 w 22"/>
                <a:gd name="T15" fmla="*/ 0 h 25"/>
                <a:gd name="T16" fmla="*/ 13 w 22"/>
                <a:gd name="T17" fmla="*/ 0 h 25"/>
                <a:gd name="T18" fmla="*/ 16 w 22"/>
                <a:gd name="T19" fmla="*/ 6 h 25"/>
                <a:gd name="T20" fmla="*/ 13 w 22"/>
                <a:gd name="T21" fmla="*/ 7 h 25"/>
                <a:gd name="T22" fmla="*/ 13 w 22"/>
                <a:gd name="T23" fmla="*/ 10 h 25"/>
                <a:gd name="T24" fmla="*/ 11 w 22"/>
                <a:gd name="T25" fmla="*/ 10 h 25"/>
                <a:gd name="T26" fmla="*/ 12 w 22"/>
                <a:gd name="T27" fmla="*/ 15 h 25"/>
                <a:gd name="T28" fmla="*/ 15 w 22"/>
                <a:gd name="T29" fmla="*/ 15 h 25"/>
                <a:gd name="T30" fmla="*/ 14 w 22"/>
                <a:gd name="T31" fmla="*/ 20 h 25"/>
                <a:gd name="T32" fmla="*/ 18 w 22"/>
                <a:gd name="T33" fmla="*/ 24 h 25"/>
                <a:gd name="T34" fmla="*/ 22 w 22"/>
                <a:gd name="T35" fmla="*/ 23 h 25"/>
                <a:gd name="T36" fmla="*/ 21 w 22"/>
                <a:gd name="T37" fmla="*/ 24 h 25"/>
                <a:gd name="T38" fmla="*/ 17 w 22"/>
                <a:gd name="T39" fmla="*/ 25 h 25"/>
                <a:gd name="T40" fmla="*/ 9 w 22"/>
                <a:gd name="T41" fmla="*/ 22 h 25"/>
                <a:gd name="T42" fmla="*/ 6 w 22"/>
                <a:gd name="T43" fmla="*/ 17 h 25"/>
                <a:gd name="T44" fmla="*/ 5 w 22"/>
                <a:gd name="T45" fmla="*/ 17 h 25"/>
                <a:gd name="T46" fmla="*/ 2 w 22"/>
                <a:gd name="T47" fmla="*/ 14 h 25"/>
                <a:gd name="T48" fmla="*/ 2 w 22"/>
                <a:gd name="T49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25">
                  <a:moveTo>
                    <a:pt x="2" y="9"/>
                  </a:moveTo>
                  <a:cubicBezTo>
                    <a:pt x="3" y="8"/>
                    <a:pt x="5" y="9"/>
                    <a:pt x="5" y="10"/>
                  </a:cubicBezTo>
                  <a:cubicBezTo>
                    <a:pt x="5" y="10"/>
                    <a:pt x="7" y="13"/>
                    <a:pt x="7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7" y="10"/>
                    <a:pt x="7" y="10"/>
                  </a:cubicBezTo>
                  <a:cubicBezTo>
                    <a:pt x="8" y="9"/>
                    <a:pt x="11" y="6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3"/>
                    <a:pt x="12" y="1"/>
                    <a:pt x="12" y="0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5" y="2"/>
                    <a:pt x="17" y="6"/>
                    <a:pt x="16" y="6"/>
                  </a:cubicBezTo>
                  <a:cubicBezTo>
                    <a:pt x="15" y="6"/>
                    <a:pt x="13" y="7"/>
                    <a:pt x="13" y="7"/>
                  </a:cubicBezTo>
                  <a:cubicBezTo>
                    <a:pt x="13" y="7"/>
                    <a:pt x="13" y="9"/>
                    <a:pt x="13" y="10"/>
                  </a:cubicBezTo>
                  <a:cubicBezTo>
                    <a:pt x="12" y="10"/>
                    <a:pt x="11" y="10"/>
                    <a:pt x="11" y="10"/>
                  </a:cubicBezTo>
                  <a:cubicBezTo>
                    <a:pt x="11" y="11"/>
                    <a:pt x="11" y="14"/>
                    <a:pt x="12" y="15"/>
                  </a:cubicBezTo>
                  <a:cubicBezTo>
                    <a:pt x="13" y="16"/>
                    <a:pt x="15" y="15"/>
                    <a:pt x="15" y="15"/>
                  </a:cubicBezTo>
                  <a:cubicBezTo>
                    <a:pt x="14" y="16"/>
                    <a:pt x="14" y="19"/>
                    <a:pt x="14" y="20"/>
                  </a:cubicBezTo>
                  <a:cubicBezTo>
                    <a:pt x="14" y="21"/>
                    <a:pt x="16" y="23"/>
                    <a:pt x="18" y="24"/>
                  </a:cubicBezTo>
                  <a:cubicBezTo>
                    <a:pt x="18" y="24"/>
                    <a:pt x="20" y="23"/>
                    <a:pt x="22" y="23"/>
                  </a:cubicBezTo>
                  <a:cubicBezTo>
                    <a:pt x="22" y="24"/>
                    <a:pt x="21" y="24"/>
                    <a:pt x="21" y="24"/>
                  </a:cubicBezTo>
                  <a:cubicBezTo>
                    <a:pt x="21" y="24"/>
                    <a:pt x="18" y="25"/>
                    <a:pt x="17" y="25"/>
                  </a:cubicBezTo>
                  <a:cubicBezTo>
                    <a:pt x="17" y="25"/>
                    <a:pt x="11" y="25"/>
                    <a:pt x="9" y="22"/>
                  </a:cubicBezTo>
                  <a:cubicBezTo>
                    <a:pt x="7" y="19"/>
                    <a:pt x="6" y="17"/>
                    <a:pt x="6" y="17"/>
                  </a:cubicBezTo>
                  <a:cubicBezTo>
                    <a:pt x="6" y="17"/>
                    <a:pt x="5" y="17"/>
                    <a:pt x="5" y="17"/>
                  </a:cubicBezTo>
                  <a:cubicBezTo>
                    <a:pt x="4" y="17"/>
                    <a:pt x="3" y="14"/>
                    <a:pt x="2" y="14"/>
                  </a:cubicBezTo>
                  <a:cubicBezTo>
                    <a:pt x="2" y="13"/>
                    <a:pt x="0" y="10"/>
                    <a:pt x="2" y="9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74713" y="2682875"/>
              <a:ext cx="163513" cy="63500"/>
            </a:xfrm>
            <a:custGeom>
              <a:avLst/>
              <a:gdLst>
                <a:gd name="T0" fmla="*/ 5 w 13"/>
                <a:gd name="T1" fmla="*/ 5 h 5"/>
                <a:gd name="T2" fmla="*/ 8 w 13"/>
                <a:gd name="T3" fmla="*/ 0 h 5"/>
                <a:gd name="T4" fmla="*/ 5 w 13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5">
                  <a:moveTo>
                    <a:pt x="5" y="5"/>
                  </a:moveTo>
                  <a:cubicBezTo>
                    <a:pt x="8" y="5"/>
                    <a:pt x="13" y="0"/>
                    <a:pt x="8" y="0"/>
                  </a:cubicBezTo>
                  <a:cubicBezTo>
                    <a:pt x="5" y="0"/>
                    <a:pt x="0" y="5"/>
                    <a:pt x="5" y="5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73113" y="3232150"/>
              <a:ext cx="227013" cy="174625"/>
            </a:xfrm>
            <a:custGeom>
              <a:avLst/>
              <a:gdLst>
                <a:gd name="T0" fmla="*/ 6 w 18"/>
                <a:gd name="T1" fmla="*/ 0 h 14"/>
                <a:gd name="T2" fmla="*/ 0 w 18"/>
                <a:gd name="T3" fmla="*/ 12 h 14"/>
                <a:gd name="T4" fmla="*/ 15 w 18"/>
                <a:gd name="T5" fmla="*/ 9 h 14"/>
                <a:gd name="T6" fmla="*/ 16 w 18"/>
                <a:gd name="T7" fmla="*/ 6 h 14"/>
                <a:gd name="T8" fmla="*/ 17 w 18"/>
                <a:gd name="T9" fmla="*/ 1 h 14"/>
                <a:gd name="T10" fmla="*/ 6 w 18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4">
                  <a:moveTo>
                    <a:pt x="6" y="0"/>
                  </a:moveTo>
                  <a:cubicBezTo>
                    <a:pt x="6" y="0"/>
                    <a:pt x="0" y="8"/>
                    <a:pt x="0" y="12"/>
                  </a:cubicBezTo>
                  <a:cubicBezTo>
                    <a:pt x="0" y="12"/>
                    <a:pt x="14" y="14"/>
                    <a:pt x="15" y="9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8" y="8"/>
                    <a:pt x="17" y="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376363" y="3181350"/>
              <a:ext cx="252413" cy="225425"/>
            </a:xfrm>
            <a:custGeom>
              <a:avLst/>
              <a:gdLst>
                <a:gd name="T0" fmla="*/ 0 w 20"/>
                <a:gd name="T1" fmla="*/ 4 h 18"/>
                <a:gd name="T2" fmla="*/ 0 w 20"/>
                <a:gd name="T3" fmla="*/ 10 h 18"/>
                <a:gd name="T4" fmla="*/ 6 w 20"/>
                <a:gd name="T5" fmla="*/ 13 h 18"/>
                <a:gd name="T6" fmla="*/ 7 w 20"/>
                <a:gd name="T7" fmla="*/ 16 h 18"/>
                <a:gd name="T8" fmla="*/ 7 w 20"/>
                <a:gd name="T9" fmla="*/ 16 h 18"/>
                <a:gd name="T10" fmla="*/ 20 w 20"/>
                <a:gd name="T11" fmla="*/ 17 h 18"/>
                <a:gd name="T12" fmla="*/ 20 w 20"/>
                <a:gd name="T13" fmla="*/ 14 h 18"/>
                <a:gd name="T14" fmla="*/ 12 w 20"/>
                <a:gd name="T15" fmla="*/ 4 h 18"/>
                <a:gd name="T16" fmla="*/ 0 w 20"/>
                <a:gd name="T17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8">
                  <a:moveTo>
                    <a:pt x="0" y="4"/>
                  </a:moveTo>
                  <a:cubicBezTo>
                    <a:pt x="0" y="4"/>
                    <a:pt x="0" y="8"/>
                    <a:pt x="0" y="10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6" y="13"/>
                    <a:pt x="7" y="16"/>
                    <a:pt x="7" y="16"/>
                  </a:cubicBezTo>
                  <a:cubicBezTo>
                    <a:pt x="8" y="17"/>
                    <a:pt x="7" y="16"/>
                    <a:pt x="7" y="16"/>
                  </a:cubicBezTo>
                  <a:cubicBezTo>
                    <a:pt x="7" y="16"/>
                    <a:pt x="17" y="18"/>
                    <a:pt x="20" y="17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14" y="7"/>
                    <a:pt x="12" y="4"/>
                  </a:cubicBezTo>
                  <a:cubicBezTo>
                    <a:pt x="11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98513" y="1735138"/>
              <a:ext cx="779463" cy="1571625"/>
            </a:xfrm>
            <a:custGeom>
              <a:avLst/>
              <a:gdLst>
                <a:gd name="T0" fmla="*/ 3 w 62"/>
                <a:gd name="T1" fmla="*/ 121 h 126"/>
                <a:gd name="T2" fmla="*/ 17 w 62"/>
                <a:gd name="T3" fmla="*/ 120 h 126"/>
                <a:gd name="T4" fmla="*/ 15 w 62"/>
                <a:gd name="T5" fmla="*/ 106 h 126"/>
                <a:gd name="T6" fmla="*/ 23 w 62"/>
                <a:gd name="T7" fmla="*/ 64 h 126"/>
                <a:gd name="T8" fmla="*/ 30 w 62"/>
                <a:gd name="T9" fmla="*/ 36 h 126"/>
                <a:gd name="T10" fmla="*/ 32 w 62"/>
                <a:gd name="T11" fmla="*/ 40 h 126"/>
                <a:gd name="T12" fmla="*/ 46 w 62"/>
                <a:gd name="T13" fmla="*/ 120 h 126"/>
                <a:gd name="T14" fmla="*/ 59 w 62"/>
                <a:gd name="T15" fmla="*/ 122 h 126"/>
                <a:gd name="T16" fmla="*/ 59 w 62"/>
                <a:gd name="T17" fmla="*/ 110 h 126"/>
                <a:gd name="T18" fmla="*/ 58 w 62"/>
                <a:gd name="T19" fmla="*/ 88 h 126"/>
                <a:gd name="T20" fmla="*/ 58 w 62"/>
                <a:gd name="T21" fmla="*/ 58 h 126"/>
                <a:gd name="T22" fmla="*/ 56 w 62"/>
                <a:gd name="T23" fmla="*/ 24 h 126"/>
                <a:gd name="T24" fmla="*/ 56 w 62"/>
                <a:gd name="T25" fmla="*/ 20 h 126"/>
                <a:gd name="T26" fmla="*/ 53 w 62"/>
                <a:gd name="T27" fmla="*/ 12 h 126"/>
                <a:gd name="T28" fmla="*/ 52 w 62"/>
                <a:gd name="T29" fmla="*/ 2 h 126"/>
                <a:gd name="T30" fmla="*/ 30 w 62"/>
                <a:gd name="T31" fmla="*/ 5 h 126"/>
                <a:gd name="T32" fmla="*/ 14 w 62"/>
                <a:gd name="T33" fmla="*/ 0 h 126"/>
                <a:gd name="T34" fmla="*/ 13 w 62"/>
                <a:gd name="T35" fmla="*/ 5 h 126"/>
                <a:gd name="T36" fmla="*/ 3 w 62"/>
                <a:gd name="T37" fmla="*/ 17 h 126"/>
                <a:gd name="T38" fmla="*/ 5 w 62"/>
                <a:gd name="T39" fmla="*/ 23 h 126"/>
                <a:gd name="T40" fmla="*/ 5 w 62"/>
                <a:gd name="T41" fmla="*/ 55 h 126"/>
                <a:gd name="T42" fmla="*/ 3 w 62"/>
                <a:gd name="T43" fmla="*/ 93 h 126"/>
                <a:gd name="T44" fmla="*/ 1 w 62"/>
                <a:gd name="T45" fmla="*/ 112 h 126"/>
                <a:gd name="T46" fmla="*/ 3 w 62"/>
                <a:gd name="T47" fmla="*/ 12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" h="126">
                  <a:moveTo>
                    <a:pt x="3" y="121"/>
                  </a:moveTo>
                  <a:cubicBezTo>
                    <a:pt x="3" y="121"/>
                    <a:pt x="16" y="124"/>
                    <a:pt x="17" y="120"/>
                  </a:cubicBezTo>
                  <a:cubicBezTo>
                    <a:pt x="18" y="116"/>
                    <a:pt x="15" y="106"/>
                    <a:pt x="15" y="106"/>
                  </a:cubicBezTo>
                  <a:cubicBezTo>
                    <a:pt x="15" y="106"/>
                    <a:pt x="22" y="65"/>
                    <a:pt x="23" y="64"/>
                  </a:cubicBezTo>
                  <a:cubicBezTo>
                    <a:pt x="24" y="64"/>
                    <a:pt x="28" y="47"/>
                    <a:pt x="30" y="36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9" y="111"/>
                    <a:pt x="46" y="120"/>
                  </a:cubicBezTo>
                  <a:cubicBezTo>
                    <a:pt x="46" y="120"/>
                    <a:pt x="55" y="126"/>
                    <a:pt x="59" y="122"/>
                  </a:cubicBezTo>
                  <a:cubicBezTo>
                    <a:pt x="59" y="122"/>
                    <a:pt x="62" y="119"/>
                    <a:pt x="59" y="110"/>
                  </a:cubicBezTo>
                  <a:cubicBezTo>
                    <a:pt x="59" y="110"/>
                    <a:pt x="61" y="95"/>
                    <a:pt x="58" y="88"/>
                  </a:cubicBezTo>
                  <a:cubicBezTo>
                    <a:pt x="58" y="88"/>
                    <a:pt x="58" y="63"/>
                    <a:pt x="58" y="58"/>
                  </a:cubicBezTo>
                  <a:cubicBezTo>
                    <a:pt x="58" y="53"/>
                    <a:pt x="55" y="28"/>
                    <a:pt x="56" y="24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2"/>
                    <a:pt x="37" y="6"/>
                    <a:pt x="30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4" y="14"/>
                    <a:pt x="3" y="17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4" y="48"/>
                    <a:pt x="5" y="55"/>
                  </a:cubicBezTo>
                  <a:cubicBezTo>
                    <a:pt x="5" y="55"/>
                    <a:pt x="2" y="87"/>
                    <a:pt x="3" y="93"/>
                  </a:cubicBezTo>
                  <a:cubicBezTo>
                    <a:pt x="3" y="93"/>
                    <a:pt x="0" y="109"/>
                    <a:pt x="1" y="112"/>
                  </a:cubicBezTo>
                  <a:cubicBezTo>
                    <a:pt x="2" y="115"/>
                    <a:pt x="3" y="121"/>
                    <a:pt x="3" y="121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289050" y="1960563"/>
              <a:ext cx="12700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401763" y="2022475"/>
              <a:ext cx="12700" cy="12700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401763" y="2146300"/>
              <a:ext cx="12700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36613" y="1860550"/>
              <a:ext cx="666750" cy="1408112"/>
            </a:xfrm>
            <a:custGeom>
              <a:avLst/>
              <a:gdLst>
                <a:gd name="T0" fmla="*/ 53 w 53"/>
                <a:gd name="T1" fmla="*/ 113 h 113"/>
                <a:gd name="T2" fmla="*/ 50 w 53"/>
                <a:gd name="T3" fmla="*/ 100 h 113"/>
                <a:gd name="T4" fmla="*/ 48 w 53"/>
                <a:gd name="T5" fmla="*/ 89 h 113"/>
                <a:gd name="T6" fmla="*/ 53 w 53"/>
                <a:gd name="T7" fmla="*/ 73 h 113"/>
                <a:gd name="T8" fmla="*/ 46 w 53"/>
                <a:gd name="T9" fmla="*/ 78 h 113"/>
                <a:gd name="T10" fmla="*/ 46 w 53"/>
                <a:gd name="T11" fmla="*/ 68 h 113"/>
                <a:gd name="T12" fmla="*/ 43 w 53"/>
                <a:gd name="T13" fmla="*/ 44 h 113"/>
                <a:gd name="T14" fmla="*/ 43 w 53"/>
                <a:gd name="T15" fmla="*/ 60 h 113"/>
                <a:gd name="T16" fmla="*/ 37 w 53"/>
                <a:gd name="T17" fmla="*/ 34 h 113"/>
                <a:gd name="T18" fmla="*/ 45 w 53"/>
                <a:gd name="T19" fmla="*/ 23 h 113"/>
                <a:gd name="T20" fmla="*/ 32 w 53"/>
                <a:gd name="T21" fmla="*/ 23 h 113"/>
                <a:gd name="T22" fmla="*/ 45 w 53"/>
                <a:gd name="T23" fmla="*/ 14 h 113"/>
                <a:gd name="T24" fmla="*/ 32 w 53"/>
                <a:gd name="T25" fmla="*/ 18 h 113"/>
                <a:gd name="T26" fmla="*/ 36 w 53"/>
                <a:gd name="T27" fmla="*/ 8 h 113"/>
                <a:gd name="T28" fmla="*/ 24 w 53"/>
                <a:gd name="T29" fmla="*/ 11 h 113"/>
                <a:gd name="T30" fmla="*/ 14 w 53"/>
                <a:gd name="T31" fmla="*/ 0 h 113"/>
                <a:gd name="T32" fmla="*/ 19 w 53"/>
                <a:gd name="T33" fmla="*/ 14 h 113"/>
                <a:gd name="T34" fmla="*/ 10 w 53"/>
                <a:gd name="T35" fmla="*/ 10 h 113"/>
                <a:gd name="T36" fmla="*/ 4 w 53"/>
                <a:gd name="T37" fmla="*/ 1 h 113"/>
                <a:gd name="T38" fmla="*/ 0 w 53"/>
                <a:gd name="T39" fmla="*/ 7 h 113"/>
                <a:gd name="T40" fmla="*/ 1 w 53"/>
                <a:gd name="T41" fmla="*/ 10 h 113"/>
                <a:gd name="T42" fmla="*/ 22 w 53"/>
                <a:gd name="T43" fmla="*/ 23 h 113"/>
                <a:gd name="T44" fmla="*/ 8 w 53"/>
                <a:gd name="T45" fmla="*/ 21 h 113"/>
                <a:gd name="T46" fmla="*/ 18 w 53"/>
                <a:gd name="T47" fmla="*/ 27 h 113"/>
                <a:gd name="T48" fmla="*/ 12 w 53"/>
                <a:gd name="T49" fmla="*/ 47 h 113"/>
                <a:gd name="T50" fmla="*/ 12 w 53"/>
                <a:gd name="T51" fmla="*/ 67 h 113"/>
                <a:gd name="T52" fmla="*/ 7 w 53"/>
                <a:gd name="T53" fmla="*/ 54 h 113"/>
                <a:gd name="T54" fmla="*/ 6 w 53"/>
                <a:gd name="T55" fmla="*/ 78 h 113"/>
                <a:gd name="T56" fmla="*/ 10 w 53"/>
                <a:gd name="T57" fmla="*/ 98 h 113"/>
                <a:gd name="T58" fmla="*/ 3 w 53"/>
                <a:gd name="T59" fmla="*/ 85 h 113"/>
                <a:gd name="T60" fmla="*/ 6 w 53"/>
                <a:gd name="T61" fmla="*/ 103 h 113"/>
                <a:gd name="T62" fmla="*/ 6 w 53"/>
                <a:gd name="T63" fmla="*/ 112 h 113"/>
                <a:gd name="T64" fmla="*/ 14 w 53"/>
                <a:gd name="T65" fmla="*/ 110 h 113"/>
                <a:gd name="T66" fmla="*/ 12 w 53"/>
                <a:gd name="T67" fmla="*/ 96 h 113"/>
                <a:gd name="T68" fmla="*/ 20 w 53"/>
                <a:gd name="T69" fmla="*/ 54 h 113"/>
                <a:gd name="T70" fmla="*/ 27 w 53"/>
                <a:gd name="T71" fmla="*/ 26 h 113"/>
                <a:gd name="T72" fmla="*/ 29 w 53"/>
                <a:gd name="T73" fmla="*/ 30 h 113"/>
                <a:gd name="T74" fmla="*/ 43 w 53"/>
                <a:gd name="T75" fmla="*/ 110 h 113"/>
                <a:gd name="T76" fmla="*/ 53 w 53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113">
                  <a:moveTo>
                    <a:pt x="53" y="113"/>
                  </a:moveTo>
                  <a:cubicBezTo>
                    <a:pt x="52" y="108"/>
                    <a:pt x="51" y="102"/>
                    <a:pt x="50" y="100"/>
                  </a:cubicBezTo>
                  <a:cubicBezTo>
                    <a:pt x="48" y="96"/>
                    <a:pt x="48" y="89"/>
                    <a:pt x="48" y="89"/>
                  </a:cubicBezTo>
                  <a:cubicBezTo>
                    <a:pt x="52" y="88"/>
                    <a:pt x="53" y="73"/>
                    <a:pt x="53" y="73"/>
                  </a:cubicBezTo>
                  <a:cubicBezTo>
                    <a:pt x="53" y="73"/>
                    <a:pt x="48" y="79"/>
                    <a:pt x="46" y="78"/>
                  </a:cubicBezTo>
                  <a:cubicBezTo>
                    <a:pt x="44" y="78"/>
                    <a:pt x="45" y="75"/>
                    <a:pt x="46" y="68"/>
                  </a:cubicBezTo>
                  <a:cubicBezTo>
                    <a:pt x="47" y="62"/>
                    <a:pt x="43" y="44"/>
                    <a:pt x="43" y="44"/>
                  </a:cubicBezTo>
                  <a:cubicBezTo>
                    <a:pt x="44" y="49"/>
                    <a:pt x="43" y="60"/>
                    <a:pt x="43" y="60"/>
                  </a:cubicBezTo>
                  <a:cubicBezTo>
                    <a:pt x="43" y="60"/>
                    <a:pt x="38" y="40"/>
                    <a:pt x="37" y="34"/>
                  </a:cubicBezTo>
                  <a:cubicBezTo>
                    <a:pt x="37" y="29"/>
                    <a:pt x="44" y="24"/>
                    <a:pt x="45" y="23"/>
                  </a:cubicBezTo>
                  <a:cubicBezTo>
                    <a:pt x="39" y="28"/>
                    <a:pt x="32" y="23"/>
                    <a:pt x="32" y="23"/>
                  </a:cubicBezTo>
                  <a:cubicBezTo>
                    <a:pt x="35" y="22"/>
                    <a:pt x="43" y="16"/>
                    <a:pt x="45" y="14"/>
                  </a:cubicBezTo>
                  <a:cubicBezTo>
                    <a:pt x="41" y="16"/>
                    <a:pt x="32" y="18"/>
                    <a:pt x="32" y="1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4" y="14"/>
                    <a:pt x="28" y="17"/>
                    <a:pt x="24" y="11"/>
                  </a:cubicBezTo>
                  <a:cubicBezTo>
                    <a:pt x="21" y="5"/>
                    <a:pt x="14" y="0"/>
                    <a:pt x="14" y="0"/>
                  </a:cubicBezTo>
                  <a:cubicBezTo>
                    <a:pt x="17" y="4"/>
                    <a:pt x="19" y="14"/>
                    <a:pt x="19" y="14"/>
                  </a:cubicBezTo>
                  <a:cubicBezTo>
                    <a:pt x="19" y="14"/>
                    <a:pt x="17" y="13"/>
                    <a:pt x="10" y="10"/>
                  </a:cubicBezTo>
                  <a:cubicBezTo>
                    <a:pt x="5" y="8"/>
                    <a:pt x="4" y="4"/>
                    <a:pt x="4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4" y="23"/>
                    <a:pt x="25" y="20"/>
                    <a:pt x="22" y="23"/>
                  </a:cubicBezTo>
                  <a:cubicBezTo>
                    <a:pt x="18" y="26"/>
                    <a:pt x="8" y="21"/>
                    <a:pt x="8" y="21"/>
                  </a:cubicBezTo>
                  <a:cubicBezTo>
                    <a:pt x="10" y="25"/>
                    <a:pt x="18" y="27"/>
                    <a:pt x="18" y="27"/>
                  </a:cubicBezTo>
                  <a:cubicBezTo>
                    <a:pt x="18" y="27"/>
                    <a:pt x="18" y="35"/>
                    <a:pt x="12" y="47"/>
                  </a:cubicBezTo>
                  <a:cubicBezTo>
                    <a:pt x="7" y="58"/>
                    <a:pt x="12" y="67"/>
                    <a:pt x="12" y="67"/>
                  </a:cubicBezTo>
                  <a:cubicBezTo>
                    <a:pt x="8" y="67"/>
                    <a:pt x="7" y="54"/>
                    <a:pt x="7" y="54"/>
                  </a:cubicBezTo>
                  <a:cubicBezTo>
                    <a:pt x="7" y="54"/>
                    <a:pt x="7" y="72"/>
                    <a:pt x="6" y="78"/>
                  </a:cubicBezTo>
                  <a:cubicBezTo>
                    <a:pt x="5" y="84"/>
                    <a:pt x="10" y="98"/>
                    <a:pt x="10" y="98"/>
                  </a:cubicBezTo>
                  <a:cubicBezTo>
                    <a:pt x="5" y="98"/>
                    <a:pt x="3" y="85"/>
                    <a:pt x="3" y="85"/>
                  </a:cubicBezTo>
                  <a:cubicBezTo>
                    <a:pt x="2" y="87"/>
                    <a:pt x="4" y="98"/>
                    <a:pt x="6" y="103"/>
                  </a:cubicBezTo>
                  <a:cubicBezTo>
                    <a:pt x="7" y="105"/>
                    <a:pt x="7" y="109"/>
                    <a:pt x="6" y="112"/>
                  </a:cubicBezTo>
                  <a:cubicBezTo>
                    <a:pt x="9" y="112"/>
                    <a:pt x="13" y="112"/>
                    <a:pt x="14" y="110"/>
                  </a:cubicBezTo>
                  <a:cubicBezTo>
                    <a:pt x="15" y="106"/>
                    <a:pt x="12" y="96"/>
                    <a:pt x="12" y="96"/>
                  </a:cubicBezTo>
                  <a:cubicBezTo>
                    <a:pt x="12" y="96"/>
                    <a:pt x="19" y="55"/>
                    <a:pt x="20" y="54"/>
                  </a:cubicBezTo>
                  <a:cubicBezTo>
                    <a:pt x="21" y="54"/>
                    <a:pt x="25" y="37"/>
                    <a:pt x="27" y="2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36" y="101"/>
                    <a:pt x="43" y="110"/>
                  </a:cubicBezTo>
                  <a:cubicBezTo>
                    <a:pt x="43" y="110"/>
                    <a:pt x="48" y="113"/>
                    <a:pt x="53" y="1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23913" y="1884363"/>
              <a:ext cx="112713" cy="163512"/>
            </a:xfrm>
            <a:custGeom>
              <a:avLst/>
              <a:gdLst>
                <a:gd name="T0" fmla="*/ 0 w 9"/>
                <a:gd name="T1" fmla="*/ 6 h 13"/>
                <a:gd name="T2" fmla="*/ 5 w 9"/>
                <a:gd name="T3" fmla="*/ 13 h 13"/>
                <a:gd name="T4" fmla="*/ 5 w 9"/>
                <a:gd name="T5" fmla="*/ 7 h 13"/>
                <a:gd name="T6" fmla="*/ 7 w 9"/>
                <a:gd name="T7" fmla="*/ 0 h 13"/>
                <a:gd name="T8" fmla="*/ 0 w 9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0" y="6"/>
                  </a:moveTo>
                  <a:cubicBezTo>
                    <a:pt x="0" y="6"/>
                    <a:pt x="2" y="12"/>
                    <a:pt x="5" y="13"/>
                  </a:cubicBezTo>
                  <a:cubicBezTo>
                    <a:pt x="5" y="13"/>
                    <a:pt x="3" y="8"/>
                    <a:pt x="5" y="7"/>
                  </a:cubicBezTo>
                  <a:cubicBezTo>
                    <a:pt x="5" y="7"/>
                    <a:pt x="9" y="4"/>
                    <a:pt x="7" y="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74713" y="949325"/>
              <a:ext cx="590550" cy="847725"/>
            </a:xfrm>
            <a:custGeom>
              <a:avLst/>
              <a:gdLst>
                <a:gd name="T0" fmla="*/ 14 w 47"/>
                <a:gd name="T1" fmla="*/ 0 h 68"/>
                <a:gd name="T2" fmla="*/ 20 w 47"/>
                <a:gd name="T3" fmla="*/ 7 h 68"/>
                <a:gd name="T4" fmla="*/ 30 w 47"/>
                <a:gd name="T5" fmla="*/ 5 h 68"/>
                <a:gd name="T6" fmla="*/ 40 w 47"/>
                <a:gd name="T7" fmla="*/ 46 h 68"/>
                <a:gd name="T8" fmla="*/ 47 w 47"/>
                <a:gd name="T9" fmla="*/ 66 h 68"/>
                <a:gd name="T10" fmla="*/ 24 w 47"/>
                <a:gd name="T11" fmla="*/ 68 h 68"/>
                <a:gd name="T12" fmla="*/ 2 w 47"/>
                <a:gd name="T13" fmla="*/ 66 h 68"/>
                <a:gd name="T14" fmla="*/ 0 w 47"/>
                <a:gd name="T15" fmla="*/ 20 h 68"/>
                <a:gd name="T16" fmla="*/ 14 w 47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cubicBezTo>
                    <a:pt x="14" y="0"/>
                    <a:pt x="17" y="7"/>
                    <a:pt x="20" y="7"/>
                  </a:cubicBezTo>
                  <a:cubicBezTo>
                    <a:pt x="20" y="7"/>
                    <a:pt x="25" y="9"/>
                    <a:pt x="30" y="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2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87425" y="1049338"/>
              <a:ext cx="125413" cy="112712"/>
            </a:xfrm>
            <a:custGeom>
              <a:avLst/>
              <a:gdLst>
                <a:gd name="T0" fmla="*/ 0 w 79"/>
                <a:gd name="T1" fmla="*/ 55 h 71"/>
                <a:gd name="T2" fmla="*/ 79 w 79"/>
                <a:gd name="T3" fmla="*/ 0 h 71"/>
                <a:gd name="T4" fmla="*/ 0 w 79"/>
                <a:gd name="T5" fmla="*/ 71 h 71"/>
                <a:gd name="T6" fmla="*/ 0 w 79"/>
                <a:gd name="T7" fmla="*/ 5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71">
                  <a:moveTo>
                    <a:pt x="0" y="55"/>
                  </a:moveTo>
                  <a:lnTo>
                    <a:pt x="79" y="0"/>
                  </a:lnTo>
                  <a:lnTo>
                    <a:pt x="0" y="71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163638" y="1074738"/>
              <a:ext cx="276225" cy="673100"/>
            </a:xfrm>
            <a:custGeom>
              <a:avLst/>
              <a:gdLst>
                <a:gd name="T0" fmla="*/ 0 w 22"/>
                <a:gd name="T1" fmla="*/ 0 h 54"/>
                <a:gd name="T2" fmla="*/ 8 w 22"/>
                <a:gd name="T3" fmla="*/ 6 h 54"/>
                <a:gd name="T4" fmla="*/ 15 w 22"/>
                <a:gd name="T5" fmla="*/ 29 h 54"/>
                <a:gd name="T6" fmla="*/ 22 w 22"/>
                <a:gd name="T7" fmla="*/ 50 h 54"/>
                <a:gd name="T8" fmla="*/ 6 w 22"/>
                <a:gd name="T9" fmla="*/ 49 h 54"/>
                <a:gd name="T10" fmla="*/ 13 w 22"/>
                <a:gd name="T11" fmla="*/ 44 h 54"/>
                <a:gd name="T12" fmla="*/ 6 w 22"/>
                <a:gd name="T13" fmla="*/ 34 h 54"/>
                <a:gd name="T14" fmla="*/ 8 w 22"/>
                <a:gd name="T15" fmla="*/ 28 h 54"/>
                <a:gd name="T16" fmla="*/ 7 w 22"/>
                <a:gd name="T17" fmla="*/ 8 h 54"/>
                <a:gd name="T18" fmla="*/ 0 w 22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54">
                  <a:moveTo>
                    <a:pt x="0" y="0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2" y="50"/>
                    <a:pt x="9" y="54"/>
                    <a:pt x="6" y="49"/>
                  </a:cubicBezTo>
                  <a:cubicBezTo>
                    <a:pt x="6" y="49"/>
                    <a:pt x="14" y="52"/>
                    <a:pt x="13" y="44"/>
                  </a:cubicBezTo>
                  <a:cubicBezTo>
                    <a:pt x="12" y="36"/>
                    <a:pt x="8" y="37"/>
                    <a:pt x="6" y="34"/>
                  </a:cubicBezTo>
                  <a:cubicBezTo>
                    <a:pt x="6" y="34"/>
                    <a:pt x="8" y="34"/>
                    <a:pt x="8" y="28"/>
                  </a:cubicBezTo>
                  <a:cubicBezTo>
                    <a:pt x="8" y="22"/>
                    <a:pt x="7" y="8"/>
                    <a:pt x="7" y="8"/>
                  </a:cubicBezTo>
                  <a:cubicBezTo>
                    <a:pt x="7" y="8"/>
                    <a:pt x="4" y="4"/>
                    <a:pt x="0" y="0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73100" y="974725"/>
              <a:ext cx="365125" cy="1047750"/>
            </a:xfrm>
            <a:custGeom>
              <a:avLst/>
              <a:gdLst>
                <a:gd name="T0" fmla="*/ 12 w 29"/>
                <a:gd name="T1" fmla="*/ 84 h 84"/>
                <a:gd name="T2" fmla="*/ 20 w 29"/>
                <a:gd name="T3" fmla="*/ 75 h 84"/>
                <a:gd name="T4" fmla="*/ 27 w 29"/>
                <a:gd name="T5" fmla="*/ 44 h 84"/>
                <a:gd name="T6" fmla="*/ 29 w 29"/>
                <a:gd name="T7" fmla="*/ 0 h 84"/>
                <a:gd name="T8" fmla="*/ 25 w 29"/>
                <a:gd name="T9" fmla="*/ 4 h 84"/>
                <a:gd name="T10" fmla="*/ 7 w 29"/>
                <a:gd name="T11" fmla="*/ 9 h 84"/>
                <a:gd name="T12" fmla="*/ 0 w 29"/>
                <a:gd name="T13" fmla="*/ 46 h 84"/>
                <a:gd name="T14" fmla="*/ 3 w 29"/>
                <a:gd name="T15" fmla="*/ 63 h 84"/>
                <a:gd name="T16" fmla="*/ 12 w 29"/>
                <a:gd name="T1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84">
                  <a:moveTo>
                    <a:pt x="12" y="84"/>
                  </a:moveTo>
                  <a:cubicBezTo>
                    <a:pt x="12" y="84"/>
                    <a:pt x="13" y="78"/>
                    <a:pt x="20" y="75"/>
                  </a:cubicBezTo>
                  <a:cubicBezTo>
                    <a:pt x="20" y="75"/>
                    <a:pt x="27" y="59"/>
                    <a:pt x="27" y="44"/>
                  </a:cubicBezTo>
                  <a:cubicBezTo>
                    <a:pt x="28" y="28"/>
                    <a:pt x="27" y="4"/>
                    <a:pt x="29" y="0"/>
                  </a:cubicBezTo>
                  <a:cubicBezTo>
                    <a:pt x="29" y="0"/>
                    <a:pt x="27" y="1"/>
                    <a:pt x="25" y="4"/>
                  </a:cubicBezTo>
                  <a:cubicBezTo>
                    <a:pt x="25" y="4"/>
                    <a:pt x="10" y="7"/>
                    <a:pt x="7" y="9"/>
                  </a:cubicBezTo>
                  <a:cubicBezTo>
                    <a:pt x="7" y="9"/>
                    <a:pt x="2" y="22"/>
                    <a:pt x="0" y="46"/>
                  </a:cubicBezTo>
                  <a:cubicBezTo>
                    <a:pt x="0" y="46"/>
                    <a:pt x="2" y="61"/>
                    <a:pt x="3" y="63"/>
                  </a:cubicBezTo>
                  <a:cubicBezTo>
                    <a:pt x="4" y="65"/>
                    <a:pt x="8" y="76"/>
                    <a:pt x="12" y="84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87425" y="1735138"/>
              <a:ext cx="427038" cy="112712"/>
            </a:xfrm>
            <a:custGeom>
              <a:avLst/>
              <a:gdLst>
                <a:gd name="T0" fmla="*/ 32 w 34"/>
                <a:gd name="T1" fmla="*/ 0 h 9"/>
                <a:gd name="T2" fmla="*/ 1 w 34"/>
                <a:gd name="T3" fmla="*/ 4 h 9"/>
                <a:gd name="T4" fmla="*/ 0 w 34"/>
                <a:gd name="T5" fmla="*/ 5 h 9"/>
                <a:gd name="T6" fmla="*/ 34 w 34"/>
                <a:gd name="T7" fmla="*/ 4 h 9"/>
                <a:gd name="T8" fmla="*/ 32 w 3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9">
                  <a:moveTo>
                    <a:pt x="32" y="0"/>
                  </a:moveTo>
                  <a:cubicBezTo>
                    <a:pt x="21" y="5"/>
                    <a:pt x="7" y="4"/>
                    <a:pt x="1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0" y="5"/>
                    <a:pt x="20" y="9"/>
                    <a:pt x="34" y="4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98525" y="1074738"/>
              <a:ext cx="127000" cy="573087"/>
            </a:xfrm>
            <a:custGeom>
              <a:avLst/>
              <a:gdLst>
                <a:gd name="T0" fmla="*/ 8 w 10"/>
                <a:gd name="T1" fmla="*/ 46 h 46"/>
                <a:gd name="T2" fmla="*/ 9 w 10"/>
                <a:gd name="T3" fmla="*/ 36 h 46"/>
                <a:gd name="T4" fmla="*/ 10 w 10"/>
                <a:gd name="T5" fmla="*/ 34 h 46"/>
                <a:gd name="T6" fmla="*/ 1 w 10"/>
                <a:gd name="T7" fmla="*/ 5 h 46"/>
                <a:gd name="T8" fmla="*/ 4 w 10"/>
                <a:gd name="T9" fmla="*/ 4 h 46"/>
                <a:gd name="T10" fmla="*/ 1 w 10"/>
                <a:gd name="T11" fmla="*/ 0 h 46"/>
                <a:gd name="T12" fmla="*/ 3 w 10"/>
                <a:gd name="T13" fmla="*/ 4 h 46"/>
                <a:gd name="T14" fmla="*/ 0 w 10"/>
                <a:gd name="T15" fmla="*/ 5 h 46"/>
                <a:gd name="T16" fmla="*/ 8 w 10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6">
                  <a:moveTo>
                    <a:pt x="8" y="46"/>
                  </a:moveTo>
                  <a:cubicBezTo>
                    <a:pt x="9" y="43"/>
                    <a:pt x="9" y="39"/>
                    <a:pt x="9" y="36"/>
                  </a:cubicBezTo>
                  <a:cubicBezTo>
                    <a:pt x="10" y="35"/>
                    <a:pt x="10" y="34"/>
                    <a:pt x="10" y="34"/>
                  </a:cubicBezTo>
                  <a:cubicBezTo>
                    <a:pt x="6" y="23"/>
                    <a:pt x="1" y="5"/>
                    <a:pt x="1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2"/>
                    <a:pt x="1" y="0"/>
                    <a:pt x="1" y="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4" y="22"/>
                    <a:pt x="7" y="38"/>
                    <a:pt x="8" y="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11225" y="1349375"/>
              <a:ext cx="0" cy="61912"/>
            </a:xfrm>
            <a:custGeom>
              <a:avLst/>
              <a:gdLst>
                <a:gd name="T0" fmla="*/ 1 h 5"/>
                <a:gd name="T1" fmla="*/ 5 h 5"/>
                <a:gd name="T2" fmla="*/ 2 h 5"/>
                <a:gd name="T3" fmla="*/ 1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5">
                  <a:moveTo>
                    <a:pt x="0" y="1"/>
                  </a:moveTo>
                  <a:cubicBezTo>
                    <a:pt x="0" y="0"/>
                    <a:pt x="0" y="1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11200" y="1149350"/>
              <a:ext cx="238125" cy="760412"/>
            </a:xfrm>
            <a:custGeom>
              <a:avLst/>
              <a:gdLst>
                <a:gd name="T0" fmla="*/ 19 w 19"/>
                <a:gd name="T1" fmla="*/ 57 h 61"/>
                <a:gd name="T2" fmla="*/ 17 w 19"/>
                <a:gd name="T3" fmla="*/ 44 h 61"/>
                <a:gd name="T4" fmla="*/ 16 w 19"/>
                <a:gd name="T5" fmla="*/ 21 h 61"/>
                <a:gd name="T6" fmla="*/ 14 w 19"/>
                <a:gd name="T7" fmla="*/ 38 h 61"/>
                <a:gd name="T8" fmla="*/ 13 w 19"/>
                <a:gd name="T9" fmla="*/ 17 h 61"/>
                <a:gd name="T10" fmla="*/ 13 w 19"/>
                <a:gd name="T11" fmla="*/ 44 h 61"/>
                <a:gd name="T12" fmla="*/ 8 w 19"/>
                <a:gd name="T13" fmla="*/ 27 h 61"/>
                <a:gd name="T14" fmla="*/ 6 w 19"/>
                <a:gd name="T15" fmla="*/ 0 h 61"/>
                <a:gd name="T16" fmla="*/ 6 w 19"/>
                <a:gd name="T17" fmla="*/ 25 h 61"/>
                <a:gd name="T18" fmla="*/ 0 w 19"/>
                <a:gd name="T19" fmla="*/ 19 h 61"/>
                <a:gd name="T20" fmla="*/ 6 w 19"/>
                <a:gd name="T21" fmla="*/ 28 h 61"/>
                <a:gd name="T22" fmla="*/ 4 w 19"/>
                <a:gd name="T23" fmla="*/ 30 h 61"/>
                <a:gd name="T24" fmla="*/ 6 w 19"/>
                <a:gd name="T25" fmla="*/ 32 h 61"/>
                <a:gd name="T26" fmla="*/ 1 w 19"/>
                <a:gd name="T27" fmla="*/ 35 h 61"/>
                <a:gd name="T28" fmla="*/ 7 w 19"/>
                <a:gd name="T29" fmla="*/ 35 h 61"/>
                <a:gd name="T30" fmla="*/ 2 w 19"/>
                <a:gd name="T31" fmla="*/ 37 h 61"/>
                <a:gd name="T32" fmla="*/ 9 w 19"/>
                <a:gd name="T33" fmla="*/ 41 h 61"/>
                <a:gd name="T34" fmla="*/ 17 w 19"/>
                <a:gd name="T35" fmla="*/ 61 h 61"/>
                <a:gd name="T36" fmla="*/ 19 w 19"/>
                <a:gd name="T37" fmla="*/ 5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61">
                  <a:moveTo>
                    <a:pt x="19" y="57"/>
                  </a:moveTo>
                  <a:cubicBezTo>
                    <a:pt x="17" y="52"/>
                    <a:pt x="17" y="44"/>
                    <a:pt x="17" y="44"/>
                  </a:cubicBezTo>
                  <a:cubicBezTo>
                    <a:pt x="17" y="37"/>
                    <a:pt x="16" y="27"/>
                    <a:pt x="16" y="21"/>
                  </a:cubicBezTo>
                  <a:cubicBezTo>
                    <a:pt x="16" y="28"/>
                    <a:pt x="14" y="38"/>
                    <a:pt x="14" y="38"/>
                  </a:cubicBezTo>
                  <a:cubicBezTo>
                    <a:pt x="14" y="32"/>
                    <a:pt x="13" y="17"/>
                    <a:pt x="13" y="17"/>
                  </a:cubicBezTo>
                  <a:cubicBezTo>
                    <a:pt x="13" y="17"/>
                    <a:pt x="13" y="44"/>
                    <a:pt x="13" y="44"/>
                  </a:cubicBezTo>
                  <a:cubicBezTo>
                    <a:pt x="9" y="40"/>
                    <a:pt x="8" y="27"/>
                    <a:pt x="8" y="27"/>
                  </a:cubicBezTo>
                  <a:cubicBezTo>
                    <a:pt x="9" y="19"/>
                    <a:pt x="6" y="0"/>
                    <a:pt x="6" y="0"/>
                  </a:cubicBezTo>
                  <a:cubicBezTo>
                    <a:pt x="6" y="0"/>
                    <a:pt x="8" y="23"/>
                    <a:pt x="6" y="25"/>
                  </a:cubicBezTo>
                  <a:cubicBezTo>
                    <a:pt x="3" y="27"/>
                    <a:pt x="0" y="19"/>
                    <a:pt x="0" y="19"/>
                  </a:cubicBezTo>
                  <a:cubicBezTo>
                    <a:pt x="1" y="25"/>
                    <a:pt x="5" y="28"/>
                    <a:pt x="6" y="28"/>
                  </a:cubicBezTo>
                  <a:cubicBezTo>
                    <a:pt x="5" y="28"/>
                    <a:pt x="4" y="30"/>
                    <a:pt x="4" y="30"/>
                  </a:cubicBezTo>
                  <a:cubicBezTo>
                    <a:pt x="6" y="30"/>
                    <a:pt x="6" y="32"/>
                    <a:pt x="6" y="32"/>
                  </a:cubicBezTo>
                  <a:cubicBezTo>
                    <a:pt x="5" y="32"/>
                    <a:pt x="1" y="35"/>
                    <a:pt x="1" y="35"/>
                  </a:cubicBezTo>
                  <a:cubicBezTo>
                    <a:pt x="4" y="34"/>
                    <a:pt x="7" y="35"/>
                    <a:pt x="7" y="35"/>
                  </a:cubicBezTo>
                  <a:cubicBezTo>
                    <a:pt x="5" y="35"/>
                    <a:pt x="2" y="37"/>
                    <a:pt x="2" y="37"/>
                  </a:cubicBezTo>
                  <a:cubicBezTo>
                    <a:pt x="6" y="36"/>
                    <a:pt x="8" y="40"/>
                    <a:pt x="9" y="41"/>
                  </a:cubicBezTo>
                  <a:cubicBezTo>
                    <a:pt x="9" y="42"/>
                    <a:pt x="14" y="54"/>
                    <a:pt x="17" y="61"/>
                  </a:cubicBezTo>
                  <a:cubicBezTo>
                    <a:pt x="17" y="61"/>
                    <a:pt x="18" y="59"/>
                    <a:pt x="19" y="5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238250" y="1000125"/>
              <a:ext cx="993775" cy="1122362"/>
            </a:xfrm>
            <a:custGeom>
              <a:avLst/>
              <a:gdLst>
                <a:gd name="T0" fmla="*/ 0 w 79"/>
                <a:gd name="T1" fmla="*/ 2 h 90"/>
                <a:gd name="T2" fmla="*/ 2 w 79"/>
                <a:gd name="T3" fmla="*/ 37 h 90"/>
                <a:gd name="T4" fmla="*/ 28 w 79"/>
                <a:gd name="T5" fmla="*/ 90 h 90"/>
                <a:gd name="T6" fmla="*/ 33 w 79"/>
                <a:gd name="T7" fmla="*/ 86 h 90"/>
                <a:gd name="T8" fmla="*/ 26 w 79"/>
                <a:gd name="T9" fmla="*/ 42 h 90"/>
                <a:gd name="T10" fmla="*/ 24 w 79"/>
                <a:gd name="T11" fmla="*/ 25 h 90"/>
                <a:gd name="T12" fmla="*/ 38 w 79"/>
                <a:gd name="T13" fmla="*/ 26 h 90"/>
                <a:gd name="T14" fmla="*/ 41 w 79"/>
                <a:gd name="T15" fmla="*/ 28 h 90"/>
                <a:gd name="T16" fmla="*/ 56 w 79"/>
                <a:gd name="T17" fmla="*/ 25 h 90"/>
                <a:gd name="T18" fmla="*/ 78 w 79"/>
                <a:gd name="T19" fmla="*/ 22 h 90"/>
                <a:gd name="T20" fmla="*/ 75 w 79"/>
                <a:gd name="T21" fmla="*/ 10 h 90"/>
                <a:gd name="T22" fmla="*/ 43 w 79"/>
                <a:gd name="T23" fmla="*/ 12 h 90"/>
                <a:gd name="T24" fmla="*/ 32 w 79"/>
                <a:gd name="T25" fmla="*/ 11 h 90"/>
                <a:gd name="T26" fmla="*/ 27 w 79"/>
                <a:gd name="T27" fmla="*/ 11 h 90"/>
                <a:gd name="T28" fmla="*/ 25 w 79"/>
                <a:gd name="T29" fmla="*/ 8 h 90"/>
                <a:gd name="T30" fmla="*/ 22 w 79"/>
                <a:gd name="T31" fmla="*/ 8 h 90"/>
                <a:gd name="T32" fmla="*/ 20 w 79"/>
                <a:gd name="T33" fmla="*/ 2 h 90"/>
                <a:gd name="T34" fmla="*/ 9 w 79"/>
                <a:gd name="T35" fmla="*/ 1 h 90"/>
                <a:gd name="T36" fmla="*/ 3 w 79"/>
                <a:gd name="T37" fmla="*/ 0 h 90"/>
                <a:gd name="T38" fmla="*/ 0 w 79"/>
                <a:gd name="T39" fmla="*/ 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" h="90">
                  <a:moveTo>
                    <a:pt x="0" y="2"/>
                  </a:moveTo>
                  <a:cubicBezTo>
                    <a:pt x="0" y="2"/>
                    <a:pt x="0" y="25"/>
                    <a:pt x="2" y="37"/>
                  </a:cubicBezTo>
                  <a:cubicBezTo>
                    <a:pt x="2" y="37"/>
                    <a:pt x="14" y="82"/>
                    <a:pt x="28" y="90"/>
                  </a:cubicBezTo>
                  <a:cubicBezTo>
                    <a:pt x="28" y="90"/>
                    <a:pt x="33" y="87"/>
                    <a:pt x="33" y="86"/>
                  </a:cubicBezTo>
                  <a:cubicBezTo>
                    <a:pt x="34" y="84"/>
                    <a:pt x="27" y="45"/>
                    <a:pt x="26" y="42"/>
                  </a:cubicBezTo>
                  <a:cubicBezTo>
                    <a:pt x="25" y="39"/>
                    <a:pt x="24" y="25"/>
                    <a:pt x="24" y="25"/>
                  </a:cubicBezTo>
                  <a:cubicBezTo>
                    <a:pt x="24" y="25"/>
                    <a:pt x="36" y="26"/>
                    <a:pt x="38" y="26"/>
                  </a:cubicBezTo>
                  <a:cubicBezTo>
                    <a:pt x="38" y="26"/>
                    <a:pt x="38" y="29"/>
                    <a:pt x="41" y="28"/>
                  </a:cubicBezTo>
                  <a:cubicBezTo>
                    <a:pt x="44" y="28"/>
                    <a:pt x="55" y="26"/>
                    <a:pt x="56" y="25"/>
                  </a:cubicBezTo>
                  <a:cubicBezTo>
                    <a:pt x="58" y="25"/>
                    <a:pt x="77" y="22"/>
                    <a:pt x="78" y="22"/>
                  </a:cubicBezTo>
                  <a:cubicBezTo>
                    <a:pt x="79" y="21"/>
                    <a:pt x="76" y="11"/>
                    <a:pt x="75" y="10"/>
                  </a:cubicBezTo>
                  <a:cubicBezTo>
                    <a:pt x="75" y="9"/>
                    <a:pt x="49" y="11"/>
                    <a:pt x="43" y="12"/>
                  </a:cubicBezTo>
                  <a:cubicBezTo>
                    <a:pt x="43" y="12"/>
                    <a:pt x="33" y="11"/>
                    <a:pt x="32" y="11"/>
                  </a:cubicBezTo>
                  <a:cubicBezTo>
                    <a:pt x="31" y="10"/>
                    <a:pt x="27" y="11"/>
                    <a:pt x="27" y="11"/>
                  </a:cubicBezTo>
                  <a:cubicBezTo>
                    <a:pt x="27" y="11"/>
                    <a:pt x="26" y="8"/>
                    <a:pt x="25" y="8"/>
                  </a:cubicBezTo>
                  <a:cubicBezTo>
                    <a:pt x="25" y="8"/>
                    <a:pt x="22" y="8"/>
                    <a:pt x="22" y="8"/>
                  </a:cubicBezTo>
                  <a:cubicBezTo>
                    <a:pt x="22" y="8"/>
                    <a:pt x="23" y="4"/>
                    <a:pt x="20" y="2"/>
                  </a:cubicBezTo>
                  <a:cubicBezTo>
                    <a:pt x="16" y="1"/>
                    <a:pt x="11" y="2"/>
                    <a:pt x="9" y="1"/>
                  </a:cubicBezTo>
                  <a:cubicBezTo>
                    <a:pt x="7" y="0"/>
                    <a:pt x="3" y="0"/>
                    <a:pt x="3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238250" y="1012825"/>
              <a:ext cx="955675" cy="1035050"/>
            </a:xfrm>
            <a:custGeom>
              <a:avLst/>
              <a:gdLst>
                <a:gd name="T0" fmla="*/ 74 w 76"/>
                <a:gd name="T1" fmla="*/ 10 h 83"/>
                <a:gd name="T2" fmla="*/ 45 w 76"/>
                <a:gd name="T3" fmla="*/ 13 h 83"/>
                <a:gd name="T4" fmla="*/ 31 w 76"/>
                <a:gd name="T5" fmla="*/ 21 h 83"/>
                <a:gd name="T6" fmla="*/ 39 w 76"/>
                <a:gd name="T7" fmla="*/ 13 h 83"/>
                <a:gd name="T8" fmla="*/ 29 w 76"/>
                <a:gd name="T9" fmla="*/ 21 h 83"/>
                <a:gd name="T10" fmla="*/ 35 w 76"/>
                <a:gd name="T11" fmla="*/ 13 h 83"/>
                <a:gd name="T12" fmla="*/ 26 w 76"/>
                <a:gd name="T13" fmla="*/ 20 h 83"/>
                <a:gd name="T14" fmla="*/ 28 w 76"/>
                <a:gd name="T15" fmla="*/ 13 h 83"/>
                <a:gd name="T16" fmla="*/ 29 w 76"/>
                <a:gd name="T17" fmla="*/ 12 h 83"/>
                <a:gd name="T18" fmla="*/ 27 w 76"/>
                <a:gd name="T19" fmla="*/ 12 h 83"/>
                <a:gd name="T20" fmla="*/ 24 w 76"/>
                <a:gd name="T21" fmla="*/ 18 h 83"/>
                <a:gd name="T22" fmla="*/ 25 w 76"/>
                <a:gd name="T23" fmla="*/ 11 h 83"/>
                <a:gd name="T24" fmla="*/ 22 w 76"/>
                <a:gd name="T25" fmla="*/ 15 h 83"/>
                <a:gd name="T26" fmla="*/ 22 w 76"/>
                <a:gd name="T27" fmla="*/ 15 h 83"/>
                <a:gd name="T28" fmla="*/ 21 w 76"/>
                <a:gd name="T29" fmla="*/ 2 h 83"/>
                <a:gd name="T30" fmla="*/ 20 w 76"/>
                <a:gd name="T31" fmla="*/ 1 h 83"/>
                <a:gd name="T32" fmla="*/ 15 w 76"/>
                <a:gd name="T33" fmla="*/ 1 h 83"/>
                <a:gd name="T34" fmla="*/ 15 w 76"/>
                <a:gd name="T35" fmla="*/ 1 h 83"/>
                <a:gd name="T36" fmla="*/ 9 w 76"/>
                <a:gd name="T37" fmla="*/ 1 h 83"/>
                <a:gd name="T38" fmla="*/ 13 w 76"/>
                <a:gd name="T39" fmla="*/ 4 h 83"/>
                <a:gd name="T40" fmla="*/ 1 w 76"/>
                <a:gd name="T41" fmla="*/ 0 h 83"/>
                <a:gd name="T42" fmla="*/ 0 w 76"/>
                <a:gd name="T43" fmla="*/ 1 h 83"/>
                <a:gd name="T44" fmla="*/ 0 w 76"/>
                <a:gd name="T45" fmla="*/ 2 h 83"/>
                <a:gd name="T46" fmla="*/ 5 w 76"/>
                <a:gd name="T47" fmla="*/ 6 h 83"/>
                <a:gd name="T48" fmla="*/ 2 w 76"/>
                <a:gd name="T49" fmla="*/ 22 h 83"/>
                <a:gd name="T50" fmla="*/ 1 w 76"/>
                <a:gd name="T51" fmla="*/ 33 h 83"/>
                <a:gd name="T52" fmla="*/ 2 w 76"/>
                <a:gd name="T53" fmla="*/ 36 h 83"/>
                <a:gd name="T54" fmla="*/ 3 w 76"/>
                <a:gd name="T55" fmla="*/ 41 h 83"/>
                <a:gd name="T56" fmla="*/ 6 w 76"/>
                <a:gd name="T57" fmla="*/ 23 h 83"/>
                <a:gd name="T58" fmla="*/ 8 w 76"/>
                <a:gd name="T59" fmla="*/ 7 h 83"/>
                <a:gd name="T60" fmla="*/ 7 w 76"/>
                <a:gd name="T61" fmla="*/ 24 h 83"/>
                <a:gd name="T62" fmla="*/ 8 w 76"/>
                <a:gd name="T63" fmla="*/ 42 h 83"/>
                <a:gd name="T64" fmla="*/ 21 w 76"/>
                <a:gd name="T65" fmla="*/ 74 h 83"/>
                <a:gd name="T66" fmla="*/ 28 w 76"/>
                <a:gd name="T67" fmla="*/ 83 h 83"/>
                <a:gd name="T68" fmla="*/ 25 w 76"/>
                <a:gd name="T69" fmla="*/ 51 h 83"/>
                <a:gd name="T70" fmla="*/ 23 w 76"/>
                <a:gd name="T71" fmla="*/ 23 h 83"/>
                <a:gd name="T72" fmla="*/ 33 w 76"/>
                <a:gd name="T73" fmla="*/ 22 h 83"/>
                <a:gd name="T74" fmla="*/ 43 w 76"/>
                <a:gd name="T75" fmla="*/ 21 h 83"/>
                <a:gd name="T76" fmla="*/ 41 w 76"/>
                <a:gd name="T77" fmla="*/ 23 h 83"/>
                <a:gd name="T78" fmla="*/ 52 w 76"/>
                <a:gd name="T79" fmla="*/ 22 h 83"/>
                <a:gd name="T80" fmla="*/ 76 w 76"/>
                <a:gd name="T81" fmla="*/ 19 h 83"/>
                <a:gd name="T82" fmla="*/ 74 w 76"/>
                <a:gd name="T83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6" h="83">
                  <a:moveTo>
                    <a:pt x="74" y="10"/>
                  </a:moveTo>
                  <a:cubicBezTo>
                    <a:pt x="72" y="9"/>
                    <a:pt x="45" y="13"/>
                    <a:pt x="45" y="13"/>
                  </a:cubicBezTo>
                  <a:cubicBezTo>
                    <a:pt x="45" y="13"/>
                    <a:pt x="35" y="21"/>
                    <a:pt x="31" y="21"/>
                  </a:cubicBezTo>
                  <a:cubicBezTo>
                    <a:pt x="31" y="21"/>
                    <a:pt x="41" y="16"/>
                    <a:pt x="39" y="13"/>
                  </a:cubicBezTo>
                  <a:cubicBezTo>
                    <a:pt x="37" y="10"/>
                    <a:pt x="29" y="21"/>
                    <a:pt x="29" y="21"/>
                  </a:cubicBezTo>
                  <a:cubicBezTo>
                    <a:pt x="29" y="21"/>
                    <a:pt x="31" y="15"/>
                    <a:pt x="35" y="13"/>
                  </a:cubicBezTo>
                  <a:cubicBezTo>
                    <a:pt x="35" y="13"/>
                    <a:pt x="30" y="11"/>
                    <a:pt x="26" y="20"/>
                  </a:cubicBezTo>
                  <a:cubicBezTo>
                    <a:pt x="26" y="20"/>
                    <a:pt x="27" y="15"/>
                    <a:pt x="28" y="13"/>
                  </a:cubicBezTo>
                  <a:cubicBezTo>
                    <a:pt x="29" y="13"/>
                    <a:pt x="29" y="12"/>
                    <a:pt x="29" y="12"/>
                  </a:cubicBezTo>
                  <a:cubicBezTo>
                    <a:pt x="31" y="11"/>
                    <a:pt x="28" y="11"/>
                    <a:pt x="27" y="12"/>
                  </a:cubicBezTo>
                  <a:cubicBezTo>
                    <a:pt x="25" y="13"/>
                    <a:pt x="24" y="18"/>
                    <a:pt x="24" y="18"/>
                  </a:cubicBezTo>
                  <a:cubicBezTo>
                    <a:pt x="24" y="18"/>
                    <a:pt x="22" y="12"/>
                    <a:pt x="25" y="11"/>
                  </a:cubicBezTo>
                  <a:cubicBezTo>
                    <a:pt x="25" y="11"/>
                    <a:pt x="21" y="9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1"/>
                    <a:pt x="16" y="6"/>
                    <a:pt x="21" y="2"/>
                  </a:cubicBezTo>
                  <a:cubicBezTo>
                    <a:pt x="20" y="2"/>
                    <a:pt x="20" y="1"/>
                    <a:pt x="20" y="1"/>
                  </a:cubicBezTo>
                  <a:cubicBezTo>
                    <a:pt x="18" y="1"/>
                    <a:pt x="17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9" y="1"/>
                    <a:pt x="9" y="1"/>
                  </a:cubicBezTo>
                  <a:cubicBezTo>
                    <a:pt x="10" y="1"/>
                    <a:pt x="11" y="4"/>
                    <a:pt x="13" y="4"/>
                  </a:cubicBezTo>
                  <a:cubicBezTo>
                    <a:pt x="13" y="4"/>
                    <a:pt x="5" y="4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2" y="4"/>
                    <a:pt x="4" y="6"/>
                    <a:pt x="5" y="6"/>
                  </a:cubicBezTo>
                  <a:cubicBezTo>
                    <a:pt x="7" y="7"/>
                    <a:pt x="2" y="11"/>
                    <a:pt x="2" y="22"/>
                  </a:cubicBezTo>
                  <a:cubicBezTo>
                    <a:pt x="2" y="26"/>
                    <a:pt x="2" y="30"/>
                    <a:pt x="1" y="33"/>
                  </a:cubicBezTo>
                  <a:cubicBezTo>
                    <a:pt x="1" y="34"/>
                    <a:pt x="2" y="35"/>
                    <a:pt x="2" y="36"/>
                  </a:cubicBezTo>
                  <a:cubicBezTo>
                    <a:pt x="2" y="36"/>
                    <a:pt x="2" y="38"/>
                    <a:pt x="3" y="41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6" y="42"/>
                    <a:pt x="8" y="42"/>
                  </a:cubicBezTo>
                  <a:cubicBezTo>
                    <a:pt x="10" y="43"/>
                    <a:pt x="20" y="74"/>
                    <a:pt x="21" y="74"/>
                  </a:cubicBezTo>
                  <a:cubicBezTo>
                    <a:pt x="22" y="75"/>
                    <a:pt x="28" y="83"/>
                    <a:pt x="28" y="83"/>
                  </a:cubicBezTo>
                  <a:cubicBezTo>
                    <a:pt x="28" y="83"/>
                    <a:pt x="25" y="54"/>
                    <a:pt x="25" y="51"/>
                  </a:cubicBezTo>
                  <a:cubicBezTo>
                    <a:pt x="25" y="49"/>
                    <a:pt x="23" y="23"/>
                    <a:pt x="23" y="23"/>
                  </a:cubicBezTo>
                  <a:cubicBezTo>
                    <a:pt x="23" y="23"/>
                    <a:pt x="32" y="23"/>
                    <a:pt x="33" y="22"/>
                  </a:cubicBezTo>
                  <a:cubicBezTo>
                    <a:pt x="35" y="22"/>
                    <a:pt x="41" y="21"/>
                    <a:pt x="43" y="21"/>
                  </a:cubicBezTo>
                  <a:cubicBezTo>
                    <a:pt x="43" y="21"/>
                    <a:pt x="40" y="22"/>
                    <a:pt x="41" y="23"/>
                  </a:cubicBezTo>
                  <a:cubicBezTo>
                    <a:pt x="42" y="25"/>
                    <a:pt x="49" y="23"/>
                    <a:pt x="52" y="22"/>
                  </a:cubicBezTo>
                  <a:cubicBezTo>
                    <a:pt x="54" y="22"/>
                    <a:pt x="76" y="19"/>
                    <a:pt x="76" y="19"/>
                  </a:cubicBezTo>
                  <a:cubicBezTo>
                    <a:pt x="76" y="19"/>
                    <a:pt x="76" y="11"/>
                    <a:pt x="74" y="10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38225" y="1023938"/>
              <a:ext cx="163513" cy="674687"/>
            </a:xfrm>
            <a:custGeom>
              <a:avLst/>
              <a:gdLst>
                <a:gd name="T0" fmla="*/ 0 w 13"/>
                <a:gd name="T1" fmla="*/ 49 h 54"/>
                <a:gd name="T2" fmla="*/ 7 w 13"/>
                <a:gd name="T3" fmla="*/ 54 h 54"/>
                <a:gd name="T4" fmla="*/ 13 w 13"/>
                <a:gd name="T5" fmla="*/ 48 h 54"/>
                <a:gd name="T6" fmla="*/ 11 w 13"/>
                <a:gd name="T7" fmla="*/ 12 h 54"/>
                <a:gd name="T8" fmla="*/ 9 w 13"/>
                <a:gd name="T9" fmla="*/ 7 h 54"/>
                <a:gd name="T10" fmla="*/ 11 w 13"/>
                <a:gd name="T11" fmla="*/ 3 h 54"/>
                <a:gd name="T12" fmla="*/ 7 w 13"/>
                <a:gd name="T13" fmla="*/ 1 h 54"/>
                <a:gd name="T14" fmla="*/ 4 w 13"/>
                <a:gd name="T15" fmla="*/ 6 h 54"/>
                <a:gd name="T16" fmla="*/ 2 w 13"/>
                <a:gd name="T17" fmla="*/ 11 h 54"/>
                <a:gd name="T18" fmla="*/ 0 w 13"/>
                <a:gd name="T19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54">
                  <a:moveTo>
                    <a:pt x="0" y="49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1" y="13"/>
                    <a:pt x="11" y="12"/>
                  </a:cubicBezTo>
                  <a:cubicBezTo>
                    <a:pt x="11" y="11"/>
                    <a:pt x="9" y="7"/>
                    <a:pt x="9" y="7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9" y="0"/>
                    <a:pt x="7" y="1"/>
                  </a:cubicBezTo>
                  <a:cubicBezTo>
                    <a:pt x="5" y="2"/>
                    <a:pt x="4" y="6"/>
                    <a:pt x="4" y="6"/>
                  </a:cubicBezTo>
                  <a:cubicBezTo>
                    <a:pt x="2" y="11"/>
                    <a:pt x="2" y="11"/>
                    <a:pt x="2" y="11"/>
                  </a:cubicBezTo>
                  <a:lnTo>
                    <a:pt x="0" y="49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088715406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4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3.7037E-7 C 0.07227 0.00093 0.13178 0.10463 0.13178 0.23264 C 0.13165 0.36181 0.0724 0.46713 0.00014 0.46736 C -0.07278 0.4669 -0.13151 0.36181 -0.13164 0.23241 C -0.13151 0.1037 -0.07291 0.00093 -4.79167E-6 3.7037E-7 Z " pathEditMode="relative" rAng="0" ptsTypes="AAAAA">
                                      <p:cBhvr>
                                        <p:cTn id="3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33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83 -0.00463 C 0.03867 0.10209 0.0233 0.24769 -0.03659 0.31968 C -0.09675 0.39167 -0.17917 0.3632 -0.21954 0.25672 C -0.26016 0.14885 -0.24388 0.00371 -0.18373 -0.06875 C -0.1237 -0.1405 -0.04258 -0.11203 -0.00183 -0.00463 Z " pathEditMode="relative" rAng="3360000" ptsTypes="AAAAA">
                                      <p:cBhvr>
                                        <p:cTn id="3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885" y="13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4.44444E-6 C -0.03282 0.11459 -0.11198 0.16135 -0.17644 0.10301 C -0.24102 0.04445 -0.26693 -0.09745 -0.23412 -0.21203 C -0.20092 -0.32708 -0.12162 -0.37222 -0.05664 -0.31412 C 0.00768 -0.25555 0.0332 -0.11527 4.16667E-6 -4.44444E-6 Z " pathEditMode="relative" rAng="7020000" ptsTypes="AAAAA"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93" y="-1060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2.22222E-6 C -0.0724 0.00671 -0.13464 -0.0919 -0.13841 -0.22014 C -0.14232 -0.34884 -0.08607 -0.45996 -0.01393 -0.46667 C 0.05885 -0.47292 0.12057 -0.37338 0.12461 -0.24445 C 0.12826 -0.11597 0.07266 -0.00672 2.08333E-7 2.22222E-6 Z " pathEditMode="relative" rAng="10620000" ptsTypes="AAAAA">
                                      <p:cBhvr>
                                        <p:cTn id="4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0" y="-233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3.33333E-6 C -0.03398 -0.11366 -0.01015 -0.25579 0.05365 -0.31598 C 0.11771 -0.37662 0.19805 -0.33287 0.2319 -0.21945 C 0.26589 -0.1051 0.24128 0.03657 0.17722 0.09768 C 0.11328 0.15787 0.03412 0.11435 -3.33333E-6 3.33333E-6 Z " pathEditMode="relative" rAng="14520000" ptsTypes="AAAAA">
                                      <p:cBhvr>
                                        <p:cTn id="5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589" y="-1094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4.81481E-6 C 0.03841 -0.10925 0.11953 -0.14351 0.18086 -0.07546 C 0.24232 -0.00717 0.2612 0.13843 0.22292 0.24723 C 0.18412 0.35672 0.10287 0.38959 0.04115 0.32153 C -0.02018 0.25325 -0.03867 0.1095 -6.25E-7 -4.81481E-6 Z " pathEditMode="relative" rAng="18120000" ptsTypes="AAAAA">
                                      <p:cBhvr>
                                        <p:cTn id="6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33" y="1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6500"/>
                            </p:stCondLst>
                            <p:childTnLst>
                              <p:par>
                                <p:cTn id="6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22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22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2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2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220" tmFilter="0,0; .5, 1; 1, 1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9574"/>
                            </p:stCondLst>
                            <p:childTnLst>
                              <p:par>
                                <p:cTn id="7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0074"/>
                            </p:stCondLst>
                            <p:childTnLst>
                              <p:par>
                                <p:cTn id="8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0574"/>
                            </p:stCondLst>
                            <p:childTnLst>
                              <p:par>
                                <p:cTn id="8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59" grpId="1" animBg="1"/>
      <p:bldP spid="60" grpId="0" animBg="1"/>
      <p:bldP spid="60" grpId="1" animBg="1"/>
      <p:bldP spid="61" grpId="0" animBg="1"/>
      <p:bldP spid="61" grpId="1" animBg="1"/>
      <p:bldP spid="62" grpId="0" animBg="1"/>
      <p:bldP spid="62" grpId="1" animBg="1"/>
      <p:bldP spid="63" grpId="0" animBg="1"/>
      <p:bldP spid="63" grpId="1" animBg="1"/>
      <p:bldP spid="64" grpId="0" animBg="1"/>
      <p:bldP spid="64" grpId="1" animBg="1"/>
      <p:bldP spid="65" grpId="0" animBg="1"/>
      <p:bldP spid="65" grpId="1" animBg="1"/>
      <p:bldP spid="69" grpId="0" animBg="1"/>
      <p:bldP spid="70" grpId="0" animBg="1"/>
      <p:bldP spid="71" grpId="0"/>
      <p:bldP spid="72" grpId="0" animBg="1"/>
      <p:bldP spid="73" grpId="0" animBg="1"/>
      <p:bldP spid="7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 txBox="1"/>
          <p:nvPr/>
        </p:nvSpPr>
        <p:spPr bwMode="auto">
          <a:xfrm>
            <a:off x="1384760" y="3742027"/>
            <a:ext cx="1506451" cy="4399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600" spc="300">
                <a:solidFill>
                  <a:srgbClr val="F83003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添加标题</a:t>
            </a:r>
          </a:p>
        </p:txBody>
      </p:sp>
      <p:sp>
        <p:nvSpPr>
          <p:cNvPr id="8" name="出自【趣你的PPT】(微信:qunideppt)：最优质的PPT资源库"/>
          <p:cNvSpPr txBox="1"/>
          <p:nvPr/>
        </p:nvSpPr>
        <p:spPr bwMode="auto">
          <a:xfrm>
            <a:off x="3293182" y="3742027"/>
            <a:ext cx="1506451" cy="4399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600" spc="300">
                <a:solidFill>
                  <a:srgbClr val="EBAC07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添加标题</a:t>
            </a:r>
          </a:p>
        </p:txBody>
      </p:sp>
      <p:sp>
        <p:nvSpPr>
          <p:cNvPr id="9" name="出自【趣你的PPT】(微信:qunideppt)：最优质的PPT资源库"/>
          <p:cNvSpPr txBox="1"/>
          <p:nvPr/>
        </p:nvSpPr>
        <p:spPr bwMode="auto">
          <a:xfrm>
            <a:off x="5349303" y="3742027"/>
            <a:ext cx="1506451" cy="4399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600" spc="300">
                <a:solidFill>
                  <a:srgbClr val="8BC925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添加标题</a:t>
            </a:r>
          </a:p>
        </p:txBody>
      </p:sp>
      <p:sp>
        <p:nvSpPr>
          <p:cNvPr id="10" name="出自【趣你的PPT】(微信:qunideppt)：最优质的PPT资源库"/>
          <p:cNvSpPr txBox="1"/>
          <p:nvPr/>
        </p:nvSpPr>
        <p:spPr bwMode="auto">
          <a:xfrm>
            <a:off x="7425102" y="3745602"/>
            <a:ext cx="1506451" cy="4399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600" spc="300">
                <a:solidFill>
                  <a:srgbClr val="284848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添加标题</a:t>
            </a:r>
          </a:p>
        </p:txBody>
      </p:sp>
      <p:sp>
        <p:nvSpPr>
          <p:cNvPr id="11" name="出自【趣你的PPT】(微信:qunideppt)：最优质的PPT资源库"/>
          <p:cNvSpPr txBox="1"/>
          <p:nvPr/>
        </p:nvSpPr>
        <p:spPr bwMode="auto">
          <a:xfrm>
            <a:off x="9394423" y="3742027"/>
            <a:ext cx="1506451" cy="4399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600" spc="300">
                <a:solidFill>
                  <a:srgbClr val="3D9077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添加标题</a:t>
            </a:r>
          </a:p>
        </p:txBody>
      </p:sp>
      <p:grpSp>
        <p:nvGrpSpPr>
          <p:cNvPr id="12" name="Group 11出自【趣你的PPT】(微信:qunideppt)：最优质的PPT资源库"/>
          <p:cNvGrpSpPr/>
          <p:nvPr/>
        </p:nvGrpSpPr>
        <p:grpSpPr>
          <a:xfrm>
            <a:off x="1531608" y="1642310"/>
            <a:ext cx="1219166" cy="536352"/>
            <a:chOff x="1557365" y="2086949"/>
            <a:chExt cx="1219166" cy="536352"/>
          </a:xfrm>
        </p:grpSpPr>
        <p:sp>
          <p:nvSpPr>
            <p:cNvPr id="1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557365" y="2086949"/>
              <a:ext cx="1219166" cy="418767"/>
            </a:xfrm>
            <a:custGeom>
              <a:avLst/>
              <a:gdLst>
                <a:gd name="T0" fmla="*/ 1812 w 1812"/>
                <a:gd name="T1" fmla="*/ 55 h 86"/>
                <a:gd name="T2" fmla="*/ 1782 w 1812"/>
                <a:gd name="T3" fmla="*/ 86 h 86"/>
                <a:gd name="T4" fmla="*/ 31 w 1812"/>
                <a:gd name="T5" fmla="*/ 86 h 86"/>
                <a:gd name="T6" fmla="*/ 0 w 1812"/>
                <a:gd name="T7" fmla="*/ 55 h 86"/>
                <a:gd name="T8" fmla="*/ 0 w 1812"/>
                <a:gd name="T9" fmla="*/ 31 h 86"/>
                <a:gd name="T10" fmla="*/ 31 w 1812"/>
                <a:gd name="T11" fmla="*/ 0 h 86"/>
                <a:gd name="T12" fmla="*/ 1782 w 1812"/>
                <a:gd name="T13" fmla="*/ 0 h 86"/>
                <a:gd name="T14" fmla="*/ 1812 w 1812"/>
                <a:gd name="T15" fmla="*/ 31 h 86"/>
                <a:gd name="T16" fmla="*/ 1812 w 1812"/>
                <a:gd name="T17" fmla="*/ 5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2" h="86">
                  <a:moveTo>
                    <a:pt x="1812" y="55"/>
                  </a:moveTo>
                  <a:cubicBezTo>
                    <a:pt x="1812" y="72"/>
                    <a:pt x="1799" y="86"/>
                    <a:pt x="1782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14" y="86"/>
                    <a:pt x="0" y="72"/>
                    <a:pt x="0" y="5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1782" y="0"/>
                    <a:pt x="1782" y="0"/>
                    <a:pt x="1782" y="0"/>
                  </a:cubicBezTo>
                  <a:cubicBezTo>
                    <a:pt x="1799" y="0"/>
                    <a:pt x="1812" y="14"/>
                    <a:pt x="1812" y="31"/>
                  </a:cubicBezTo>
                  <a:lnTo>
                    <a:pt x="1812" y="55"/>
                  </a:lnTo>
                  <a:close/>
                </a:path>
              </a:pathLst>
            </a:custGeom>
            <a:solidFill>
              <a:srgbClr val="E93C3F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79275" y="2487150"/>
              <a:ext cx="189786" cy="136151"/>
            </a:xfrm>
            <a:custGeom>
              <a:avLst/>
              <a:gdLst>
                <a:gd name="T0" fmla="*/ 92 w 92"/>
                <a:gd name="T1" fmla="*/ 0 h 66"/>
                <a:gd name="T2" fmla="*/ 47 w 92"/>
                <a:gd name="T3" fmla="*/ 66 h 66"/>
                <a:gd name="T4" fmla="*/ 0 w 92"/>
                <a:gd name="T5" fmla="*/ 0 h 66"/>
                <a:gd name="T6" fmla="*/ 92 w 9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66">
                  <a:moveTo>
                    <a:pt x="92" y="0"/>
                  </a:moveTo>
                  <a:lnTo>
                    <a:pt x="47" y="66"/>
                  </a:lnTo>
                  <a:lnTo>
                    <a:pt x="0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E93C3F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16" name="Group 15出自【趣你的PPT】(微信:qunideppt)：最优质的PPT资源库"/>
          <p:cNvGrpSpPr/>
          <p:nvPr/>
        </p:nvGrpSpPr>
        <p:grpSpPr>
          <a:xfrm>
            <a:off x="2736335" y="1642310"/>
            <a:ext cx="1891667" cy="536352"/>
            <a:chOff x="2762092" y="2086949"/>
            <a:chExt cx="1891667" cy="536352"/>
          </a:xfrm>
        </p:grpSpPr>
        <p:sp>
          <p:nvSpPr>
            <p:cNvPr id="17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2762092" y="2086949"/>
              <a:ext cx="1891667" cy="418767"/>
            </a:xfrm>
            <a:prstGeom prst="rect">
              <a:avLst/>
            </a:prstGeom>
            <a:solidFill>
              <a:srgbClr val="EBAC07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659448" y="2487150"/>
              <a:ext cx="189786" cy="136151"/>
            </a:xfrm>
            <a:custGeom>
              <a:avLst/>
              <a:gdLst>
                <a:gd name="T0" fmla="*/ 92 w 92"/>
                <a:gd name="T1" fmla="*/ 0 h 66"/>
                <a:gd name="T2" fmla="*/ 44 w 92"/>
                <a:gd name="T3" fmla="*/ 66 h 66"/>
                <a:gd name="T4" fmla="*/ 0 w 92"/>
                <a:gd name="T5" fmla="*/ 0 h 66"/>
                <a:gd name="T6" fmla="*/ 92 w 9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66">
                  <a:moveTo>
                    <a:pt x="92" y="0"/>
                  </a:moveTo>
                  <a:lnTo>
                    <a:pt x="44" y="66"/>
                  </a:lnTo>
                  <a:lnTo>
                    <a:pt x="0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EBAC07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19" name="Group 18出自【趣你的PPT】(微信:qunideppt)：最优质的PPT资源库"/>
          <p:cNvGrpSpPr/>
          <p:nvPr/>
        </p:nvGrpSpPr>
        <p:grpSpPr>
          <a:xfrm>
            <a:off x="4595320" y="1642310"/>
            <a:ext cx="3657180" cy="536352"/>
            <a:chOff x="4621077" y="2086949"/>
            <a:chExt cx="3657180" cy="536352"/>
          </a:xfrm>
        </p:grpSpPr>
        <p:sp>
          <p:nvSpPr>
            <p:cNvPr id="20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4621077" y="2092424"/>
              <a:ext cx="851974" cy="418767"/>
            </a:xfrm>
            <a:prstGeom prst="rect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1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5441784" y="2086949"/>
              <a:ext cx="1243923" cy="418767"/>
            </a:xfrm>
            <a:prstGeom prst="rect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2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6592876" y="2086949"/>
              <a:ext cx="1685381" cy="418767"/>
            </a:xfrm>
            <a:prstGeom prst="rect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924500" y="2487150"/>
              <a:ext cx="185660" cy="136151"/>
            </a:xfrm>
            <a:custGeom>
              <a:avLst/>
              <a:gdLst>
                <a:gd name="T0" fmla="*/ 90 w 90"/>
                <a:gd name="T1" fmla="*/ 0 h 66"/>
                <a:gd name="T2" fmla="*/ 45 w 90"/>
                <a:gd name="T3" fmla="*/ 66 h 66"/>
                <a:gd name="T4" fmla="*/ 0 w 90"/>
                <a:gd name="T5" fmla="*/ 0 h 66"/>
                <a:gd name="T6" fmla="*/ 90 w 90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66">
                  <a:moveTo>
                    <a:pt x="90" y="0"/>
                  </a:moveTo>
                  <a:lnTo>
                    <a:pt x="45" y="66"/>
                  </a:lnTo>
                  <a:lnTo>
                    <a:pt x="0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24" name="Group 23出自【趣你的PPT】(微信:qunideppt)：最优质的PPT资源库"/>
          <p:cNvGrpSpPr/>
          <p:nvPr/>
        </p:nvGrpSpPr>
        <p:grpSpPr>
          <a:xfrm>
            <a:off x="8213304" y="1642310"/>
            <a:ext cx="1243923" cy="536352"/>
            <a:chOff x="8239061" y="2086949"/>
            <a:chExt cx="1243923" cy="536352"/>
          </a:xfrm>
        </p:grpSpPr>
        <p:sp>
          <p:nvSpPr>
            <p:cNvPr id="25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8239061" y="2086949"/>
              <a:ext cx="1243923" cy="418767"/>
            </a:xfrm>
            <a:prstGeom prst="rect">
              <a:avLst/>
            </a:prstGeom>
            <a:solidFill>
              <a:srgbClr val="4C6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789853" y="2487150"/>
              <a:ext cx="189786" cy="136151"/>
            </a:xfrm>
            <a:custGeom>
              <a:avLst/>
              <a:gdLst>
                <a:gd name="T0" fmla="*/ 92 w 92"/>
                <a:gd name="T1" fmla="*/ 0 h 66"/>
                <a:gd name="T2" fmla="*/ 47 w 92"/>
                <a:gd name="T3" fmla="*/ 66 h 66"/>
                <a:gd name="T4" fmla="*/ 0 w 92"/>
                <a:gd name="T5" fmla="*/ 0 h 66"/>
                <a:gd name="T6" fmla="*/ 92 w 9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66">
                  <a:moveTo>
                    <a:pt x="92" y="0"/>
                  </a:moveTo>
                  <a:lnTo>
                    <a:pt x="47" y="66"/>
                  </a:lnTo>
                  <a:lnTo>
                    <a:pt x="0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4C6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27" name="Group 26出自【趣你的PPT】(微信:qunideppt)：最优质的PPT资源库"/>
          <p:cNvGrpSpPr/>
          <p:nvPr/>
        </p:nvGrpSpPr>
        <p:grpSpPr>
          <a:xfrm>
            <a:off x="9447593" y="1642310"/>
            <a:ext cx="915241" cy="536352"/>
            <a:chOff x="9473350" y="2086949"/>
            <a:chExt cx="915241" cy="536352"/>
          </a:xfrm>
        </p:grpSpPr>
        <p:sp>
          <p:nvSpPr>
            <p:cNvPr id="2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473350" y="2086949"/>
              <a:ext cx="915241" cy="418767"/>
            </a:xfrm>
            <a:custGeom>
              <a:avLst/>
              <a:gdLst>
                <a:gd name="T0" fmla="*/ 788 w 818"/>
                <a:gd name="T1" fmla="*/ 0 h 86"/>
                <a:gd name="T2" fmla="*/ 0 w 818"/>
                <a:gd name="T3" fmla="*/ 0 h 86"/>
                <a:gd name="T4" fmla="*/ 0 w 818"/>
                <a:gd name="T5" fmla="*/ 86 h 86"/>
                <a:gd name="T6" fmla="*/ 788 w 818"/>
                <a:gd name="T7" fmla="*/ 86 h 86"/>
                <a:gd name="T8" fmla="*/ 818 w 818"/>
                <a:gd name="T9" fmla="*/ 55 h 86"/>
                <a:gd name="T10" fmla="*/ 818 w 818"/>
                <a:gd name="T11" fmla="*/ 31 h 86"/>
                <a:gd name="T12" fmla="*/ 788 w 818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8" h="86">
                  <a:moveTo>
                    <a:pt x="7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88" y="86"/>
                    <a:pt x="788" y="86"/>
                    <a:pt x="788" y="86"/>
                  </a:cubicBezTo>
                  <a:cubicBezTo>
                    <a:pt x="805" y="86"/>
                    <a:pt x="818" y="72"/>
                    <a:pt x="818" y="55"/>
                  </a:cubicBezTo>
                  <a:cubicBezTo>
                    <a:pt x="818" y="31"/>
                    <a:pt x="818" y="31"/>
                    <a:pt x="818" y="31"/>
                  </a:cubicBezTo>
                  <a:cubicBezTo>
                    <a:pt x="818" y="14"/>
                    <a:pt x="805" y="0"/>
                    <a:pt x="788" y="0"/>
                  </a:cubicBezTo>
                  <a:close/>
                </a:path>
              </a:pathLst>
            </a:custGeom>
            <a:solidFill>
              <a:srgbClr val="3D9077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862556" y="2487150"/>
              <a:ext cx="189786" cy="136151"/>
            </a:xfrm>
            <a:custGeom>
              <a:avLst/>
              <a:gdLst>
                <a:gd name="T0" fmla="*/ 92 w 92"/>
                <a:gd name="T1" fmla="*/ 0 h 66"/>
                <a:gd name="T2" fmla="*/ 47 w 92"/>
                <a:gd name="T3" fmla="*/ 66 h 66"/>
                <a:gd name="T4" fmla="*/ 0 w 92"/>
                <a:gd name="T5" fmla="*/ 0 h 66"/>
                <a:gd name="T6" fmla="*/ 92 w 9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66">
                  <a:moveTo>
                    <a:pt x="92" y="0"/>
                  </a:moveTo>
                  <a:lnTo>
                    <a:pt x="47" y="66"/>
                  </a:lnTo>
                  <a:lnTo>
                    <a:pt x="0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3D9077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</p:grpSp>
      <p:sp>
        <p:nvSpPr>
          <p:cNvPr id="30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1311849" y="4360346"/>
            <a:ext cx="1682009" cy="553998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r"/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zh-CN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1" name="出自【趣你的PPT】(微信:qunideppt)：最优质的PPT资源库"/>
          <p:cNvCxnSpPr/>
          <p:nvPr/>
        </p:nvCxnSpPr>
        <p:spPr>
          <a:xfrm>
            <a:off x="1358577" y="4200440"/>
            <a:ext cx="1532633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3216379" y="4360346"/>
            <a:ext cx="1682009" cy="553998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just"/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zh-CN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3" name="出自【趣你的PPT】(微信:qunideppt)：最优质的PPT资源库"/>
          <p:cNvCxnSpPr/>
          <p:nvPr/>
        </p:nvCxnSpPr>
        <p:spPr>
          <a:xfrm>
            <a:off x="3266999" y="4200440"/>
            <a:ext cx="1532633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5256310" y="4360346"/>
            <a:ext cx="1682009" cy="553998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just"/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zh-CN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5" name="出自【趣你的PPT】(微信:qunideppt)：最优质的PPT资源库"/>
          <p:cNvCxnSpPr/>
          <p:nvPr/>
        </p:nvCxnSpPr>
        <p:spPr>
          <a:xfrm>
            <a:off x="5323120" y="4200440"/>
            <a:ext cx="1532633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7337323" y="4363921"/>
            <a:ext cx="1682009" cy="553998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just"/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zh-CN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7" name="出自【趣你的PPT】(微信:qunideppt)：最优质的PPT资源库"/>
          <p:cNvCxnSpPr/>
          <p:nvPr/>
        </p:nvCxnSpPr>
        <p:spPr>
          <a:xfrm>
            <a:off x="7398920" y="4204015"/>
            <a:ext cx="1532633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9306643" y="4341869"/>
            <a:ext cx="1682009" cy="553998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just"/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zh-CN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9" name="出自【趣你的PPT】(微信:qunideppt)：最优质的PPT资源库"/>
          <p:cNvCxnSpPr/>
          <p:nvPr/>
        </p:nvCxnSpPr>
        <p:spPr>
          <a:xfrm>
            <a:off x="9368240" y="4200440"/>
            <a:ext cx="1532633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出自【趣你的PPT】(微信:qunideppt)：最优质的PPT资源库"/>
          <p:cNvSpPr txBox="1"/>
          <p:nvPr/>
        </p:nvSpPr>
        <p:spPr>
          <a:xfrm>
            <a:off x="1801784" y="1654703"/>
            <a:ext cx="65915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%</a:t>
            </a:r>
            <a:endParaRPr lang="zh-CN" altLang="en-US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出自【趣你的PPT】(微信:qunideppt)：最优质的PPT资源库"/>
          <p:cNvSpPr txBox="1"/>
          <p:nvPr/>
        </p:nvSpPr>
        <p:spPr>
          <a:xfrm>
            <a:off x="3392756" y="1672503"/>
            <a:ext cx="65915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4%</a:t>
            </a:r>
            <a:endParaRPr lang="zh-CN" altLang="en-US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出自【趣你的PPT】(微信:qunideppt)：最优质的PPT资源库"/>
          <p:cNvSpPr txBox="1"/>
          <p:nvPr/>
        </p:nvSpPr>
        <p:spPr>
          <a:xfrm>
            <a:off x="5706523" y="1672503"/>
            <a:ext cx="65915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8%</a:t>
            </a:r>
            <a:endParaRPr lang="zh-CN" altLang="en-US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出自【趣你的PPT】(微信:qunideppt)：最优质的PPT资源库"/>
          <p:cNvSpPr txBox="1"/>
          <p:nvPr/>
        </p:nvSpPr>
        <p:spPr>
          <a:xfrm>
            <a:off x="8520469" y="1681000"/>
            <a:ext cx="65915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%</a:t>
            </a:r>
            <a:endParaRPr lang="zh-CN" altLang="en-US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出自【趣你的PPT】(微信:qunideppt)：最优质的PPT资源库"/>
          <p:cNvSpPr txBox="1"/>
          <p:nvPr/>
        </p:nvSpPr>
        <p:spPr>
          <a:xfrm>
            <a:off x="9669439" y="1663941"/>
            <a:ext cx="524503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%</a:t>
            </a:r>
            <a:endParaRPr lang="zh-CN" altLang="en-US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193" r="16538" b="13576"/>
          <a:stretch/>
        </p:blipFill>
        <p:spPr>
          <a:xfrm>
            <a:off x="1356152" y="2689738"/>
            <a:ext cx="1535058" cy="934704"/>
          </a:xfrm>
          <a:prstGeom prst="rect">
            <a:avLst/>
          </a:prstGeom>
        </p:spPr>
      </p:pic>
      <p:pic>
        <p:nvPicPr>
          <p:cNvPr id="46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30" t="44488" b="15520"/>
          <a:stretch/>
        </p:blipFill>
        <p:spPr>
          <a:xfrm>
            <a:off x="3300298" y="2689737"/>
            <a:ext cx="1532751" cy="934705"/>
          </a:xfrm>
          <a:prstGeom prst="rect">
            <a:avLst/>
          </a:prstGeom>
        </p:spPr>
      </p:pic>
      <p:pic>
        <p:nvPicPr>
          <p:cNvPr id="47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23" b="14023"/>
          <a:stretch/>
        </p:blipFill>
        <p:spPr>
          <a:xfrm>
            <a:off x="5335075" y="2689737"/>
            <a:ext cx="1524477" cy="934705"/>
          </a:xfrm>
          <a:prstGeom prst="rect">
            <a:avLst/>
          </a:prstGeom>
        </p:spPr>
      </p:pic>
      <p:pic>
        <p:nvPicPr>
          <p:cNvPr id="48" name="出自【趣你的PPT】(微信:qunideppt)：最优质的PPT资源库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920" y="2693312"/>
            <a:ext cx="1520678" cy="934706"/>
          </a:xfrm>
          <a:prstGeom prst="rect">
            <a:avLst/>
          </a:prstGeom>
        </p:spPr>
      </p:pic>
      <p:pic>
        <p:nvPicPr>
          <p:cNvPr id="49" name="出自【趣你的PPT】(微信:qunideppt)：最优质的PPT资源库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3085" y="2689736"/>
            <a:ext cx="1507788" cy="93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907784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3" presetClass="entr" presetSubtype="52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36" presetID="2" presetClass="entr" presetSubtype="8" fill="hold" grpId="0" nodeType="afterEffect" p14:presetBounceEnd="10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00000">
                                          <p:cBhvr additive="base">
                                            <p:cTn id="38" dur="2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00000">
                                          <p:cBhvr additive="base">
                                            <p:cTn id="39" dur="2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0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41" presetID="2" presetClass="entr" presetSubtype="8" fill="hold" grpId="0" nodeType="afterEffect" p14:presetBounceEnd="10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00000">
                                          <p:cBhvr additive="base">
                                            <p:cTn id="43" dur="2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00000">
                                          <p:cBhvr additive="base">
                                            <p:cTn id="44" dur="2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46" presetID="2" presetClass="entr" presetSubtype="8" fill="hold" grpId="0" nodeType="afterEffect" p14:presetBounceEnd="10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00000">
                                          <p:cBhvr additive="base">
                                            <p:cTn id="48" dur="2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00000">
                                          <p:cBhvr additive="base">
                                            <p:cTn id="49" dur="2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51" presetID="2" presetClass="entr" presetSubtype="8" fill="hold" grpId="0" nodeType="afterEffect" p14:presetBounceEnd="10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00000">
                                          <p:cBhvr additive="base">
                                            <p:cTn id="53" dur="2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00000">
                                          <p:cBhvr additive="base">
                                            <p:cTn id="54" dur="2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56" presetID="2" presetClass="entr" presetSubtype="8" fill="hold" grpId="0" nodeType="afterEffect" p14:presetBounceEnd="10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00000">
                                          <p:cBhvr additive="base">
                                            <p:cTn id="58" dur="2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00000">
                                          <p:cBhvr additive="base">
                                            <p:cTn id="59" dur="2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0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61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68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75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8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0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82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8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89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3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4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5" fill="hold">
                                <p:stCondLst>
                                  <p:cond delay="4250"/>
                                </p:stCondLst>
                                <p:childTnLst>
                                  <p:par>
                                    <p:cTn id="96" presetID="1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8" dur="500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99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0" presetID="12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2" dur="500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03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4" presetID="12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6" dur="500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07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8" presetID="12" presetClass="entr" presetSubtype="1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0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0" dur="500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11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1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4" dur="500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15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6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117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9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0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1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22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23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5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6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7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28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29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1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2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3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34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3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7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8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40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41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3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4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5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46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7" fill="hold">
                                <p:stCondLst>
                                  <p:cond delay="6750"/>
                                </p:stCondLst>
                                <p:childTnLst>
                                  <p:par>
                                    <p:cTn id="148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0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51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2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3" presetID="42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5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56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7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8" presetID="42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0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61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63" presetID="42" presetClass="entr" presetSubtype="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5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66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7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68" presetID="42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0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71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72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/>
          <p:bldP spid="9" grpId="0"/>
          <p:bldP spid="10" grpId="0"/>
          <p:bldP spid="11" grpId="0"/>
          <p:bldP spid="30" grpId="0" animBg="1"/>
          <p:bldP spid="32" grpId="0" animBg="1"/>
          <p:bldP spid="34" grpId="0" animBg="1"/>
          <p:bldP spid="36" grpId="0" animBg="1"/>
          <p:bldP spid="38" grpId="0" animBg="1"/>
          <p:bldP spid="40" grpId="0"/>
          <p:bldP spid="41" grpId="0"/>
          <p:bldP spid="42" grpId="0"/>
          <p:bldP spid="43" grpId="0"/>
          <p:bldP spid="4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3" presetClass="entr" presetSubtype="52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3" presetClass="entr" presetSubtype="52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36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8" dur="2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9" dur="2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0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41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2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2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46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2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25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51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3" dur="2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4" dur="2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56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8" dur="2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9" dur="2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0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61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68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2" dur="5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75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7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8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0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82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5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8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89" presetID="49" presetClass="entr" presetSubtype="0" decel="10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3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4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5" fill="hold">
                                <p:stCondLst>
                                  <p:cond delay="4250"/>
                                </p:stCondLst>
                                <p:childTnLst>
                                  <p:par>
                                    <p:cTn id="96" presetID="1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8" dur="500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99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0" presetID="12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2" dur="500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03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4" presetID="12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6" dur="500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07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8" presetID="12" presetClass="entr" presetSubtype="1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0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0" dur="500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11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1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4" dur="500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115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6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117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9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0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1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22" dur="10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23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5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6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7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28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29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1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2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3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34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3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7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8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40" dur="1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41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3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4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5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46" dur="10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7" fill="hold">
                                <p:stCondLst>
                                  <p:cond delay="6750"/>
                                </p:stCondLst>
                                <p:childTnLst>
                                  <p:par>
                                    <p:cTn id="148" presetID="4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0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51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2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3" presetID="42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5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56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7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8" presetID="42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0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61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63" presetID="42" presetClass="entr" presetSubtype="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5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66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7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68" presetID="42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0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71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72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8" grpId="0"/>
          <p:bldP spid="9" grpId="0"/>
          <p:bldP spid="10" grpId="0"/>
          <p:bldP spid="11" grpId="0"/>
          <p:bldP spid="30" grpId="0" animBg="1"/>
          <p:bldP spid="32" grpId="0" animBg="1"/>
          <p:bldP spid="34" grpId="0" animBg="1"/>
          <p:bldP spid="36" grpId="0" animBg="1"/>
          <p:bldP spid="38" grpId="0" animBg="1"/>
          <p:bldP spid="40" grpId="0"/>
          <p:bldP spid="41" grpId="0"/>
          <p:bldP spid="42" grpId="0"/>
          <p:bldP spid="43" grpId="0"/>
          <p:bldP spid="44" grpId="0"/>
        </p:bldLst>
      </p:timing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43" name="Group 42出自【趣你的PPT】(微信:qunideppt)：最优质的PPT资源库"/>
          <p:cNvGrpSpPr/>
          <p:nvPr/>
        </p:nvGrpSpPr>
        <p:grpSpPr>
          <a:xfrm>
            <a:off x="1443156" y="1258751"/>
            <a:ext cx="2658704" cy="946794"/>
            <a:chOff x="1465842" y="1988840"/>
            <a:chExt cx="2658704" cy="946794"/>
          </a:xfrm>
          <a:solidFill>
            <a:srgbClr val="C00000"/>
          </a:solidFill>
        </p:grpSpPr>
        <p:sp>
          <p:nvSpPr>
            <p:cNvPr id="44" name="出自【趣你的PPT】(微信:qunideppt)：最优质的PPT资源库"/>
            <p:cNvSpPr/>
            <p:nvPr/>
          </p:nvSpPr>
          <p:spPr>
            <a:xfrm rot="5400000">
              <a:off x="2322173" y="1133261"/>
              <a:ext cx="946794" cy="2657952"/>
            </a:xfrm>
            <a:custGeom>
              <a:avLst/>
              <a:gdLst>
                <a:gd name="connsiteX0" fmla="*/ 0 w 946794"/>
                <a:gd name="connsiteY0" fmla="*/ 489268 h 2657952"/>
                <a:gd name="connsiteX1" fmla="*/ 473397 w 946794"/>
                <a:gd name="connsiteY1" fmla="*/ 0 h 2657952"/>
                <a:gd name="connsiteX2" fmla="*/ 946794 w 946794"/>
                <a:gd name="connsiteY2" fmla="*/ 489268 h 2657952"/>
                <a:gd name="connsiteX3" fmla="*/ 942718 w 946794"/>
                <a:gd name="connsiteY3" fmla="*/ 489268 h 2657952"/>
                <a:gd name="connsiteX4" fmla="*/ 942718 w 946794"/>
                <a:gd name="connsiteY4" fmla="*/ 2657952 h 2657952"/>
                <a:gd name="connsiteX5" fmla="*/ 6614 w 946794"/>
                <a:gd name="connsiteY5" fmla="*/ 2657952 h 2657952"/>
                <a:gd name="connsiteX6" fmla="*/ 6614 w 946794"/>
                <a:gd name="connsiteY6" fmla="*/ 489268 h 265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6794" h="2657952">
                  <a:moveTo>
                    <a:pt x="0" y="489268"/>
                  </a:moveTo>
                  <a:lnTo>
                    <a:pt x="473397" y="0"/>
                  </a:lnTo>
                  <a:lnTo>
                    <a:pt x="946794" y="489268"/>
                  </a:lnTo>
                  <a:lnTo>
                    <a:pt x="942718" y="489268"/>
                  </a:lnTo>
                  <a:lnTo>
                    <a:pt x="942718" y="2657952"/>
                  </a:lnTo>
                  <a:lnTo>
                    <a:pt x="6614" y="2657952"/>
                  </a:lnTo>
                  <a:lnTo>
                    <a:pt x="6614" y="4892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5" name="出自【趣你的PPT】(微信:qunideppt)：最优质的PPT资源库"/>
            <p:cNvSpPr txBox="1"/>
            <p:nvPr/>
          </p:nvSpPr>
          <p:spPr>
            <a:xfrm>
              <a:off x="1465842" y="2139071"/>
              <a:ext cx="864096" cy="6463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3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3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出自【趣你的PPT】(微信:qunideppt)：最优质的PPT资源库"/>
            <p:cNvSpPr txBox="1"/>
            <p:nvPr/>
          </p:nvSpPr>
          <p:spPr>
            <a:xfrm>
              <a:off x="2117292" y="2054826"/>
              <a:ext cx="1440160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您的标题</a:t>
              </a:r>
            </a:p>
          </p:txBody>
        </p:sp>
        <p:sp>
          <p:nvSpPr>
            <p:cNvPr id="47" name="出自【趣你的PPT】(微信:qunideppt)：最优质的PPT资源库"/>
            <p:cNvSpPr/>
            <p:nvPr/>
          </p:nvSpPr>
          <p:spPr>
            <a:xfrm>
              <a:off x="2117292" y="2358552"/>
              <a:ext cx="1817894" cy="577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。</a:t>
              </a:r>
              <a:endParaRPr lang="zh-CN" altLang="en-US" sz="10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出自【趣你的PPT】(微信:qunideppt)：最优质的PPT资源库"/>
          <p:cNvGrpSpPr/>
          <p:nvPr/>
        </p:nvGrpSpPr>
        <p:grpSpPr>
          <a:xfrm>
            <a:off x="3885836" y="1250598"/>
            <a:ext cx="2448272" cy="946795"/>
            <a:chOff x="3908522" y="1980687"/>
            <a:chExt cx="2448272" cy="946795"/>
          </a:xfrm>
          <a:solidFill>
            <a:srgbClr val="C00000"/>
          </a:solidFill>
        </p:grpSpPr>
        <p:sp>
          <p:nvSpPr>
            <p:cNvPr id="49" name="出自【趣你的PPT】(微信:qunideppt)：最优质的PPT资源库"/>
            <p:cNvSpPr/>
            <p:nvPr/>
          </p:nvSpPr>
          <p:spPr>
            <a:xfrm>
              <a:off x="3908522" y="1980687"/>
              <a:ext cx="2448272" cy="946795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0" name="出自【趣你的PPT】(微信:qunideppt)：最优质的PPT资源库"/>
            <p:cNvSpPr txBox="1"/>
            <p:nvPr/>
          </p:nvSpPr>
          <p:spPr>
            <a:xfrm>
              <a:off x="4355379" y="2139071"/>
              <a:ext cx="864096" cy="6463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3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3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出自【趣你的PPT】(微信:qunideppt)：最优质的PPT资源库"/>
            <p:cNvSpPr txBox="1"/>
            <p:nvPr/>
          </p:nvSpPr>
          <p:spPr>
            <a:xfrm>
              <a:off x="5024513" y="2259342"/>
              <a:ext cx="1137329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您的标题</a:t>
              </a:r>
            </a:p>
          </p:txBody>
        </p:sp>
      </p:grpSp>
      <p:grpSp>
        <p:nvGrpSpPr>
          <p:cNvPr id="52" name="Group 51出自【趣你的PPT】(微信:qunideppt)：最优质的PPT资源库"/>
          <p:cNvGrpSpPr/>
          <p:nvPr/>
        </p:nvGrpSpPr>
        <p:grpSpPr>
          <a:xfrm>
            <a:off x="6112492" y="1242445"/>
            <a:ext cx="2448272" cy="946795"/>
            <a:chOff x="6135178" y="1972534"/>
            <a:chExt cx="2448272" cy="946795"/>
          </a:xfrm>
          <a:solidFill>
            <a:srgbClr val="C00000"/>
          </a:solidFill>
        </p:grpSpPr>
        <p:sp>
          <p:nvSpPr>
            <p:cNvPr id="53" name="出自【趣你的PPT】(微信:qunideppt)：最优质的PPT资源库"/>
            <p:cNvSpPr/>
            <p:nvPr/>
          </p:nvSpPr>
          <p:spPr>
            <a:xfrm>
              <a:off x="6135178" y="1972534"/>
              <a:ext cx="2448272" cy="946795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4" name="出自【趣你的PPT】(微信:qunideppt)：最优质的PPT资源库"/>
            <p:cNvSpPr txBox="1"/>
            <p:nvPr/>
          </p:nvSpPr>
          <p:spPr>
            <a:xfrm>
              <a:off x="6603363" y="2139071"/>
              <a:ext cx="864096" cy="6463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3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3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出自【趣你的PPT】(微信:qunideppt)：最优质的PPT资源库"/>
            <p:cNvSpPr txBox="1"/>
            <p:nvPr/>
          </p:nvSpPr>
          <p:spPr>
            <a:xfrm>
              <a:off x="7272497" y="2259342"/>
              <a:ext cx="1137329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您的标题</a:t>
              </a:r>
            </a:p>
          </p:txBody>
        </p:sp>
      </p:grpSp>
      <p:grpSp>
        <p:nvGrpSpPr>
          <p:cNvPr id="56" name="Group 55出自【趣你的PPT】(微信:qunideppt)：最优质的PPT资源库"/>
          <p:cNvGrpSpPr/>
          <p:nvPr/>
        </p:nvGrpSpPr>
        <p:grpSpPr>
          <a:xfrm>
            <a:off x="8344740" y="1258751"/>
            <a:ext cx="2448272" cy="946795"/>
            <a:chOff x="8367426" y="1988840"/>
            <a:chExt cx="2448272" cy="946795"/>
          </a:xfrm>
          <a:solidFill>
            <a:srgbClr val="C00000"/>
          </a:solidFill>
        </p:grpSpPr>
        <p:sp>
          <p:nvSpPr>
            <p:cNvPr id="57" name="出自【趣你的PPT】(微信:qunideppt)：最优质的PPT资源库"/>
            <p:cNvSpPr/>
            <p:nvPr/>
          </p:nvSpPr>
          <p:spPr>
            <a:xfrm>
              <a:off x="8367426" y="1988840"/>
              <a:ext cx="2448272" cy="946795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8" name="出自【趣你的PPT】(微信:qunideppt)：最优质的PPT资源库"/>
            <p:cNvSpPr txBox="1"/>
            <p:nvPr/>
          </p:nvSpPr>
          <p:spPr>
            <a:xfrm>
              <a:off x="8830019" y="2145059"/>
              <a:ext cx="864096" cy="6463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3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3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出自【趣你的PPT】(微信:qunideppt)：最优质的PPT资源库"/>
            <p:cNvSpPr txBox="1"/>
            <p:nvPr/>
          </p:nvSpPr>
          <p:spPr>
            <a:xfrm>
              <a:off x="9499153" y="2265330"/>
              <a:ext cx="1137329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您的标题</a:t>
              </a:r>
            </a:p>
          </p:txBody>
        </p:sp>
      </p:grpSp>
      <p:sp>
        <p:nvSpPr>
          <p:cNvPr id="60" name="出自【趣你的PPT】(微信:qunideppt)：最优质的PPT资源库"/>
          <p:cNvSpPr txBox="1"/>
          <p:nvPr/>
        </p:nvSpPr>
        <p:spPr>
          <a:xfrm>
            <a:off x="1404730" y="4067063"/>
            <a:ext cx="1932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出自【趣你的PPT】(微信:qunideppt)：最优质的PPT资源库"/>
          <p:cNvSpPr txBox="1"/>
          <p:nvPr/>
        </p:nvSpPr>
        <p:spPr>
          <a:xfrm>
            <a:off x="3823389" y="4067063"/>
            <a:ext cx="1932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出自【趣你的PPT】(微信:qunideppt)：最优质的PPT资源库"/>
          <p:cNvSpPr txBox="1"/>
          <p:nvPr/>
        </p:nvSpPr>
        <p:spPr>
          <a:xfrm>
            <a:off x="6242049" y="4067063"/>
            <a:ext cx="1932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出自【趣你的PPT】(微信:qunideppt)：最优质的PPT资源库"/>
          <p:cNvSpPr txBox="1"/>
          <p:nvPr/>
        </p:nvSpPr>
        <p:spPr>
          <a:xfrm>
            <a:off x="8561114" y="4067063"/>
            <a:ext cx="1932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4" name="出自【趣你的PPT】(微信:qunideppt)：最优质的PPT资源库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451" y="2735898"/>
            <a:ext cx="1025453" cy="1040460"/>
          </a:xfrm>
          <a:prstGeom prst="rect">
            <a:avLst/>
          </a:prstGeom>
        </p:spPr>
      </p:pic>
      <p:pic>
        <p:nvPicPr>
          <p:cNvPr id="65" name="出自【趣你的PPT】(微信:qunideppt)：最优质的PPT资源库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148" y="2743031"/>
            <a:ext cx="1033327" cy="1033327"/>
          </a:xfrm>
          <a:prstGeom prst="rect">
            <a:avLst/>
          </a:prstGeom>
        </p:spPr>
      </p:pic>
      <p:pic>
        <p:nvPicPr>
          <p:cNvPr id="66" name="出自【趣你的PPT】(微信:qunideppt)：最优质的PPT资源库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6850" y="2746600"/>
            <a:ext cx="1029758" cy="1029758"/>
          </a:xfrm>
          <a:prstGeom prst="rect">
            <a:avLst/>
          </a:prstGeom>
        </p:spPr>
      </p:pic>
      <p:pic>
        <p:nvPicPr>
          <p:cNvPr id="67" name="出自【趣你的PPT】(微信:qunideppt)：最优质的PPT资源库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997" y="2743031"/>
            <a:ext cx="1029758" cy="102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32201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2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3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2" presetClass="entr" presetSubtype="8" fill="hold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7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8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0" presetID="2" presetClass="entr" presetSubtype="8" fill="hold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2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23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5" presetID="23" presetClass="entr" presetSubtype="3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1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1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50" presetID="1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500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53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2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6" dur="500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57" dur="50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2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0" dur="500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61" dur="5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2" presetClass="entr" presetSubtype="1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4" dur="500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65" dur="500"/>
                                            <p:tgtEl>
                                              <p:spTgt spid="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0" grpId="0"/>
          <p:bldP spid="61" grpId="0"/>
          <p:bldP spid="62" grpId="0"/>
          <p:bldP spid="6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5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0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5" presetID="23" presetClass="entr" presetSubtype="3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1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1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3" presetClass="entr" presetSubtype="3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(6*min(max(#ppt_w*#ppt_h,.3),1)-7.4)/-.7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(6*min(max(#ppt_w*#ppt_h,.3),1)-7.4)/-.7*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50" presetID="1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500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53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2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6" dur="500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57" dur="50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2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0" dur="500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61" dur="5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2" presetClass="entr" presetSubtype="1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4" dur="500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*1.12500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wipe(down)">
                                          <p:cBhvr>
                                            <p:cTn id="65" dur="500"/>
                                            <p:tgtEl>
                                              <p:spTgt spid="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0" grpId="0"/>
          <p:bldP spid="61" grpId="0"/>
          <p:bldP spid="62" grpId="0"/>
          <p:bldP spid="63" grpId="0"/>
        </p:bldLst>
      </p:timing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pic>
        <p:nvPicPr>
          <p:cNvPr id="53" name="出自【趣你的PPT】(微信:qunideppt)：最优质的PPT资源库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29" y="1010401"/>
            <a:ext cx="6605418" cy="4601296"/>
          </a:xfrm>
          <a:prstGeom prst="rect">
            <a:avLst/>
          </a:prstGeom>
        </p:spPr>
      </p:pic>
      <p:sp>
        <p:nvSpPr>
          <p:cNvPr id="54" name="出自【趣你的PPT】(微信:qunideppt)：最优质的PPT资源库"/>
          <p:cNvSpPr/>
          <p:nvPr/>
        </p:nvSpPr>
        <p:spPr>
          <a:xfrm>
            <a:off x="7853410" y="1010401"/>
            <a:ext cx="2675793" cy="57606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5" name="出自【趣你的PPT】(微信:qunideppt)：最优质的PPT资源库"/>
          <p:cNvSpPr txBox="1"/>
          <p:nvPr/>
        </p:nvSpPr>
        <p:spPr>
          <a:xfrm>
            <a:off x="8186707" y="1122820"/>
            <a:ext cx="2133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56" name="出自【趣你的PPT】(微信:qunideppt)：最优质的PPT资源库"/>
          <p:cNvSpPr txBox="1"/>
          <p:nvPr/>
        </p:nvSpPr>
        <p:spPr>
          <a:xfrm>
            <a:off x="7859077" y="2015941"/>
            <a:ext cx="280831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96538386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16" dur="227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27" fill="hold">
                                          <p:stCondLst>
                                            <p:cond delay="227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27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8" decel="50000" autoRev="1" fill="hold">
                                          <p:stCondLst>
                                            <p:cond delay="227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8" fill="hold">
                                          <p:stCondLst>
                                            <p:cond delay="43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250"/>
                            </p:stCondLst>
                            <p:childTnLst>
                              <p:par>
                                <p:cTn id="22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4" dur="125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5" dur="125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6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7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/>
      <p:bldP spid="5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6"/>
          <a:stretch/>
        </p:blipFill>
        <p:spPr>
          <a:xfrm>
            <a:off x="2739125" y="-12879"/>
            <a:ext cx="9452875" cy="6890198"/>
          </a:xfrm>
          <a:prstGeom prst="rect">
            <a:avLst/>
          </a:prstGeom>
        </p:spPr>
      </p:pic>
      <p:pic>
        <p:nvPicPr>
          <p:cNvPr id="37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3"/>
          <a:srcRect t="16011" r="13956" b="16074"/>
          <a:stretch/>
        </p:blipFill>
        <p:spPr>
          <a:xfrm rot="10800000">
            <a:off x="0" y="0"/>
            <a:ext cx="6782673" cy="6877318"/>
          </a:xfrm>
          <a:prstGeom prst="rect">
            <a:avLst/>
          </a:prstGeom>
        </p:spPr>
      </p:pic>
      <p:sp>
        <p:nvSpPr>
          <p:cNvPr id="38" name="出自【趣你的PPT】(微信:qunideppt)：最优质的PPT资源库"/>
          <p:cNvSpPr/>
          <p:nvPr/>
        </p:nvSpPr>
        <p:spPr>
          <a:xfrm>
            <a:off x="1553752" y="1599801"/>
            <a:ext cx="1328879" cy="463640"/>
          </a:xfrm>
          <a:prstGeom prst="rect">
            <a:avLst/>
          </a:prstGeom>
          <a:solidFill>
            <a:srgbClr val="1731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9" name="出自【趣你的PPT】(微信:qunideppt)：最优质的PPT资源库"/>
          <p:cNvSpPr txBox="1"/>
          <p:nvPr/>
        </p:nvSpPr>
        <p:spPr>
          <a:xfrm>
            <a:off x="1777059" y="1593362"/>
            <a:ext cx="11055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40" name="出自【趣你的PPT】(微信:qunideppt)：最优质的PPT资源库"/>
          <p:cNvSpPr/>
          <p:nvPr/>
        </p:nvSpPr>
        <p:spPr>
          <a:xfrm>
            <a:off x="2882631" y="1599801"/>
            <a:ext cx="1955235" cy="4636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1" name="出自【趣你的PPT】(微信:qunideppt)：最优质的PPT资源库"/>
          <p:cNvSpPr txBox="1"/>
          <p:nvPr/>
        </p:nvSpPr>
        <p:spPr>
          <a:xfrm>
            <a:off x="2869208" y="1654917"/>
            <a:ext cx="1674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  <a:endParaRPr lang="zh-CN" altLang="en-US" sz="20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出自【趣你的PPT】(微信:qunideppt)：最优质的PPT资源库"/>
          <p:cNvCxnSpPr/>
          <p:nvPr/>
        </p:nvCxnSpPr>
        <p:spPr>
          <a:xfrm>
            <a:off x="1553752" y="2007976"/>
            <a:ext cx="32841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出自【趣你的PPT】(微信:qunideppt)：最优质的PPT资源库"/>
          <p:cNvSpPr txBox="1"/>
          <p:nvPr/>
        </p:nvSpPr>
        <p:spPr>
          <a:xfrm>
            <a:off x="1553751" y="2681456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出自【趣你的PPT】(微信:qunideppt)：最优质的PPT资源库"/>
          <p:cNvSpPr txBox="1"/>
          <p:nvPr/>
        </p:nvSpPr>
        <p:spPr>
          <a:xfrm>
            <a:off x="1996199" y="2736920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49" name="出自【趣你的PPT】(微信:qunideppt)：最优质的PPT资源库"/>
          <p:cNvSpPr txBox="1"/>
          <p:nvPr/>
        </p:nvSpPr>
        <p:spPr>
          <a:xfrm>
            <a:off x="1996199" y="3479177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0" name="出自【趣你的PPT】(微信:qunideppt)：最优质的PPT资源库"/>
          <p:cNvSpPr txBox="1"/>
          <p:nvPr/>
        </p:nvSpPr>
        <p:spPr>
          <a:xfrm>
            <a:off x="1996199" y="4963692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1" name="出自【趣你的PPT】(微信:qunideppt)：最优质的PPT资源库"/>
          <p:cNvSpPr txBox="1"/>
          <p:nvPr/>
        </p:nvSpPr>
        <p:spPr>
          <a:xfrm>
            <a:off x="1996199" y="4221434"/>
            <a:ext cx="3129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这里添加您要的文本</a:t>
            </a:r>
          </a:p>
        </p:txBody>
      </p:sp>
      <p:sp>
        <p:nvSpPr>
          <p:cNvPr id="52" name="出自【趣你的PPT】(微信:qunideppt)：最优质的PPT资源库"/>
          <p:cNvSpPr txBox="1"/>
          <p:nvPr/>
        </p:nvSpPr>
        <p:spPr>
          <a:xfrm>
            <a:off x="1553750" y="3426145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出自【趣你的PPT】(微信:qunideppt)：最优质的PPT资源库"/>
          <p:cNvSpPr txBox="1"/>
          <p:nvPr/>
        </p:nvSpPr>
        <p:spPr>
          <a:xfrm>
            <a:off x="1553749" y="4184357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出自【趣你的PPT】(微信:qunideppt)：最优质的PPT资源库"/>
          <p:cNvSpPr txBox="1"/>
          <p:nvPr/>
        </p:nvSpPr>
        <p:spPr>
          <a:xfrm>
            <a:off x="1553748" y="4958951"/>
            <a:ext cx="618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4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69874101"/>
      </p:ext>
    </p:extLst>
  </p:cSld>
  <p:clrMapOvr>
    <a:masterClrMapping/>
  </p:clrMapOvr>
  <p:transition spd="slow" advClick="0" advTm="3000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/>
          <p:nvPr/>
        </p:nvSpPr>
        <p:spPr>
          <a:xfrm>
            <a:off x="782635" y="2574669"/>
            <a:ext cx="281467" cy="281467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prstClr val="white"/>
                </a:solidFill>
              </a:rPr>
              <a:t> </a:t>
            </a:r>
            <a:endParaRPr lang="zh-CN" altLang="en-US" dirty="0">
              <a:solidFill>
                <a:prstClr val="white"/>
              </a:solidFill>
            </a:endParaRPr>
          </a:p>
        </p:txBody>
      </p:sp>
      <p:cxnSp>
        <p:nvCxnSpPr>
          <p:cNvPr id="8" name="出自【趣你的PPT】(微信:qunideppt)：最优质的PPT资源库"/>
          <p:cNvCxnSpPr>
            <a:stCxn id="7" idx="6"/>
          </p:cNvCxnSpPr>
          <p:nvPr/>
        </p:nvCxnSpPr>
        <p:spPr>
          <a:xfrm flipV="1">
            <a:off x="1064102" y="2691402"/>
            <a:ext cx="10081121" cy="2400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出自【趣你的PPT】(微信:qunideppt)：最优质的PPT资源库"/>
          <p:cNvSpPr/>
          <p:nvPr/>
        </p:nvSpPr>
        <p:spPr>
          <a:xfrm>
            <a:off x="11145223" y="2550668"/>
            <a:ext cx="281467" cy="281467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出自【趣你的PPT】(微信:qunideppt)：最优质的PPT资源库"/>
          <p:cNvSpPr/>
          <p:nvPr/>
        </p:nvSpPr>
        <p:spPr>
          <a:xfrm>
            <a:off x="3249722" y="2575503"/>
            <a:ext cx="281467" cy="281467"/>
          </a:xfrm>
          <a:prstGeom prst="ellipse">
            <a:avLst/>
          </a:prstGeom>
          <a:solidFill>
            <a:srgbClr val="EEECE1"/>
          </a:solidFill>
          <a:ln>
            <a:solidFill>
              <a:srgbClr val="DC2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prstClr val="white"/>
                </a:solidFill>
              </a:rPr>
              <a:t>                                                                   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11" name="出自【趣你的PPT】(微信:qunideppt)：最优质的PPT资源库"/>
          <p:cNvSpPr/>
          <p:nvPr/>
        </p:nvSpPr>
        <p:spPr>
          <a:xfrm>
            <a:off x="5776126" y="2553615"/>
            <a:ext cx="281467" cy="281467"/>
          </a:xfrm>
          <a:prstGeom prst="ellipse">
            <a:avLst/>
          </a:prstGeom>
          <a:solidFill>
            <a:srgbClr val="EEECE1"/>
          </a:solidFill>
          <a:ln>
            <a:solidFill>
              <a:srgbClr val="DC2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出自【趣你的PPT】(微信:qunideppt)：最优质的PPT资源库"/>
          <p:cNvSpPr/>
          <p:nvPr/>
        </p:nvSpPr>
        <p:spPr>
          <a:xfrm>
            <a:off x="8337352" y="2566375"/>
            <a:ext cx="281467" cy="281467"/>
          </a:xfrm>
          <a:prstGeom prst="ellipse">
            <a:avLst/>
          </a:prstGeom>
          <a:solidFill>
            <a:srgbClr val="EEECE1"/>
          </a:solidFill>
          <a:ln>
            <a:solidFill>
              <a:srgbClr val="DC2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3" name="Group 12出自【趣你的PPT】(微信:qunideppt)：最优质的PPT资源库"/>
          <p:cNvGrpSpPr/>
          <p:nvPr/>
        </p:nvGrpSpPr>
        <p:grpSpPr>
          <a:xfrm>
            <a:off x="2598367" y="3088279"/>
            <a:ext cx="1584176" cy="743187"/>
            <a:chOff x="2727156" y="3246531"/>
            <a:chExt cx="1584176" cy="743187"/>
          </a:xfrm>
          <a:solidFill>
            <a:srgbClr val="C00000"/>
          </a:solidFill>
        </p:grpSpPr>
        <p:sp>
          <p:nvSpPr>
            <p:cNvPr id="14" name="出自【趣你的PPT】(微信:qunideppt)：最优质的PPT资源库"/>
            <p:cNvSpPr/>
            <p:nvPr/>
          </p:nvSpPr>
          <p:spPr>
            <a:xfrm>
              <a:off x="2727156" y="3246531"/>
              <a:ext cx="1584176" cy="743187"/>
            </a:xfrm>
            <a:custGeom>
              <a:avLst/>
              <a:gdLst>
                <a:gd name="connsiteX0" fmla="*/ 792089 w 1584176"/>
                <a:gd name="connsiteY0" fmla="*/ 0 h 743187"/>
                <a:gd name="connsiteX1" fmla="*/ 932822 w 1584176"/>
                <a:gd name="connsiteY1" fmla="*/ 95115 h 743187"/>
                <a:gd name="connsiteX2" fmla="*/ 1584176 w 1584176"/>
                <a:gd name="connsiteY2" fmla="*/ 95115 h 743187"/>
                <a:gd name="connsiteX3" fmla="*/ 1584176 w 1584176"/>
                <a:gd name="connsiteY3" fmla="*/ 743187 h 743187"/>
                <a:gd name="connsiteX4" fmla="*/ 0 w 1584176"/>
                <a:gd name="connsiteY4" fmla="*/ 743187 h 743187"/>
                <a:gd name="connsiteX5" fmla="*/ 0 w 1584176"/>
                <a:gd name="connsiteY5" fmla="*/ 95115 h 743187"/>
                <a:gd name="connsiteX6" fmla="*/ 651355 w 1584176"/>
                <a:gd name="connsiteY6" fmla="*/ 95115 h 743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4176" h="743187">
                  <a:moveTo>
                    <a:pt x="792089" y="0"/>
                  </a:moveTo>
                  <a:lnTo>
                    <a:pt x="932822" y="95115"/>
                  </a:lnTo>
                  <a:lnTo>
                    <a:pt x="1584176" y="95115"/>
                  </a:lnTo>
                  <a:lnTo>
                    <a:pt x="1584176" y="743187"/>
                  </a:lnTo>
                  <a:lnTo>
                    <a:pt x="0" y="743187"/>
                  </a:lnTo>
                  <a:lnTo>
                    <a:pt x="0" y="95115"/>
                  </a:lnTo>
                  <a:lnTo>
                    <a:pt x="651355" y="9511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" name="出自【趣你的PPT】(微信:qunideppt)：最优质的PPT资源库"/>
            <p:cNvSpPr txBox="1"/>
            <p:nvPr/>
          </p:nvSpPr>
          <p:spPr>
            <a:xfrm>
              <a:off x="2993861" y="3367319"/>
              <a:ext cx="1050765" cy="58477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>
                  <a:solidFill>
                    <a:prstClr val="white"/>
                  </a:solidFill>
                </a:rPr>
                <a:t>2012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5124771" y="3088278"/>
            <a:ext cx="1584176" cy="743187"/>
            <a:chOff x="2727156" y="3246531"/>
            <a:chExt cx="1584176" cy="743187"/>
          </a:xfrm>
          <a:solidFill>
            <a:srgbClr val="C00000"/>
          </a:solidFill>
        </p:grpSpPr>
        <p:sp>
          <p:nvSpPr>
            <p:cNvPr id="18" name="出自【趣你的PPT】(微信:qunideppt)：最优质的PPT资源库"/>
            <p:cNvSpPr/>
            <p:nvPr/>
          </p:nvSpPr>
          <p:spPr>
            <a:xfrm>
              <a:off x="2727156" y="3246531"/>
              <a:ext cx="1584176" cy="743187"/>
            </a:xfrm>
            <a:custGeom>
              <a:avLst/>
              <a:gdLst>
                <a:gd name="connsiteX0" fmla="*/ 792089 w 1584176"/>
                <a:gd name="connsiteY0" fmla="*/ 0 h 743187"/>
                <a:gd name="connsiteX1" fmla="*/ 932822 w 1584176"/>
                <a:gd name="connsiteY1" fmla="*/ 95115 h 743187"/>
                <a:gd name="connsiteX2" fmla="*/ 1584176 w 1584176"/>
                <a:gd name="connsiteY2" fmla="*/ 95115 h 743187"/>
                <a:gd name="connsiteX3" fmla="*/ 1584176 w 1584176"/>
                <a:gd name="connsiteY3" fmla="*/ 743187 h 743187"/>
                <a:gd name="connsiteX4" fmla="*/ 0 w 1584176"/>
                <a:gd name="connsiteY4" fmla="*/ 743187 h 743187"/>
                <a:gd name="connsiteX5" fmla="*/ 0 w 1584176"/>
                <a:gd name="connsiteY5" fmla="*/ 95115 h 743187"/>
                <a:gd name="connsiteX6" fmla="*/ 651355 w 1584176"/>
                <a:gd name="connsiteY6" fmla="*/ 95115 h 743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4176" h="743187">
                  <a:moveTo>
                    <a:pt x="792089" y="0"/>
                  </a:moveTo>
                  <a:lnTo>
                    <a:pt x="932822" y="95115"/>
                  </a:lnTo>
                  <a:lnTo>
                    <a:pt x="1584176" y="95115"/>
                  </a:lnTo>
                  <a:lnTo>
                    <a:pt x="1584176" y="743187"/>
                  </a:lnTo>
                  <a:lnTo>
                    <a:pt x="0" y="743187"/>
                  </a:lnTo>
                  <a:lnTo>
                    <a:pt x="0" y="95115"/>
                  </a:lnTo>
                  <a:lnTo>
                    <a:pt x="651355" y="9511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 txBox="1"/>
            <p:nvPr/>
          </p:nvSpPr>
          <p:spPr>
            <a:xfrm>
              <a:off x="2993861" y="3367319"/>
              <a:ext cx="1050765" cy="58477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>
                  <a:solidFill>
                    <a:prstClr val="white"/>
                  </a:solidFill>
                </a:rPr>
                <a:t>2013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0" name="Group 19出自【趣你的PPT】(微信:qunideppt)：最优质的PPT资源库"/>
          <p:cNvGrpSpPr/>
          <p:nvPr/>
        </p:nvGrpSpPr>
        <p:grpSpPr>
          <a:xfrm>
            <a:off x="7685997" y="3088277"/>
            <a:ext cx="1584176" cy="743187"/>
            <a:chOff x="2727156" y="3246531"/>
            <a:chExt cx="1584176" cy="743187"/>
          </a:xfrm>
          <a:solidFill>
            <a:srgbClr val="C00000"/>
          </a:solidFill>
        </p:grpSpPr>
        <p:sp>
          <p:nvSpPr>
            <p:cNvPr id="21" name="出自【趣你的PPT】(微信:qunideppt)：最优质的PPT资源库"/>
            <p:cNvSpPr/>
            <p:nvPr/>
          </p:nvSpPr>
          <p:spPr>
            <a:xfrm>
              <a:off x="2727156" y="3246531"/>
              <a:ext cx="1584176" cy="743187"/>
            </a:xfrm>
            <a:custGeom>
              <a:avLst/>
              <a:gdLst>
                <a:gd name="connsiteX0" fmla="*/ 792089 w 1584176"/>
                <a:gd name="connsiteY0" fmla="*/ 0 h 743187"/>
                <a:gd name="connsiteX1" fmla="*/ 932822 w 1584176"/>
                <a:gd name="connsiteY1" fmla="*/ 95115 h 743187"/>
                <a:gd name="connsiteX2" fmla="*/ 1584176 w 1584176"/>
                <a:gd name="connsiteY2" fmla="*/ 95115 h 743187"/>
                <a:gd name="connsiteX3" fmla="*/ 1584176 w 1584176"/>
                <a:gd name="connsiteY3" fmla="*/ 743187 h 743187"/>
                <a:gd name="connsiteX4" fmla="*/ 0 w 1584176"/>
                <a:gd name="connsiteY4" fmla="*/ 743187 h 743187"/>
                <a:gd name="connsiteX5" fmla="*/ 0 w 1584176"/>
                <a:gd name="connsiteY5" fmla="*/ 95115 h 743187"/>
                <a:gd name="connsiteX6" fmla="*/ 651355 w 1584176"/>
                <a:gd name="connsiteY6" fmla="*/ 95115 h 743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4176" h="743187">
                  <a:moveTo>
                    <a:pt x="792089" y="0"/>
                  </a:moveTo>
                  <a:lnTo>
                    <a:pt x="932822" y="95115"/>
                  </a:lnTo>
                  <a:lnTo>
                    <a:pt x="1584176" y="95115"/>
                  </a:lnTo>
                  <a:lnTo>
                    <a:pt x="1584176" y="743187"/>
                  </a:lnTo>
                  <a:lnTo>
                    <a:pt x="0" y="743187"/>
                  </a:lnTo>
                  <a:lnTo>
                    <a:pt x="0" y="95115"/>
                  </a:lnTo>
                  <a:lnTo>
                    <a:pt x="651355" y="9511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" name="出自【趣你的PPT】(微信:qunideppt)：最优质的PPT资源库"/>
            <p:cNvSpPr txBox="1"/>
            <p:nvPr/>
          </p:nvSpPr>
          <p:spPr>
            <a:xfrm>
              <a:off x="2993861" y="3367319"/>
              <a:ext cx="1050765" cy="58477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>
                  <a:solidFill>
                    <a:prstClr val="white"/>
                  </a:solidFill>
                </a:rPr>
                <a:t>2014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23" name="出自【趣你的PPT】(微信:qunideppt)：最优质的PPT资源库"/>
          <p:cNvSpPr txBox="1"/>
          <p:nvPr/>
        </p:nvSpPr>
        <p:spPr>
          <a:xfrm>
            <a:off x="2352036" y="1583312"/>
            <a:ext cx="20768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出自【趣你的PPT】(微信:qunideppt)：最优质的PPT资源库"/>
          <p:cNvSpPr txBox="1"/>
          <p:nvPr/>
        </p:nvSpPr>
        <p:spPr>
          <a:xfrm>
            <a:off x="4878440" y="1580585"/>
            <a:ext cx="20768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出自【趣你的PPT】(微信:qunideppt)：最优质的PPT资源库"/>
          <p:cNvSpPr txBox="1"/>
          <p:nvPr/>
        </p:nvSpPr>
        <p:spPr>
          <a:xfrm>
            <a:off x="7404844" y="1577513"/>
            <a:ext cx="20768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出自【趣你的PPT】(微信:qunideppt)：最优质的PPT资源库"/>
          <p:cNvSpPr/>
          <p:nvPr/>
        </p:nvSpPr>
        <p:spPr>
          <a:xfrm>
            <a:off x="683308" y="4963246"/>
            <a:ext cx="108427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出自【趣你的PPT】(微信:qunideppt)：最优质的PPT资源库"/>
          <p:cNvSpPr txBox="1"/>
          <p:nvPr/>
        </p:nvSpPr>
        <p:spPr>
          <a:xfrm>
            <a:off x="683308" y="4501581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您的标题</a:t>
            </a:r>
          </a:p>
        </p:txBody>
      </p:sp>
    </p:spTree>
    <p:extLst>
      <p:ext uri="{BB962C8B-B14F-4D97-AF65-F5344CB8AC3E}">
        <p14:creationId xmlns:p14="http://schemas.microsoft.com/office/powerpoint/2010/main" val="648699164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3" presetClass="entr" presetSubtype="3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3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3" presetClass="entr" presetSubtype="3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3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5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725"/>
                            </p:stCondLst>
                            <p:childTnLst>
                              <p:par>
                                <p:cTn id="63" presetID="3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65" dur="227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66" dur="227" fill="hold">
                                          <p:stCondLst>
                                            <p:cond delay="227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27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8" decel="50000" autoRev="1" fill="hold">
                                          <p:stCondLst>
                                            <p:cond delay="227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68" fill="hold">
                                          <p:stCondLst>
                                            <p:cond delay="43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975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23" grpId="0"/>
      <p:bldP spid="24" grpId="0"/>
      <p:bldP spid="25" grpId="0"/>
      <p:bldP spid="26" grpId="0"/>
      <p:bldP spid="2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8" name="出自【趣你的PPT】(微信:qunideppt)：最优质的PPT资源库"/>
          <p:cNvSpPr/>
          <p:nvPr/>
        </p:nvSpPr>
        <p:spPr>
          <a:xfrm>
            <a:off x="8434951" y="2876111"/>
            <a:ext cx="3096344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18"/>
          <a:stretch/>
        </p:blipFill>
        <p:spPr>
          <a:xfrm>
            <a:off x="8434951" y="1282349"/>
            <a:ext cx="2901412" cy="1303253"/>
          </a:xfrm>
          <a:prstGeom prst="rect">
            <a:avLst/>
          </a:prstGeom>
        </p:spPr>
      </p:pic>
      <p:grpSp>
        <p:nvGrpSpPr>
          <p:cNvPr id="10" name="Group 9出自【趣你的PPT】(微信:qunideppt)：最优质的PPT资源库"/>
          <p:cNvGrpSpPr/>
          <p:nvPr/>
        </p:nvGrpSpPr>
        <p:grpSpPr>
          <a:xfrm>
            <a:off x="1658308" y="1571323"/>
            <a:ext cx="1365165" cy="3329494"/>
            <a:chOff x="1623613" y="2082922"/>
            <a:chExt cx="1365165" cy="3329494"/>
          </a:xfrm>
        </p:grpSpPr>
        <p:sp>
          <p:nvSpPr>
            <p:cNvPr id="11" name="出自【趣你的PPT】(微信:qunideppt)：最优质的PPT资源库"/>
            <p:cNvSpPr>
              <a:spLocks noChangeArrowheads="1"/>
            </p:cNvSpPr>
            <p:nvPr/>
          </p:nvSpPr>
          <p:spPr bwMode="auto">
            <a:xfrm rot="3600000">
              <a:off x="2290028" y="2725499"/>
              <a:ext cx="391920" cy="323198"/>
            </a:xfrm>
            <a:prstGeom prst="upArrow">
              <a:avLst>
                <a:gd name="adj1" fmla="val 52833"/>
                <a:gd name="adj2" fmla="val 45940"/>
              </a:avLst>
            </a:prstGeom>
            <a:solidFill>
              <a:schemeClr val="tx1">
                <a:lumMod val="65000"/>
                <a:lumOff val="35000"/>
              </a:schemeClr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anchor="ctr"/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zh-CN" altLang="en-US" sz="2800" b="1" kern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出自【趣你的PPT】(微信:qunideppt)：最优质的PPT资源库"/>
            <p:cNvSpPr>
              <a:spLocks noChangeArrowheads="1"/>
            </p:cNvSpPr>
            <p:nvPr/>
          </p:nvSpPr>
          <p:spPr bwMode="auto">
            <a:xfrm rot="1800000">
              <a:off x="1623613" y="2082922"/>
              <a:ext cx="391920" cy="323198"/>
            </a:xfrm>
            <a:prstGeom prst="upArrow">
              <a:avLst>
                <a:gd name="adj1" fmla="val 52833"/>
                <a:gd name="adj2" fmla="val 45940"/>
              </a:avLst>
            </a:prstGeom>
            <a:solidFill>
              <a:schemeClr val="tx1">
                <a:lumMod val="65000"/>
                <a:lumOff val="35000"/>
              </a:schemeClr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800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3" name="出自【趣你的PPT】(微信:qunideppt)：最优质的PPT资源库"/>
            <p:cNvSpPr>
              <a:spLocks noChangeArrowheads="1"/>
            </p:cNvSpPr>
            <p:nvPr/>
          </p:nvSpPr>
          <p:spPr bwMode="auto">
            <a:xfrm rot="7200000">
              <a:off x="2290028" y="4446641"/>
              <a:ext cx="391920" cy="323198"/>
            </a:xfrm>
            <a:prstGeom prst="upArrow">
              <a:avLst>
                <a:gd name="adj1" fmla="val 52833"/>
                <a:gd name="adj2" fmla="val 45940"/>
              </a:avLst>
            </a:prstGeom>
            <a:solidFill>
              <a:schemeClr val="tx1">
                <a:lumMod val="65000"/>
                <a:lumOff val="35000"/>
              </a:schemeClr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anchor="ctr"/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zh-CN" altLang="en-US" sz="2800" b="1" kern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出自【趣你的PPT】(微信:qunideppt)：最优质的PPT资源库"/>
            <p:cNvSpPr>
              <a:spLocks noChangeArrowheads="1"/>
            </p:cNvSpPr>
            <p:nvPr/>
          </p:nvSpPr>
          <p:spPr bwMode="auto">
            <a:xfrm rot="9000000">
              <a:off x="1623613" y="5089218"/>
              <a:ext cx="391920" cy="323198"/>
            </a:xfrm>
            <a:prstGeom prst="upArrow">
              <a:avLst>
                <a:gd name="adj1" fmla="val 52833"/>
                <a:gd name="adj2" fmla="val 45940"/>
              </a:avLst>
            </a:prstGeom>
            <a:solidFill>
              <a:schemeClr val="tx1">
                <a:lumMod val="65000"/>
                <a:lumOff val="35000"/>
              </a:schemeClr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anchor="ctr"/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zh-CN" altLang="en-US" sz="2800" b="1" kern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出自【趣你的PPT】(微信:qunideppt)：最优质的PPT资源库"/>
            <p:cNvSpPr>
              <a:spLocks noChangeArrowheads="1"/>
            </p:cNvSpPr>
            <p:nvPr/>
          </p:nvSpPr>
          <p:spPr bwMode="auto">
            <a:xfrm rot="5400000">
              <a:off x="2631219" y="3620431"/>
              <a:ext cx="391920" cy="323198"/>
            </a:xfrm>
            <a:prstGeom prst="upArrow">
              <a:avLst>
                <a:gd name="adj1" fmla="val 52833"/>
                <a:gd name="adj2" fmla="val 45940"/>
              </a:avLst>
            </a:prstGeom>
            <a:solidFill>
              <a:schemeClr val="tx1">
                <a:lumMod val="65000"/>
                <a:lumOff val="35000"/>
              </a:schemeClr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anchor="ctr"/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zh-CN" altLang="en-US" sz="2800" b="1" kern="0">
                <a:solidFill>
                  <a:sysClr val="window" lastClr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7" name="出自【趣你的PPT】(微信:qunideppt)：最优质的PPT资源库"/>
          <p:cNvSpPr/>
          <p:nvPr/>
        </p:nvSpPr>
        <p:spPr>
          <a:xfrm>
            <a:off x="2251320" y="1282349"/>
            <a:ext cx="5030522" cy="543868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单击此处输入文本</a:t>
            </a:r>
          </a:p>
        </p:txBody>
      </p:sp>
      <p:sp>
        <p:nvSpPr>
          <p:cNvPr id="18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2053450" y="1258751"/>
            <a:ext cx="650478" cy="567468"/>
          </a:xfrm>
          <a:prstGeom prst="hexagon">
            <a:avLst>
              <a:gd name="adj" fmla="val 28657"/>
              <a:gd name="vf" fmla="val 115470"/>
            </a:avLst>
          </a:prstGeom>
          <a:solidFill>
            <a:srgbClr val="0070C0"/>
          </a:solidFill>
          <a:ln w="3175" cap="flat" cmpd="sng" algn="ctr">
            <a:solidFill>
              <a:srgbClr val="D7D7D7"/>
            </a:solidFill>
            <a:prstDash val="solid"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1</a:t>
            </a:r>
          </a:p>
        </p:txBody>
      </p:sp>
      <p:sp>
        <p:nvSpPr>
          <p:cNvPr id="19" name="出自【趣你的PPT】(微信:qunideppt)：最优质的PPT资源库"/>
          <p:cNvSpPr/>
          <p:nvPr/>
        </p:nvSpPr>
        <p:spPr>
          <a:xfrm>
            <a:off x="2935939" y="2134070"/>
            <a:ext cx="4364266" cy="543868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lnSpc>
                <a:spcPct val="120000"/>
              </a:lnSpc>
            </a:pPr>
            <a:r>
              <a:rPr lang="zh-CN" altLang="en-US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单击此处输入文本</a:t>
            </a:r>
          </a:p>
        </p:txBody>
      </p:sp>
      <p:sp>
        <p:nvSpPr>
          <p:cNvPr id="20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2738068" y="2110472"/>
            <a:ext cx="650478" cy="567468"/>
          </a:xfrm>
          <a:prstGeom prst="hexagon">
            <a:avLst>
              <a:gd name="adj" fmla="val 28657"/>
              <a:gd name="vf" fmla="val 115470"/>
            </a:avLst>
          </a:prstGeom>
          <a:solidFill>
            <a:srgbClr val="0070C0"/>
          </a:solidFill>
          <a:ln w="3175" cap="flat" cmpd="sng" algn="ctr">
            <a:solidFill>
              <a:srgbClr val="D7D7D7"/>
            </a:solidFill>
            <a:prstDash val="solid"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2</a:t>
            </a:r>
          </a:p>
        </p:txBody>
      </p:sp>
      <p:sp>
        <p:nvSpPr>
          <p:cNvPr id="21" name="出自【趣你的PPT】(微信:qunideppt)：最优质的PPT资源库"/>
          <p:cNvSpPr/>
          <p:nvPr/>
        </p:nvSpPr>
        <p:spPr>
          <a:xfrm>
            <a:off x="3244573" y="2985790"/>
            <a:ext cx="4037271" cy="556319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lnSpc>
                <a:spcPct val="120000"/>
              </a:lnSpc>
            </a:pPr>
            <a:r>
              <a:rPr lang="zh-CN" altLang="en-US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单击此处输入文本</a:t>
            </a:r>
          </a:p>
        </p:txBody>
      </p:sp>
      <p:sp>
        <p:nvSpPr>
          <p:cNvPr id="22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3046702" y="2962193"/>
            <a:ext cx="650478" cy="567468"/>
          </a:xfrm>
          <a:prstGeom prst="hexagon">
            <a:avLst>
              <a:gd name="adj" fmla="val 28657"/>
              <a:gd name="vf" fmla="val 115470"/>
            </a:avLst>
          </a:prstGeom>
          <a:solidFill>
            <a:srgbClr val="0070C0"/>
          </a:solidFill>
          <a:ln w="3175" cap="flat" cmpd="sng" algn="ctr">
            <a:solidFill>
              <a:srgbClr val="D7D7D7"/>
            </a:solidFill>
            <a:prstDash val="solid"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3</a:t>
            </a:r>
          </a:p>
        </p:txBody>
      </p:sp>
      <p:sp>
        <p:nvSpPr>
          <p:cNvPr id="23" name="出自【趣你的PPT】(微信:qunideppt)：最优质的PPT资源库"/>
          <p:cNvSpPr/>
          <p:nvPr/>
        </p:nvSpPr>
        <p:spPr>
          <a:xfrm>
            <a:off x="2935940" y="3837514"/>
            <a:ext cx="4345904" cy="555620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lnSpc>
                <a:spcPct val="120000"/>
              </a:lnSpc>
            </a:pPr>
            <a:r>
              <a:rPr lang="zh-CN" altLang="en-US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单击此处输入文本</a:t>
            </a:r>
          </a:p>
        </p:txBody>
      </p:sp>
      <p:sp>
        <p:nvSpPr>
          <p:cNvPr id="24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2738068" y="3813915"/>
            <a:ext cx="650478" cy="567468"/>
          </a:xfrm>
          <a:prstGeom prst="hexagon">
            <a:avLst>
              <a:gd name="adj" fmla="val 28657"/>
              <a:gd name="vf" fmla="val 115470"/>
            </a:avLst>
          </a:prstGeom>
          <a:solidFill>
            <a:srgbClr val="0070C0"/>
          </a:solidFill>
          <a:ln w="3175" cap="flat" cmpd="sng" algn="ctr">
            <a:solidFill>
              <a:srgbClr val="D7D7D7"/>
            </a:solidFill>
            <a:prstDash val="solid"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4</a:t>
            </a:r>
          </a:p>
        </p:txBody>
      </p:sp>
      <p:sp>
        <p:nvSpPr>
          <p:cNvPr id="25" name="出自【趣你的PPT】(微信:qunideppt)：最优质的PPT资源库"/>
          <p:cNvSpPr/>
          <p:nvPr/>
        </p:nvSpPr>
        <p:spPr>
          <a:xfrm>
            <a:off x="2269683" y="4689236"/>
            <a:ext cx="5030522" cy="545872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lnSpc>
                <a:spcPct val="120000"/>
              </a:lnSpc>
            </a:pPr>
            <a:r>
              <a:rPr lang="zh-CN" altLang="en-US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单击此处输入文本</a:t>
            </a:r>
          </a:p>
        </p:txBody>
      </p:sp>
      <p:sp>
        <p:nvSpPr>
          <p:cNvPr id="26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2071810" y="4665639"/>
            <a:ext cx="650478" cy="567468"/>
          </a:xfrm>
          <a:prstGeom prst="hexagon">
            <a:avLst>
              <a:gd name="adj" fmla="val 28657"/>
              <a:gd name="vf" fmla="val 115470"/>
            </a:avLst>
          </a:prstGeom>
          <a:solidFill>
            <a:srgbClr val="0070C0"/>
          </a:solidFill>
          <a:ln w="3175" cap="flat" cmpd="sng" algn="ctr">
            <a:solidFill>
              <a:srgbClr val="D7D7D7"/>
            </a:solidFill>
            <a:prstDash val="solid"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9F9F9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5</a:t>
            </a:r>
          </a:p>
        </p:txBody>
      </p:sp>
      <p:grpSp>
        <p:nvGrpSpPr>
          <p:cNvPr id="27" name="Group 26出自【趣你的PPT】(微信:qunideppt)：最优质的PPT资源库"/>
          <p:cNvGrpSpPr/>
          <p:nvPr/>
        </p:nvGrpSpPr>
        <p:grpSpPr>
          <a:xfrm>
            <a:off x="0" y="1339614"/>
            <a:ext cx="2437424" cy="3815853"/>
            <a:chOff x="-34695" y="1851213"/>
            <a:chExt cx="2437424" cy="3815853"/>
          </a:xfrm>
        </p:grpSpPr>
        <p:sp>
          <p:nvSpPr>
            <p:cNvPr id="28" name="出自【趣你的PPT】(微信:qunideppt)：最优质的PPT资源库"/>
            <p:cNvSpPr>
              <a:spLocks noChangeArrowheads="1"/>
            </p:cNvSpPr>
            <p:nvPr/>
          </p:nvSpPr>
          <p:spPr bwMode="auto">
            <a:xfrm rot="5400000">
              <a:off x="-968348" y="3130942"/>
              <a:ext cx="3815853" cy="1256396"/>
            </a:xfrm>
            <a:prstGeom prst="ellipse">
              <a:avLst/>
            </a:prstGeom>
            <a:gradFill rotWithShape="1">
              <a:gsLst>
                <a:gs pos="0">
                  <a:sysClr val="windowText" lastClr="000000"/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" name="Group 6"/>
            <p:cNvGrpSpPr>
              <a:grpSpLocks/>
            </p:cNvGrpSpPr>
            <p:nvPr/>
          </p:nvGrpSpPr>
          <p:grpSpPr bwMode="auto">
            <a:xfrm rot="5400000">
              <a:off x="-151641" y="2547233"/>
              <a:ext cx="2671315" cy="2437424"/>
              <a:chOff x="3107" y="2795"/>
              <a:chExt cx="1089" cy="994"/>
            </a:xfrm>
          </p:grpSpPr>
          <p:sp>
            <p:nvSpPr>
              <p:cNvPr id="30" name="出自【趣你的PPT】(微信:qunideppt)：最优质的PPT资源库"/>
              <p:cNvSpPr>
                <a:spLocks noChangeArrowheads="1"/>
              </p:cNvSpPr>
              <p:nvPr/>
            </p:nvSpPr>
            <p:spPr bwMode="auto">
              <a:xfrm flipV="1">
                <a:off x="3332" y="3607"/>
                <a:ext cx="183" cy="182"/>
              </a:xfrm>
              <a:prstGeom prst="ellipse">
                <a:avLst/>
              </a:prstGeom>
              <a:gradFill rotWithShape="1">
                <a:gsLst>
                  <a:gs pos="0">
                    <a:sysClr val="window" lastClr="FFFFFF">
                      <a:alpha val="29999"/>
                    </a:sysClr>
                  </a:gs>
                  <a:gs pos="100000">
                    <a:srgbClr val="67ABF5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出自【趣你的PPT】(微信:qunideppt)：最优质的PPT资源库"/>
              <p:cNvSpPr>
                <a:spLocks/>
              </p:cNvSpPr>
              <p:nvPr/>
            </p:nvSpPr>
            <p:spPr bwMode="auto">
              <a:xfrm>
                <a:off x="3107" y="2795"/>
                <a:ext cx="1089" cy="681"/>
              </a:xfrm>
              <a:custGeom>
                <a:avLst/>
                <a:gdLst>
                  <a:gd name="T0" fmla="*/ 637 w 1862"/>
                  <a:gd name="T1" fmla="*/ 318 h 1164"/>
                  <a:gd name="T2" fmla="*/ 635 w 1862"/>
                  <a:gd name="T3" fmla="*/ 326 h 1164"/>
                  <a:gd name="T4" fmla="*/ 630 w 1862"/>
                  <a:gd name="T5" fmla="*/ 335 h 1164"/>
                  <a:gd name="T6" fmla="*/ 622 w 1862"/>
                  <a:gd name="T7" fmla="*/ 342 h 1164"/>
                  <a:gd name="T8" fmla="*/ 612 w 1862"/>
                  <a:gd name="T9" fmla="*/ 349 h 1164"/>
                  <a:gd name="T10" fmla="*/ 582 w 1862"/>
                  <a:gd name="T11" fmla="*/ 363 h 1164"/>
                  <a:gd name="T12" fmla="*/ 543 w 1862"/>
                  <a:gd name="T13" fmla="*/ 374 h 1164"/>
                  <a:gd name="T14" fmla="*/ 497 w 1862"/>
                  <a:gd name="T15" fmla="*/ 385 h 1164"/>
                  <a:gd name="T16" fmla="*/ 443 w 1862"/>
                  <a:gd name="T17" fmla="*/ 391 h 1164"/>
                  <a:gd name="T18" fmla="*/ 382 w 1862"/>
                  <a:gd name="T19" fmla="*/ 396 h 1164"/>
                  <a:gd name="T20" fmla="*/ 318 w 1862"/>
                  <a:gd name="T21" fmla="*/ 398 h 1164"/>
                  <a:gd name="T22" fmla="*/ 286 w 1862"/>
                  <a:gd name="T23" fmla="*/ 398 h 1164"/>
                  <a:gd name="T24" fmla="*/ 223 w 1862"/>
                  <a:gd name="T25" fmla="*/ 394 h 1164"/>
                  <a:gd name="T26" fmla="*/ 167 w 1862"/>
                  <a:gd name="T27" fmla="*/ 388 h 1164"/>
                  <a:gd name="T28" fmla="*/ 116 w 1862"/>
                  <a:gd name="T29" fmla="*/ 380 h 1164"/>
                  <a:gd name="T30" fmla="*/ 73 w 1862"/>
                  <a:gd name="T31" fmla="*/ 369 h 1164"/>
                  <a:gd name="T32" fmla="*/ 39 w 1862"/>
                  <a:gd name="T33" fmla="*/ 357 h 1164"/>
                  <a:gd name="T34" fmla="*/ 19 w 1862"/>
                  <a:gd name="T35" fmla="*/ 346 h 1164"/>
                  <a:gd name="T36" fmla="*/ 11 w 1862"/>
                  <a:gd name="T37" fmla="*/ 338 h 1164"/>
                  <a:gd name="T38" fmla="*/ 4 w 1862"/>
                  <a:gd name="T39" fmla="*/ 331 h 1164"/>
                  <a:gd name="T40" fmla="*/ 1 w 1862"/>
                  <a:gd name="T41" fmla="*/ 322 h 1164"/>
                  <a:gd name="T42" fmla="*/ 0 w 1862"/>
                  <a:gd name="T43" fmla="*/ 318 h 1164"/>
                  <a:gd name="T44" fmla="*/ 1 w 1862"/>
                  <a:gd name="T45" fmla="*/ 286 h 1164"/>
                  <a:gd name="T46" fmla="*/ 6 w 1862"/>
                  <a:gd name="T47" fmla="*/ 254 h 1164"/>
                  <a:gd name="T48" fmla="*/ 15 w 1862"/>
                  <a:gd name="T49" fmla="*/ 224 h 1164"/>
                  <a:gd name="T50" fmla="*/ 25 w 1862"/>
                  <a:gd name="T51" fmla="*/ 194 h 1164"/>
                  <a:gd name="T52" fmla="*/ 39 w 1862"/>
                  <a:gd name="T53" fmla="*/ 166 h 1164"/>
                  <a:gd name="T54" fmla="*/ 54 w 1862"/>
                  <a:gd name="T55" fmla="*/ 140 h 1164"/>
                  <a:gd name="T56" fmla="*/ 73 w 1862"/>
                  <a:gd name="T57" fmla="*/ 116 h 1164"/>
                  <a:gd name="T58" fmla="*/ 93 w 1862"/>
                  <a:gd name="T59" fmla="*/ 93 h 1164"/>
                  <a:gd name="T60" fmla="*/ 116 w 1862"/>
                  <a:gd name="T61" fmla="*/ 73 h 1164"/>
                  <a:gd name="T62" fmla="*/ 140 w 1862"/>
                  <a:gd name="T63" fmla="*/ 54 h 1164"/>
                  <a:gd name="T64" fmla="*/ 167 w 1862"/>
                  <a:gd name="T65" fmla="*/ 39 h 1164"/>
                  <a:gd name="T66" fmla="*/ 194 w 1862"/>
                  <a:gd name="T67" fmla="*/ 25 h 1164"/>
                  <a:gd name="T68" fmla="*/ 223 w 1862"/>
                  <a:gd name="T69" fmla="*/ 15 h 1164"/>
                  <a:gd name="T70" fmla="*/ 254 w 1862"/>
                  <a:gd name="T71" fmla="*/ 6 h 1164"/>
                  <a:gd name="T72" fmla="*/ 286 w 1862"/>
                  <a:gd name="T73" fmla="*/ 1 h 1164"/>
                  <a:gd name="T74" fmla="*/ 318 w 1862"/>
                  <a:gd name="T75" fmla="*/ 0 h 1164"/>
                  <a:gd name="T76" fmla="*/ 335 w 1862"/>
                  <a:gd name="T77" fmla="*/ 0 h 1164"/>
                  <a:gd name="T78" fmla="*/ 367 w 1862"/>
                  <a:gd name="T79" fmla="*/ 4 h 1164"/>
                  <a:gd name="T80" fmla="*/ 398 w 1862"/>
                  <a:gd name="T81" fmla="*/ 9 h 1164"/>
                  <a:gd name="T82" fmla="*/ 428 w 1862"/>
                  <a:gd name="T83" fmla="*/ 19 h 1164"/>
                  <a:gd name="T84" fmla="*/ 456 w 1862"/>
                  <a:gd name="T85" fmla="*/ 32 h 1164"/>
                  <a:gd name="T86" fmla="*/ 484 w 1862"/>
                  <a:gd name="T87" fmla="*/ 46 h 1164"/>
                  <a:gd name="T88" fmla="*/ 509 w 1862"/>
                  <a:gd name="T89" fmla="*/ 63 h 1164"/>
                  <a:gd name="T90" fmla="*/ 532 w 1862"/>
                  <a:gd name="T91" fmla="*/ 83 h 1164"/>
                  <a:gd name="T92" fmla="*/ 554 w 1862"/>
                  <a:gd name="T93" fmla="*/ 104 h 1164"/>
                  <a:gd name="T94" fmla="*/ 573 w 1862"/>
                  <a:gd name="T95" fmla="*/ 128 h 1164"/>
                  <a:gd name="T96" fmla="*/ 590 w 1862"/>
                  <a:gd name="T97" fmla="*/ 153 h 1164"/>
                  <a:gd name="T98" fmla="*/ 605 w 1862"/>
                  <a:gd name="T99" fmla="*/ 180 h 1164"/>
                  <a:gd name="T100" fmla="*/ 618 w 1862"/>
                  <a:gd name="T101" fmla="*/ 209 h 1164"/>
                  <a:gd name="T102" fmla="*/ 626 w 1862"/>
                  <a:gd name="T103" fmla="*/ 239 h 1164"/>
                  <a:gd name="T104" fmla="*/ 633 w 1862"/>
                  <a:gd name="T105" fmla="*/ 270 h 1164"/>
                  <a:gd name="T106" fmla="*/ 636 w 1862"/>
                  <a:gd name="T107" fmla="*/ 302 h 1164"/>
                  <a:gd name="T108" fmla="*/ 637 w 1862"/>
                  <a:gd name="T109" fmla="*/ 318 h 116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862"/>
                  <a:gd name="T166" fmla="*/ 0 h 1164"/>
                  <a:gd name="T167" fmla="*/ 1862 w 1862"/>
                  <a:gd name="T168" fmla="*/ 1164 h 116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862" h="1164">
                    <a:moveTo>
                      <a:pt x="1862" y="930"/>
                    </a:moveTo>
                    <a:lnTo>
                      <a:pt x="1862" y="930"/>
                    </a:lnTo>
                    <a:lnTo>
                      <a:pt x="1860" y="942"/>
                    </a:lnTo>
                    <a:lnTo>
                      <a:pt x="1856" y="954"/>
                    </a:lnTo>
                    <a:lnTo>
                      <a:pt x="1850" y="966"/>
                    </a:lnTo>
                    <a:lnTo>
                      <a:pt x="1842" y="978"/>
                    </a:lnTo>
                    <a:lnTo>
                      <a:pt x="1832" y="988"/>
                    </a:lnTo>
                    <a:lnTo>
                      <a:pt x="1820" y="1000"/>
                    </a:lnTo>
                    <a:lnTo>
                      <a:pt x="1806" y="1010"/>
                    </a:lnTo>
                    <a:lnTo>
                      <a:pt x="1788" y="1020"/>
                    </a:lnTo>
                    <a:lnTo>
                      <a:pt x="1750" y="1042"/>
                    </a:lnTo>
                    <a:lnTo>
                      <a:pt x="1702" y="1060"/>
                    </a:lnTo>
                    <a:lnTo>
                      <a:pt x="1650" y="1078"/>
                    </a:lnTo>
                    <a:lnTo>
                      <a:pt x="1588" y="1094"/>
                    </a:lnTo>
                    <a:lnTo>
                      <a:pt x="1522" y="1110"/>
                    </a:lnTo>
                    <a:lnTo>
                      <a:pt x="1452" y="1124"/>
                    </a:lnTo>
                    <a:lnTo>
                      <a:pt x="1374" y="1134"/>
                    </a:lnTo>
                    <a:lnTo>
                      <a:pt x="1294" y="1144"/>
                    </a:lnTo>
                    <a:lnTo>
                      <a:pt x="1208" y="1152"/>
                    </a:lnTo>
                    <a:lnTo>
                      <a:pt x="1118" y="1158"/>
                    </a:lnTo>
                    <a:lnTo>
                      <a:pt x="1026" y="1162"/>
                    </a:lnTo>
                    <a:lnTo>
                      <a:pt x="930" y="1164"/>
                    </a:lnTo>
                    <a:lnTo>
                      <a:pt x="836" y="1162"/>
                    </a:lnTo>
                    <a:lnTo>
                      <a:pt x="744" y="1158"/>
                    </a:lnTo>
                    <a:lnTo>
                      <a:pt x="654" y="1152"/>
                    </a:lnTo>
                    <a:lnTo>
                      <a:pt x="568" y="1144"/>
                    </a:lnTo>
                    <a:lnTo>
                      <a:pt x="488" y="1134"/>
                    </a:lnTo>
                    <a:lnTo>
                      <a:pt x="410" y="1124"/>
                    </a:lnTo>
                    <a:lnTo>
                      <a:pt x="338" y="1110"/>
                    </a:lnTo>
                    <a:lnTo>
                      <a:pt x="272" y="1094"/>
                    </a:lnTo>
                    <a:lnTo>
                      <a:pt x="212" y="1078"/>
                    </a:lnTo>
                    <a:lnTo>
                      <a:pt x="158" y="1060"/>
                    </a:lnTo>
                    <a:lnTo>
                      <a:pt x="112" y="1042"/>
                    </a:lnTo>
                    <a:lnTo>
                      <a:pt x="74" y="1020"/>
                    </a:lnTo>
                    <a:lnTo>
                      <a:pt x="56" y="1010"/>
                    </a:lnTo>
                    <a:lnTo>
                      <a:pt x="42" y="1000"/>
                    </a:lnTo>
                    <a:lnTo>
                      <a:pt x="30" y="988"/>
                    </a:lnTo>
                    <a:lnTo>
                      <a:pt x="18" y="978"/>
                    </a:lnTo>
                    <a:lnTo>
                      <a:pt x="10" y="966"/>
                    </a:lnTo>
                    <a:lnTo>
                      <a:pt x="4" y="954"/>
                    </a:lnTo>
                    <a:lnTo>
                      <a:pt x="2" y="942"/>
                    </a:lnTo>
                    <a:lnTo>
                      <a:pt x="0" y="930"/>
                    </a:lnTo>
                    <a:lnTo>
                      <a:pt x="2" y="882"/>
                    </a:lnTo>
                    <a:lnTo>
                      <a:pt x="4" y="836"/>
                    </a:lnTo>
                    <a:lnTo>
                      <a:pt x="10" y="788"/>
                    </a:lnTo>
                    <a:lnTo>
                      <a:pt x="18" y="742"/>
                    </a:lnTo>
                    <a:lnTo>
                      <a:pt x="30" y="698"/>
                    </a:lnTo>
                    <a:lnTo>
                      <a:pt x="42" y="654"/>
                    </a:lnTo>
                    <a:lnTo>
                      <a:pt x="56" y="610"/>
                    </a:lnTo>
                    <a:lnTo>
                      <a:pt x="74" y="568"/>
                    </a:lnTo>
                    <a:lnTo>
                      <a:pt x="92" y="526"/>
                    </a:lnTo>
                    <a:lnTo>
                      <a:pt x="112" y="486"/>
                    </a:lnTo>
                    <a:lnTo>
                      <a:pt x="134" y="448"/>
                    </a:lnTo>
                    <a:lnTo>
                      <a:pt x="158" y="410"/>
                    </a:lnTo>
                    <a:lnTo>
                      <a:pt x="184" y="374"/>
                    </a:lnTo>
                    <a:lnTo>
                      <a:pt x="212" y="338"/>
                    </a:lnTo>
                    <a:lnTo>
                      <a:pt x="242" y="304"/>
                    </a:lnTo>
                    <a:lnTo>
                      <a:pt x="272" y="272"/>
                    </a:lnTo>
                    <a:lnTo>
                      <a:pt x="304" y="242"/>
                    </a:lnTo>
                    <a:lnTo>
                      <a:pt x="338" y="212"/>
                    </a:lnTo>
                    <a:lnTo>
                      <a:pt x="374" y="184"/>
                    </a:lnTo>
                    <a:lnTo>
                      <a:pt x="410" y="158"/>
                    </a:lnTo>
                    <a:lnTo>
                      <a:pt x="448" y="134"/>
                    </a:lnTo>
                    <a:lnTo>
                      <a:pt x="488" y="112"/>
                    </a:lnTo>
                    <a:lnTo>
                      <a:pt x="528" y="92"/>
                    </a:lnTo>
                    <a:lnTo>
                      <a:pt x="568" y="72"/>
                    </a:lnTo>
                    <a:lnTo>
                      <a:pt x="610" y="56"/>
                    </a:lnTo>
                    <a:lnTo>
                      <a:pt x="654" y="42"/>
                    </a:lnTo>
                    <a:lnTo>
                      <a:pt x="698" y="28"/>
                    </a:lnTo>
                    <a:lnTo>
                      <a:pt x="744" y="18"/>
                    </a:lnTo>
                    <a:lnTo>
                      <a:pt x="790" y="10"/>
                    </a:lnTo>
                    <a:lnTo>
                      <a:pt x="836" y="4"/>
                    </a:lnTo>
                    <a:lnTo>
                      <a:pt x="882" y="0"/>
                    </a:lnTo>
                    <a:lnTo>
                      <a:pt x="930" y="0"/>
                    </a:lnTo>
                    <a:lnTo>
                      <a:pt x="978" y="0"/>
                    </a:lnTo>
                    <a:lnTo>
                      <a:pt x="1026" y="4"/>
                    </a:lnTo>
                    <a:lnTo>
                      <a:pt x="1072" y="10"/>
                    </a:lnTo>
                    <a:lnTo>
                      <a:pt x="1118" y="18"/>
                    </a:lnTo>
                    <a:lnTo>
                      <a:pt x="1164" y="28"/>
                    </a:lnTo>
                    <a:lnTo>
                      <a:pt x="1208" y="42"/>
                    </a:lnTo>
                    <a:lnTo>
                      <a:pt x="1250" y="56"/>
                    </a:lnTo>
                    <a:lnTo>
                      <a:pt x="1294" y="72"/>
                    </a:lnTo>
                    <a:lnTo>
                      <a:pt x="1334" y="92"/>
                    </a:lnTo>
                    <a:lnTo>
                      <a:pt x="1374" y="112"/>
                    </a:lnTo>
                    <a:lnTo>
                      <a:pt x="1414" y="134"/>
                    </a:lnTo>
                    <a:lnTo>
                      <a:pt x="1452" y="158"/>
                    </a:lnTo>
                    <a:lnTo>
                      <a:pt x="1488" y="184"/>
                    </a:lnTo>
                    <a:lnTo>
                      <a:pt x="1522" y="212"/>
                    </a:lnTo>
                    <a:lnTo>
                      <a:pt x="1556" y="242"/>
                    </a:lnTo>
                    <a:lnTo>
                      <a:pt x="1588" y="272"/>
                    </a:lnTo>
                    <a:lnTo>
                      <a:pt x="1620" y="304"/>
                    </a:lnTo>
                    <a:lnTo>
                      <a:pt x="1650" y="338"/>
                    </a:lnTo>
                    <a:lnTo>
                      <a:pt x="1676" y="374"/>
                    </a:lnTo>
                    <a:lnTo>
                      <a:pt x="1702" y="410"/>
                    </a:lnTo>
                    <a:lnTo>
                      <a:pt x="1726" y="448"/>
                    </a:lnTo>
                    <a:lnTo>
                      <a:pt x="1750" y="486"/>
                    </a:lnTo>
                    <a:lnTo>
                      <a:pt x="1770" y="526"/>
                    </a:lnTo>
                    <a:lnTo>
                      <a:pt x="1788" y="568"/>
                    </a:lnTo>
                    <a:lnTo>
                      <a:pt x="1806" y="610"/>
                    </a:lnTo>
                    <a:lnTo>
                      <a:pt x="1820" y="654"/>
                    </a:lnTo>
                    <a:lnTo>
                      <a:pt x="1832" y="698"/>
                    </a:lnTo>
                    <a:lnTo>
                      <a:pt x="1842" y="742"/>
                    </a:lnTo>
                    <a:lnTo>
                      <a:pt x="1850" y="788"/>
                    </a:lnTo>
                    <a:lnTo>
                      <a:pt x="1856" y="836"/>
                    </a:lnTo>
                    <a:lnTo>
                      <a:pt x="1860" y="882"/>
                    </a:lnTo>
                    <a:lnTo>
                      <a:pt x="1862" y="93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ea typeface="微软雅黑" panose="020B0503020204020204" pitchFamily="34" charset="-122"/>
                </a:endParaRPr>
              </a:p>
            </p:txBody>
          </p:sp>
        </p:grpSp>
      </p:grpSp>
      <p:pic>
        <p:nvPicPr>
          <p:cNvPr id="32" name="出自【趣你的PPT】(微信:qunideppt)：最优质的PPT资源库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6247" y="2926360"/>
            <a:ext cx="615749" cy="61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131347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2957714" y="3730652"/>
            <a:ext cx="215900" cy="850901"/>
            <a:chOff x="2893319" y="3933056"/>
            <a:chExt cx="215900" cy="850901"/>
          </a:xfrm>
        </p:grpSpPr>
        <p:sp>
          <p:nvSpPr>
            <p:cNvPr id="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69519" y="3994969"/>
              <a:ext cx="69850" cy="788988"/>
            </a:xfrm>
            <a:custGeom>
              <a:avLst/>
              <a:gdLst>
                <a:gd name="T0" fmla="*/ 0 w 10"/>
                <a:gd name="T1" fmla="*/ 108 h 113"/>
                <a:gd name="T2" fmla="*/ 0 w 10"/>
                <a:gd name="T3" fmla="*/ 5 h 113"/>
                <a:gd name="T4" fmla="*/ 5 w 10"/>
                <a:gd name="T5" fmla="*/ 0 h 113"/>
                <a:gd name="T6" fmla="*/ 5 w 10"/>
                <a:gd name="T7" fmla="*/ 0 h 113"/>
                <a:gd name="T8" fmla="*/ 10 w 10"/>
                <a:gd name="T9" fmla="*/ 5 h 113"/>
                <a:gd name="T10" fmla="*/ 10 w 10"/>
                <a:gd name="T11" fmla="*/ 5 h 113"/>
                <a:gd name="T12" fmla="*/ 10 w 10"/>
                <a:gd name="T13" fmla="*/ 108 h 113"/>
                <a:gd name="T14" fmla="*/ 5 w 10"/>
                <a:gd name="T15" fmla="*/ 113 h 113"/>
                <a:gd name="T16" fmla="*/ 5 w 10"/>
                <a:gd name="T17" fmla="*/ 113 h 113"/>
                <a:gd name="T18" fmla="*/ 0 w 10"/>
                <a:gd name="T19" fmla="*/ 10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3">
                  <a:moveTo>
                    <a:pt x="0" y="10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0" y="111"/>
                    <a:pt x="7" y="113"/>
                    <a:pt x="5" y="113"/>
                  </a:cubicBezTo>
                  <a:cubicBezTo>
                    <a:pt x="5" y="113"/>
                    <a:pt x="5" y="113"/>
                    <a:pt x="5" y="113"/>
                  </a:cubicBezTo>
                  <a:cubicBezTo>
                    <a:pt x="2" y="113"/>
                    <a:pt x="0" y="111"/>
                    <a:pt x="0" y="108"/>
                  </a:cubicBezTo>
                  <a:close/>
                </a:path>
              </a:pathLst>
            </a:cu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2893319" y="3933056"/>
              <a:ext cx="215900" cy="215900"/>
            </a:xfrm>
            <a:prstGeom prst="ellipse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" name="Group 9出自【趣你的PPT】(微信:qunideppt)：最优质的PPT资源库"/>
          <p:cNvGrpSpPr/>
          <p:nvPr/>
        </p:nvGrpSpPr>
        <p:grpSpPr>
          <a:xfrm>
            <a:off x="2076651" y="4524402"/>
            <a:ext cx="576263" cy="781050"/>
            <a:chOff x="2012256" y="4726806"/>
            <a:chExt cx="576263" cy="781050"/>
          </a:xfrm>
        </p:grpSpPr>
        <p:sp>
          <p:nvSpPr>
            <p:cNvPr id="1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012256" y="4726806"/>
              <a:ext cx="457200" cy="698500"/>
            </a:xfrm>
            <a:custGeom>
              <a:avLst/>
              <a:gdLst>
                <a:gd name="T0" fmla="*/ 0 w 66"/>
                <a:gd name="T1" fmla="*/ 100 h 100"/>
                <a:gd name="T2" fmla="*/ 0 w 66"/>
                <a:gd name="T3" fmla="*/ 5 h 100"/>
                <a:gd name="T4" fmla="*/ 5 w 66"/>
                <a:gd name="T5" fmla="*/ 0 h 100"/>
                <a:gd name="T6" fmla="*/ 5 w 66"/>
                <a:gd name="T7" fmla="*/ 0 h 100"/>
                <a:gd name="T8" fmla="*/ 10 w 66"/>
                <a:gd name="T9" fmla="*/ 5 h 100"/>
                <a:gd name="T10" fmla="*/ 10 w 66"/>
                <a:gd name="T11" fmla="*/ 5 h 100"/>
                <a:gd name="T12" fmla="*/ 10 w 66"/>
                <a:gd name="T13" fmla="*/ 90 h 100"/>
                <a:gd name="T14" fmla="*/ 61 w 66"/>
                <a:gd name="T15" fmla="*/ 90 h 100"/>
                <a:gd name="T16" fmla="*/ 66 w 66"/>
                <a:gd name="T17" fmla="*/ 95 h 100"/>
                <a:gd name="T18" fmla="*/ 66 w 66"/>
                <a:gd name="T19" fmla="*/ 95 h 100"/>
                <a:gd name="T20" fmla="*/ 61 w 66"/>
                <a:gd name="T21" fmla="*/ 100 h 100"/>
                <a:gd name="T22" fmla="*/ 61 w 66"/>
                <a:gd name="T23" fmla="*/ 100 h 100"/>
                <a:gd name="T24" fmla="*/ 0 w 66"/>
                <a:gd name="T2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0">
                  <a:moveTo>
                    <a:pt x="0" y="10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4" y="90"/>
                    <a:pt x="66" y="92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8"/>
                    <a:pt x="64" y="100"/>
                    <a:pt x="61" y="100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0" y="100"/>
                    <a:pt x="0" y="100"/>
                    <a:pt x="0" y="100"/>
                  </a:cubicBezTo>
                  <a:close/>
                </a:path>
              </a:pathLst>
            </a:cu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2378969" y="5291956"/>
              <a:ext cx="209550" cy="215900"/>
            </a:xfrm>
            <a:prstGeom prst="ellipse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3" name="Group 12出自【趣你的PPT】(微信:qunideppt)：最优质的PPT资源库"/>
          <p:cNvGrpSpPr/>
          <p:nvPr/>
        </p:nvGrpSpPr>
        <p:grpSpPr>
          <a:xfrm>
            <a:off x="4388051" y="4546627"/>
            <a:ext cx="207963" cy="781050"/>
            <a:chOff x="4323656" y="4749031"/>
            <a:chExt cx="207963" cy="781050"/>
          </a:xfrm>
        </p:grpSpPr>
        <p:sp>
          <p:nvSpPr>
            <p:cNvPr id="1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393506" y="4749031"/>
              <a:ext cx="68263" cy="676275"/>
            </a:xfrm>
            <a:custGeom>
              <a:avLst/>
              <a:gdLst>
                <a:gd name="T0" fmla="*/ 0 w 10"/>
                <a:gd name="T1" fmla="*/ 92 h 97"/>
                <a:gd name="T2" fmla="*/ 0 w 10"/>
                <a:gd name="T3" fmla="*/ 5 h 97"/>
                <a:gd name="T4" fmla="*/ 5 w 10"/>
                <a:gd name="T5" fmla="*/ 0 h 97"/>
                <a:gd name="T6" fmla="*/ 5 w 10"/>
                <a:gd name="T7" fmla="*/ 0 h 97"/>
                <a:gd name="T8" fmla="*/ 10 w 10"/>
                <a:gd name="T9" fmla="*/ 5 h 97"/>
                <a:gd name="T10" fmla="*/ 10 w 10"/>
                <a:gd name="T11" fmla="*/ 5 h 97"/>
                <a:gd name="T12" fmla="*/ 10 w 10"/>
                <a:gd name="T13" fmla="*/ 92 h 97"/>
                <a:gd name="T14" fmla="*/ 5 w 10"/>
                <a:gd name="T15" fmla="*/ 97 h 97"/>
                <a:gd name="T16" fmla="*/ 5 w 10"/>
                <a:gd name="T17" fmla="*/ 97 h 97"/>
                <a:gd name="T18" fmla="*/ 0 w 10"/>
                <a:gd name="T19" fmla="*/ 9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97">
                  <a:moveTo>
                    <a:pt x="0" y="92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0"/>
                    <a:pt x="10" y="3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5"/>
                    <a:pt x="8" y="97"/>
                    <a:pt x="5" y="97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2" y="97"/>
                    <a:pt x="0" y="95"/>
                    <a:pt x="0" y="92"/>
                  </a:cubicBezTo>
                  <a:close/>
                </a:path>
              </a:pathLst>
            </a:cu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4323656" y="5320531"/>
              <a:ext cx="207963" cy="209550"/>
            </a:xfrm>
            <a:prstGeom prst="ellipse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5575501" y="3870352"/>
            <a:ext cx="603251" cy="703263"/>
            <a:chOff x="5511106" y="4072756"/>
            <a:chExt cx="603251" cy="703263"/>
          </a:xfrm>
        </p:grpSpPr>
        <p:sp>
          <p:nvSpPr>
            <p:cNvPr id="1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11106" y="4148956"/>
              <a:ext cx="500063" cy="627063"/>
            </a:xfrm>
            <a:custGeom>
              <a:avLst/>
              <a:gdLst>
                <a:gd name="T0" fmla="*/ 0 w 72"/>
                <a:gd name="T1" fmla="*/ 85 h 90"/>
                <a:gd name="T2" fmla="*/ 0 w 72"/>
                <a:gd name="T3" fmla="*/ 0 h 90"/>
                <a:gd name="T4" fmla="*/ 67 w 72"/>
                <a:gd name="T5" fmla="*/ 0 h 90"/>
                <a:gd name="T6" fmla="*/ 72 w 72"/>
                <a:gd name="T7" fmla="*/ 5 h 90"/>
                <a:gd name="T8" fmla="*/ 72 w 72"/>
                <a:gd name="T9" fmla="*/ 5 h 90"/>
                <a:gd name="T10" fmla="*/ 67 w 72"/>
                <a:gd name="T11" fmla="*/ 10 h 90"/>
                <a:gd name="T12" fmla="*/ 67 w 72"/>
                <a:gd name="T13" fmla="*/ 10 h 90"/>
                <a:gd name="T14" fmla="*/ 11 w 72"/>
                <a:gd name="T15" fmla="*/ 10 h 90"/>
                <a:gd name="T16" fmla="*/ 11 w 72"/>
                <a:gd name="T17" fmla="*/ 85 h 90"/>
                <a:gd name="T18" fmla="*/ 6 w 72"/>
                <a:gd name="T19" fmla="*/ 90 h 90"/>
                <a:gd name="T20" fmla="*/ 6 w 72"/>
                <a:gd name="T21" fmla="*/ 90 h 90"/>
                <a:gd name="T22" fmla="*/ 0 w 72"/>
                <a:gd name="T23" fmla="*/ 8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90">
                  <a:moveTo>
                    <a:pt x="0" y="8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9" y="0"/>
                    <a:pt x="72" y="2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8"/>
                    <a:pt x="69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7"/>
                    <a:pt x="8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3" y="90"/>
                    <a:pt x="0" y="87"/>
                    <a:pt x="0" y="85"/>
                  </a:cubicBezTo>
                  <a:close/>
                </a:path>
              </a:pathLst>
            </a:cu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5900044" y="4072756"/>
              <a:ext cx="214313" cy="215900"/>
            </a:xfrm>
            <a:prstGeom prst="ellipse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0" name="Group 19出自【趣你的PPT】(微信:qunideppt)：最优质的PPT资源库"/>
          <p:cNvGrpSpPr/>
          <p:nvPr/>
        </p:nvGrpSpPr>
        <p:grpSpPr>
          <a:xfrm>
            <a:off x="7429701" y="4538690"/>
            <a:ext cx="214313" cy="836612"/>
            <a:chOff x="7365306" y="4741094"/>
            <a:chExt cx="214313" cy="836612"/>
          </a:xfrm>
        </p:grpSpPr>
        <p:sp>
          <p:nvSpPr>
            <p:cNvPr id="2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433569" y="4741094"/>
              <a:ext cx="69850" cy="731838"/>
            </a:xfrm>
            <a:custGeom>
              <a:avLst/>
              <a:gdLst>
                <a:gd name="T0" fmla="*/ 0 w 10"/>
                <a:gd name="T1" fmla="*/ 100 h 105"/>
                <a:gd name="T2" fmla="*/ 0 w 10"/>
                <a:gd name="T3" fmla="*/ 5 h 105"/>
                <a:gd name="T4" fmla="*/ 5 w 10"/>
                <a:gd name="T5" fmla="*/ 0 h 105"/>
                <a:gd name="T6" fmla="*/ 5 w 10"/>
                <a:gd name="T7" fmla="*/ 0 h 105"/>
                <a:gd name="T8" fmla="*/ 10 w 10"/>
                <a:gd name="T9" fmla="*/ 5 h 105"/>
                <a:gd name="T10" fmla="*/ 10 w 10"/>
                <a:gd name="T11" fmla="*/ 5 h 105"/>
                <a:gd name="T12" fmla="*/ 10 w 10"/>
                <a:gd name="T13" fmla="*/ 100 h 105"/>
                <a:gd name="T14" fmla="*/ 5 w 10"/>
                <a:gd name="T15" fmla="*/ 105 h 105"/>
                <a:gd name="T16" fmla="*/ 5 w 10"/>
                <a:gd name="T17" fmla="*/ 105 h 105"/>
                <a:gd name="T18" fmla="*/ 0 w 10"/>
                <a:gd name="T19" fmla="*/ 10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5">
                  <a:moveTo>
                    <a:pt x="0" y="10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3"/>
                    <a:pt x="8" y="105"/>
                    <a:pt x="5" y="105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3" y="105"/>
                    <a:pt x="0" y="103"/>
                    <a:pt x="0" y="100"/>
                  </a:cubicBezTo>
                  <a:close/>
                </a:path>
              </a:pathLst>
            </a:cu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2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7365306" y="5368156"/>
              <a:ext cx="214313" cy="209550"/>
            </a:xfrm>
            <a:prstGeom prst="ellipse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3" name="Group 22出自【趣你的PPT】(微信:qunideppt)：最优质的PPT资源库"/>
          <p:cNvGrpSpPr/>
          <p:nvPr/>
        </p:nvGrpSpPr>
        <p:grpSpPr>
          <a:xfrm>
            <a:off x="8977514" y="3765577"/>
            <a:ext cx="207963" cy="808038"/>
            <a:chOff x="8913119" y="3967981"/>
            <a:chExt cx="207963" cy="808038"/>
          </a:xfrm>
        </p:grpSpPr>
        <p:sp>
          <p:nvSpPr>
            <p:cNvPr id="2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982969" y="4072756"/>
              <a:ext cx="69850" cy="703263"/>
            </a:xfrm>
            <a:custGeom>
              <a:avLst/>
              <a:gdLst>
                <a:gd name="T0" fmla="*/ 0 w 10"/>
                <a:gd name="T1" fmla="*/ 96 h 101"/>
                <a:gd name="T2" fmla="*/ 0 w 10"/>
                <a:gd name="T3" fmla="*/ 6 h 101"/>
                <a:gd name="T4" fmla="*/ 5 w 10"/>
                <a:gd name="T5" fmla="*/ 0 h 101"/>
                <a:gd name="T6" fmla="*/ 5 w 10"/>
                <a:gd name="T7" fmla="*/ 0 h 101"/>
                <a:gd name="T8" fmla="*/ 10 w 10"/>
                <a:gd name="T9" fmla="*/ 6 h 101"/>
                <a:gd name="T10" fmla="*/ 10 w 10"/>
                <a:gd name="T11" fmla="*/ 6 h 101"/>
                <a:gd name="T12" fmla="*/ 10 w 10"/>
                <a:gd name="T13" fmla="*/ 96 h 101"/>
                <a:gd name="T14" fmla="*/ 5 w 10"/>
                <a:gd name="T15" fmla="*/ 101 h 101"/>
                <a:gd name="T16" fmla="*/ 5 w 10"/>
                <a:gd name="T17" fmla="*/ 101 h 101"/>
                <a:gd name="T18" fmla="*/ 0 w 10"/>
                <a:gd name="T19" fmla="*/ 9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1">
                  <a:moveTo>
                    <a:pt x="0" y="9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0"/>
                    <a:pt x="10" y="3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8"/>
                    <a:pt x="8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2" y="101"/>
                    <a:pt x="0" y="98"/>
                    <a:pt x="0" y="96"/>
                  </a:cubicBezTo>
                  <a:close/>
                </a:path>
              </a:pathLst>
            </a:cu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5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8913119" y="3967981"/>
              <a:ext cx="207963" cy="215900"/>
            </a:xfrm>
            <a:prstGeom prst="ellipse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6" name="Group 25出自【趣你的PPT】(微信:qunideppt)：最优质的PPT资源库"/>
          <p:cNvGrpSpPr/>
          <p:nvPr/>
        </p:nvGrpSpPr>
        <p:grpSpPr>
          <a:xfrm>
            <a:off x="1263851" y="4441852"/>
            <a:ext cx="8547101" cy="160338"/>
            <a:chOff x="1199456" y="4644256"/>
            <a:chExt cx="8547101" cy="160338"/>
          </a:xfrm>
        </p:grpSpPr>
        <p:sp>
          <p:nvSpPr>
            <p:cNvPr id="27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1234381" y="4714106"/>
              <a:ext cx="8505825" cy="90488"/>
            </a:xfrm>
            <a:prstGeom prst="rect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8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1199456" y="4644256"/>
              <a:ext cx="96838" cy="160338"/>
            </a:xfrm>
            <a:prstGeom prst="rect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9" name="出自【趣你的PPT】(微信:qunideppt)：最优质的PPT资源库"/>
            <p:cNvSpPr>
              <a:spLocks noChangeArrowheads="1"/>
            </p:cNvSpPr>
            <p:nvPr/>
          </p:nvSpPr>
          <p:spPr bwMode="auto">
            <a:xfrm>
              <a:off x="9649719" y="4644256"/>
              <a:ext cx="96838" cy="160338"/>
            </a:xfrm>
            <a:prstGeom prst="rect">
              <a:avLst/>
            </a:prstGeom>
            <a:solidFill>
              <a:srgbClr val="61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0" name="Group 29出自【趣你的PPT】(微信:qunideppt)：最优质的PPT资源库"/>
          <p:cNvGrpSpPr/>
          <p:nvPr/>
        </p:nvGrpSpPr>
        <p:grpSpPr>
          <a:xfrm>
            <a:off x="3229176" y="3089302"/>
            <a:ext cx="1850231" cy="968375"/>
            <a:chOff x="3668837" y="3363714"/>
            <a:chExt cx="1850231" cy="968375"/>
          </a:xfrm>
        </p:grpSpPr>
        <p:grpSp>
          <p:nvGrpSpPr>
            <p:cNvPr id="31" name="组合 30"/>
            <p:cNvGrpSpPr/>
            <p:nvPr/>
          </p:nvGrpSpPr>
          <p:grpSpPr>
            <a:xfrm>
              <a:off x="3668837" y="3363714"/>
              <a:ext cx="1054100" cy="968375"/>
              <a:chOff x="3452813" y="1341438"/>
              <a:chExt cx="1054100" cy="968375"/>
            </a:xfrm>
          </p:grpSpPr>
          <p:grpSp>
            <p:nvGrpSpPr>
              <p:cNvPr id="33" name="组合 32"/>
              <p:cNvGrpSpPr/>
              <p:nvPr/>
            </p:nvGrpSpPr>
            <p:grpSpPr>
              <a:xfrm>
                <a:off x="3452813" y="1341438"/>
                <a:ext cx="965200" cy="968375"/>
                <a:chOff x="3452813" y="1341438"/>
                <a:chExt cx="965200" cy="968375"/>
              </a:xfrm>
            </p:grpSpPr>
            <p:sp>
              <p:nvSpPr>
                <p:cNvPr id="35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3452813" y="1341438"/>
                  <a:ext cx="965200" cy="968375"/>
                </a:xfrm>
                <a:custGeom>
                  <a:avLst/>
                  <a:gdLst>
                    <a:gd name="T0" fmla="*/ 117 w 139"/>
                    <a:gd name="T1" fmla="*/ 120 h 139"/>
                    <a:gd name="T2" fmla="*/ 72 w 139"/>
                    <a:gd name="T3" fmla="*/ 139 h 139"/>
                    <a:gd name="T4" fmla="*/ 70 w 139"/>
                    <a:gd name="T5" fmla="*/ 139 h 139"/>
                    <a:gd name="T6" fmla="*/ 67 w 139"/>
                    <a:gd name="T7" fmla="*/ 139 h 139"/>
                    <a:gd name="T8" fmla="*/ 0 w 139"/>
                    <a:gd name="T9" fmla="*/ 139 h 139"/>
                    <a:gd name="T10" fmla="*/ 0 w 139"/>
                    <a:gd name="T11" fmla="*/ 69 h 139"/>
                    <a:gd name="T12" fmla="*/ 0 w 139"/>
                    <a:gd name="T13" fmla="*/ 69 h 139"/>
                    <a:gd name="T14" fmla="*/ 0 w 139"/>
                    <a:gd name="T15" fmla="*/ 70 h 139"/>
                    <a:gd name="T16" fmla="*/ 50 w 139"/>
                    <a:gd name="T17" fmla="*/ 3 h 139"/>
                    <a:gd name="T18" fmla="*/ 70 w 139"/>
                    <a:gd name="T19" fmla="*/ 0 h 139"/>
                    <a:gd name="T20" fmla="*/ 89 w 139"/>
                    <a:gd name="T21" fmla="*/ 3 h 139"/>
                    <a:gd name="T22" fmla="*/ 117 w 139"/>
                    <a:gd name="T23" fmla="*/ 19 h 139"/>
                    <a:gd name="T24" fmla="*/ 139 w 139"/>
                    <a:gd name="T25" fmla="*/ 70 h 139"/>
                    <a:gd name="T26" fmla="*/ 117 w 139"/>
                    <a:gd name="T27" fmla="*/ 12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9" h="139">
                      <a:moveTo>
                        <a:pt x="117" y="120"/>
                      </a:moveTo>
                      <a:cubicBezTo>
                        <a:pt x="106" y="131"/>
                        <a:pt x="90" y="138"/>
                        <a:pt x="72" y="139"/>
                      </a:cubicBezTo>
                      <a:cubicBezTo>
                        <a:pt x="71" y="139"/>
                        <a:pt x="71" y="139"/>
                        <a:pt x="70" y="139"/>
                      </a:cubicBezTo>
                      <a:cubicBezTo>
                        <a:pt x="69" y="139"/>
                        <a:pt x="68" y="139"/>
                        <a:pt x="67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0" y="69"/>
                        <a:pt x="0" y="70"/>
                      </a:cubicBezTo>
                      <a:cubicBezTo>
                        <a:pt x="0" y="38"/>
                        <a:pt x="21" y="11"/>
                        <a:pt x="50" y="3"/>
                      </a:cubicBezTo>
                      <a:cubicBezTo>
                        <a:pt x="56" y="1"/>
                        <a:pt x="63" y="0"/>
                        <a:pt x="70" y="0"/>
                      </a:cubicBezTo>
                      <a:cubicBezTo>
                        <a:pt x="76" y="0"/>
                        <a:pt x="83" y="1"/>
                        <a:pt x="89" y="3"/>
                      </a:cubicBezTo>
                      <a:cubicBezTo>
                        <a:pt x="100" y="6"/>
                        <a:pt x="109" y="11"/>
                        <a:pt x="117" y="19"/>
                      </a:cubicBezTo>
                      <a:cubicBezTo>
                        <a:pt x="131" y="32"/>
                        <a:pt x="139" y="50"/>
                        <a:pt x="139" y="70"/>
                      </a:cubicBezTo>
                      <a:cubicBezTo>
                        <a:pt x="139" y="89"/>
                        <a:pt x="131" y="107"/>
                        <a:pt x="117" y="120"/>
                      </a:cubicBezTo>
                      <a:close/>
                    </a:path>
                  </a:pathLst>
                </a:custGeom>
                <a:solidFill>
                  <a:srgbClr val="7CC7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3486151" y="1376363"/>
                  <a:ext cx="896938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63 w 129"/>
                    <a:gd name="T3" fmla="*/ 129 h 129"/>
                    <a:gd name="T4" fmla="*/ 62 w 129"/>
                    <a:gd name="T5" fmla="*/ 129 h 129"/>
                    <a:gd name="T6" fmla="*/ 0 w 129"/>
                    <a:gd name="T7" fmla="*/ 129 h 129"/>
                    <a:gd name="T8" fmla="*/ 0 w 129"/>
                    <a:gd name="T9" fmla="*/ 64 h 129"/>
                    <a:gd name="T10" fmla="*/ 47 w 129"/>
                    <a:gd name="T11" fmla="*/ 3 h 129"/>
                    <a:gd name="T12" fmla="*/ 65 w 129"/>
                    <a:gd name="T13" fmla="*/ 0 h 129"/>
                    <a:gd name="T14" fmla="*/ 83 w 129"/>
                    <a:gd name="T15" fmla="*/ 3 h 129"/>
                    <a:gd name="T16" fmla="*/ 109 w 129"/>
                    <a:gd name="T17" fmla="*/ 18 h 129"/>
                    <a:gd name="T18" fmla="*/ 129 w 129"/>
                    <a:gd name="T19" fmla="*/ 65 h 129"/>
                    <a:gd name="T20" fmla="*/ 109 w 129"/>
                    <a:gd name="T21" fmla="*/ 111 h 129"/>
                    <a:gd name="T22" fmla="*/ 67 w 129"/>
                    <a:gd name="T23" fmla="*/ 129 h 129"/>
                    <a:gd name="T24" fmla="*/ 66 w 129"/>
                    <a:gd name="T25" fmla="*/ 129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64" y="129"/>
                        <a:pt x="64" y="129"/>
                        <a:pt x="63" y="129"/>
                      </a:cubicBezTo>
                      <a:cubicBezTo>
                        <a:pt x="62" y="129"/>
                        <a:pt x="62" y="129"/>
                        <a:pt x="62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36"/>
                        <a:pt x="19" y="11"/>
                        <a:pt x="47" y="3"/>
                      </a:cubicBezTo>
                      <a:cubicBezTo>
                        <a:pt x="52" y="1"/>
                        <a:pt x="59" y="0"/>
                        <a:pt x="65" y="0"/>
                      </a:cubicBezTo>
                      <a:cubicBezTo>
                        <a:pt x="71" y="0"/>
                        <a:pt x="77" y="1"/>
                        <a:pt x="83" y="3"/>
                      </a:cubicBezTo>
                      <a:cubicBezTo>
                        <a:pt x="92" y="5"/>
                        <a:pt x="101" y="11"/>
                        <a:pt x="109" y="18"/>
                      </a:cubicBezTo>
                      <a:cubicBezTo>
                        <a:pt x="122" y="30"/>
                        <a:pt x="129" y="47"/>
                        <a:pt x="129" y="65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98" y="122"/>
                        <a:pt x="83" y="128"/>
                        <a:pt x="67" y="129"/>
                      </a:cubicBezTo>
                      <a:cubicBezTo>
                        <a:pt x="66" y="129"/>
                        <a:pt x="66" y="129"/>
                        <a:pt x="66" y="129"/>
                      </a:cubicBezTo>
                      <a:cubicBezTo>
                        <a:pt x="66" y="129"/>
                        <a:pt x="65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FA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3521076" y="1411288"/>
                  <a:ext cx="827088" cy="828675"/>
                </a:xfrm>
                <a:custGeom>
                  <a:avLst/>
                  <a:gdLst>
                    <a:gd name="T0" fmla="*/ 60 w 119"/>
                    <a:gd name="T1" fmla="*/ 119 h 119"/>
                    <a:gd name="T2" fmla="*/ 59 w 119"/>
                    <a:gd name="T3" fmla="*/ 119 h 119"/>
                    <a:gd name="T4" fmla="*/ 57 w 119"/>
                    <a:gd name="T5" fmla="*/ 119 h 119"/>
                    <a:gd name="T6" fmla="*/ 0 w 119"/>
                    <a:gd name="T7" fmla="*/ 119 h 119"/>
                    <a:gd name="T8" fmla="*/ 0 w 119"/>
                    <a:gd name="T9" fmla="*/ 59 h 119"/>
                    <a:gd name="T10" fmla="*/ 43 w 119"/>
                    <a:gd name="T11" fmla="*/ 2 h 119"/>
                    <a:gd name="T12" fmla="*/ 60 w 119"/>
                    <a:gd name="T13" fmla="*/ 0 h 119"/>
                    <a:gd name="T14" fmla="*/ 76 w 119"/>
                    <a:gd name="T15" fmla="*/ 2 h 119"/>
                    <a:gd name="T16" fmla="*/ 100 w 119"/>
                    <a:gd name="T17" fmla="*/ 16 h 119"/>
                    <a:gd name="T18" fmla="*/ 119 w 119"/>
                    <a:gd name="T19" fmla="*/ 60 h 119"/>
                    <a:gd name="T20" fmla="*/ 100 w 119"/>
                    <a:gd name="T21" fmla="*/ 103 h 119"/>
                    <a:gd name="T22" fmla="*/ 62 w 119"/>
                    <a:gd name="T23" fmla="*/ 119 h 119"/>
                    <a:gd name="T24" fmla="*/ 61 w 119"/>
                    <a:gd name="T25" fmla="*/ 119 h 119"/>
                    <a:gd name="T26" fmla="*/ 60 w 119"/>
                    <a:gd name="T27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19">
                      <a:moveTo>
                        <a:pt x="60" y="119"/>
                      </a:moveTo>
                      <a:cubicBezTo>
                        <a:pt x="59" y="119"/>
                        <a:pt x="59" y="119"/>
                        <a:pt x="59" y="119"/>
                      </a:cubicBezTo>
                      <a:cubicBezTo>
                        <a:pt x="57" y="119"/>
                        <a:pt x="57" y="119"/>
                        <a:pt x="57" y="119"/>
                      </a:cubicBezTo>
                      <a:cubicBezTo>
                        <a:pt x="0" y="119"/>
                        <a:pt x="0" y="119"/>
                        <a:pt x="0" y="11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0" y="33"/>
                        <a:pt x="18" y="10"/>
                        <a:pt x="43" y="2"/>
                      </a:cubicBezTo>
                      <a:cubicBezTo>
                        <a:pt x="48" y="1"/>
                        <a:pt x="54" y="0"/>
                        <a:pt x="60" y="0"/>
                      </a:cubicBezTo>
                      <a:cubicBezTo>
                        <a:pt x="65" y="0"/>
                        <a:pt x="71" y="1"/>
                        <a:pt x="76" y="2"/>
                      </a:cubicBezTo>
                      <a:cubicBezTo>
                        <a:pt x="85" y="5"/>
                        <a:pt x="93" y="10"/>
                        <a:pt x="100" y="16"/>
                      </a:cubicBezTo>
                      <a:cubicBezTo>
                        <a:pt x="112" y="28"/>
                        <a:pt x="119" y="43"/>
                        <a:pt x="119" y="60"/>
                      </a:cubicBezTo>
                      <a:cubicBezTo>
                        <a:pt x="119" y="76"/>
                        <a:pt x="112" y="91"/>
                        <a:pt x="100" y="103"/>
                      </a:cubicBezTo>
                      <a:cubicBezTo>
                        <a:pt x="90" y="113"/>
                        <a:pt x="76" y="118"/>
                        <a:pt x="62" y="119"/>
                      </a:cubicBezTo>
                      <a:cubicBezTo>
                        <a:pt x="61" y="119"/>
                        <a:pt x="61" y="119"/>
                        <a:pt x="61" y="119"/>
                      </a:cubicBezTo>
                      <a:cubicBezTo>
                        <a:pt x="60" y="119"/>
                        <a:pt x="60" y="119"/>
                        <a:pt x="60" y="119"/>
                      </a:cubicBezTo>
                      <a:close/>
                    </a:path>
                  </a:pathLst>
                </a:custGeom>
                <a:solidFill>
                  <a:srgbClr val="7CC7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4" name="出自【趣你的PPT】(微信:qunideppt)：最优质的PPT资源库"/>
              <p:cNvSpPr txBox="1"/>
              <p:nvPr/>
            </p:nvSpPr>
            <p:spPr>
              <a:xfrm>
                <a:off x="3611216" y="1583318"/>
                <a:ext cx="89569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1</a:t>
                </a:r>
                <a:endParaRPr lang="zh-CN" altLang="en-US" sz="2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2" name="出自【趣你的PPT】(微信:qunideppt)：最优质的PPT资源库"/>
            <p:cNvSpPr txBox="1"/>
            <p:nvPr/>
          </p:nvSpPr>
          <p:spPr>
            <a:xfrm>
              <a:off x="4650061" y="3686105"/>
              <a:ext cx="869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</a:p>
          </p:txBody>
        </p:sp>
      </p:grpSp>
      <p:grpSp>
        <p:nvGrpSpPr>
          <p:cNvPr id="38" name="Group 37出自【趣你的PPT】(微信:qunideppt)：最优质的PPT资源库"/>
          <p:cNvGrpSpPr/>
          <p:nvPr/>
        </p:nvGrpSpPr>
        <p:grpSpPr>
          <a:xfrm>
            <a:off x="2741814" y="5194327"/>
            <a:ext cx="1799431" cy="968375"/>
            <a:chOff x="3181475" y="5468739"/>
            <a:chExt cx="1799431" cy="968375"/>
          </a:xfrm>
        </p:grpSpPr>
        <p:grpSp>
          <p:nvGrpSpPr>
            <p:cNvPr id="39" name="组合 38"/>
            <p:cNvGrpSpPr/>
            <p:nvPr/>
          </p:nvGrpSpPr>
          <p:grpSpPr>
            <a:xfrm>
              <a:off x="3181475" y="5468739"/>
              <a:ext cx="1051838" cy="968375"/>
              <a:chOff x="2965451" y="3446463"/>
              <a:chExt cx="1051838" cy="968375"/>
            </a:xfrm>
          </p:grpSpPr>
          <p:grpSp>
            <p:nvGrpSpPr>
              <p:cNvPr id="41" name="组合 40"/>
              <p:cNvGrpSpPr/>
              <p:nvPr/>
            </p:nvGrpSpPr>
            <p:grpSpPr>
              <a:xfrm>
                <a:off x="2965451" y="3446463"/>
                <a:ext cx="965200" cy="968375"/>
                <a:chOff x="2965451" y="3446463"/>
                <a:chExt cx="965200" cy="968375"/>
              </a:xfrm>
            </p:grpSpPr>
            <p:sp>
              <p:nvSpPr>
                <p:cNvPr id="43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2965451" y="3446463"/>
                  <a:ext cx="965200" cy="968375"/>
                </a:xfrm>
                <a:custGeom>
                  <a:avLst/>
                  <a:gdLst>
                    <a:gd name="T0" fmla="*/ 117 w 139"/>
                    <a:gd name="T1" fmla="*/ 19 h 139"/>
                    <a:gd name="T2" fmla="*/ 72 w 139"/>
                    <a:gd name="T3" fmla="*/ 0 h 139"/>
                    <a:gd name="T4" fmla="*/ 70 w 139"/>
                    <a:gd name="T5" fmla="*/ 0 h 139"/>
                    <a:gd name="T6" fmla="*/ 67 w 139"/>
                    <a:gd name="T7" fmla="*/ 0 h 139"/>
                    <a:gd name="T8" fmla="*/ 0 w 139"/>
                    <a:gd name="T9" fmla="*/ 0 h 139"/>
                    <a:gd name="T10" fmla="*/ 0 w 139"/>
                    <a:gd name="T11" fmla="*/ 70 h 139"/>
                    <a:gd name="T12" fmla="*/ 0 w 139"/>
                    <a:gd name="T13" fmla="*/ 70 h 139"/>
                    <a:gd name="T14" fmla="*/ 0 w 139"/>
                    <a:gd name="T15" fmla="*/ 69 h 139"/>
                    <a:gd name="T16" fmla="*/ 50 w 139"/>
                    <a:gd name="T17" fmla="*/ 136 h 139"/>
                    <a:gd name="T18" fmla="*/ 70 w 139"/>
                    <a:gd name="T19" fmla="*/ 139 h 139"/>
                    <a:gd name="T20" fmla="*/ 89 w 139"/>
                    <a:gd name="T21" fmla="*/ 136 h 139"/>
                    <a:gd name="T22" fmla="*/ 117 w 139"/>
                    <a:gd name="T23" fmla="*/ 120 h 139"/>
                    <a:gd name="T24" fmla="*/ 139 w 139"/>
                    <a:gd name="T25" fmla="*/ 69 h 139"/>
                    <a:gd name="T26" fmla="*/ 117 w 139"/>
                    <a:gd name="T27" fmla="*/ 19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9" h="139">
                      <a:moveTo>
                        <a:pt x="117" y="19"/>
                      </a:moveTo>
                      <a:cubicBezTo>
                        <a:pt x="106" y="7"/>
                        <a:pt x="90" y="0"/>
                        <a:pt x="72" y="0"/>
                      </a:cubicBezTo>
                      <a:cubicBezTo>
                        <a:pt x="71" y="0"/>
                        <a:pt x="71" y="0"/>
                        <a:pt x="70" y="0"/>
                      </a:cubicBezTo>
                      <a:cubicBezTo>
                        <a:pt x="69" y="0"/>
                        <a:pt x="68" y="0"/>
                        <a:pt x="6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101"/>
                        <a:pt x="21" y="128"/>
                        <a:pt x="50" y="136"/>
                      </a:cubicBezTo>
                      <a:cubicBezTo>
                        <a:pt x="56" y="138"/>
                        <a:pt x="63" y="139"/>
                        <a:pt x="70" y="139"/>
                      </a:cubicBezTo>
                      <a:cubicBezTo>
                        <a:pt x="76" y="139"/>
                        <a:pt x="83" y="138"/>
                        <a:pt x="89" y="136"/>
                      </a:cubicBezTo>
                      <a:cubicBezTo>
                        <a:pt x="100" y="133"/>
                        <a:pt x="109" y="127"/>
                        <a:pt x="117" y="120"/>
                      </a:cubicBezTo>
                      <a:cubicBezTo>
                        <a:pt x="131" y="107"/>
                        <a:pt x="139" y="89"/>
                        <a:pt x="139" y="69"/>
                      </a:cubicBezTo>
                      <a:cubicBezTo>
                        <a:pt x="139" y="49"/>
                        <a:pt x="131" y="31"/>
                        <a:pt x="117" y="19"/>
                      </a:cubicBezTo>
                      <a:close/>
                    </a:path>
                  </a:pathLst>
                </a:custGeom>
                <a:solidFill>
                  <a:srgbClr val="D724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3000376" y="3481388"/>
                  <a:ext cx="896938" cy="900113"/>
                </a:xfrm>
                <a:custGeom>
                  <a:avLst/>
                  <a:gdLst>
                    <a:gd name="T0" fmla="*/ 65 w 129"/>
                    <a:gd name="T1" fmla="*/ 129 h 129"/>
                    <a:gd name="T2" fmla="*/ 47 w 129"/>
                    <a:gd name="T3" fmla="*/ 126 h 129"/>
                    <a:gd name="T4" fmla="*/ 0 w 129"/>
                    <a:gd name="T5" fmla="*/ 65 h 129"/>
                    <a:gd name="T6" fmla="*/ 0 w 129"/>
                    <a:gd name="T7" fmla="*/ 0 h 129"/>
                    <a:gd name="T8" fmla="*/ 62 w 129"/>
                    <a:gd name="T9" fmla="*/ 0 h 129"/>
                    <a:gd name="T10" fmla="*/ 63 w 129"/>
                    <a:gd name="T11" fmla="*/ 0 h 129"/>
                    <a:gd name="T12" fmla="*/ 65 w 129"/>
                    <a:gd name="T13" fmla="*/ 0 h 129"/>
                    <a:gd name="T14" fmla="*/ 66 w 129"/>
                    <a:gd name="T15" fmla="*/ 0 h 129"/>
                    <a:gd name="T16" fmla="*/ 67 w 129"/>
                    <a:gd name="T17" fmla="*/ 0 h 129"/>
                    <a:gd name="T18" fmla="*/ 109 w 129"/>
                    <a:gd name="T19" fmla="*/ 17 h 129"/>
                    <a:gd name="T20" fmla="*/ 129 w 129"/>
                    <a:gd name="T21" fmla="*/ 64 h 129"/>
                    <a:gd name="T22" fmla="*/ 109 w 129"/>
                    <a:gd name="T23" fmla="*/ 111 h 129"/>
                    <a:gd name="T24" fmla="*/ 83 w 129"/>
                    <a:gd name="T25" fmla="*/ 126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59" y="129"/>
                        <a:pt x="52" y="128"/>
                        <a:pt x="47" y="126"/>
                      </a:cubicBezTo>
                      <a:cubicBezTo>
                        <a:pt x="19" y="118"/>
                        <a:pt x="0" y="93"/>
                        <a:pt x="0" y="6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4" y="0"/>
                        <a:pt x="64" y="0"/>
                        <a:pt x="65" y="0"/>
                      </a:cubicBezTo>
                      <a:cubicBezTo>
                        <a:pt x="65" y="0"/>
                        <a:pt x="66" y="0"/>
                        <a:pt x="66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83" y="0"/>
                        <a:pt x="98" y="7"/>
                        <a:pt x="109" y="17"/>
                      </a:cubicBezTo>
                      <a:cubicBezTo>
                        <a:pt x="122" y="30"/>
                        <a:pt x="129" y="46"/>
                        <a:pt x="129" y="64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101" y="118"/>
                        <a:pt x="92" y="123"/>
                        <a:pt x="83" y="126"/>
                      </a:cubicBezTo>
                      <a:cubicBezTo>
                        <a:pt x="77" y="128"/>
                        <a:pt x="71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D724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3000376" y="3481388"/>
                  <a:ext cx="896938" cy="900113"/>
                </a:xfrm>
                <a:custGeom>
                  <a:avLst/>
                  <a:gdLst>
                    <a:gd name="T0" fmla="*/ 65 w 129"/>
                    <a:gd name="T1" fmla="*/ 129 h 129"/>
                    <a:gd name="T2" fmla="*/ 47 w 129"/>
                    <a:gd name="T3" fmla="*/ 126 h 129"/>
                    <a:gd name="T4" fmla="*/ 0 w 129"/>
                    <a:gd name="T5" fmla="*/ 65 h 129"/>
                    <a:gd name="T6" fmla="*/ 0 w 129"/>
                    <a:gd name="T7" fmla="*/ 0 h 129"/>
                    <a:gd name="T8" fmla="*/ 62 w 129"/>
                    <a:gd name="T9" fmla="*/ 0 h 129"/>
                    <a:gd name="T10" fmla="*/ 63 w 129"/>
                    <a:gd name="T11" fmla="*/ 0 h 129"/>
                    <a:gd name="T12" fmla="*/ 65 w 129"/>
                    <a:gd name="T13" fmla="*/ 0 h 129"/>
                    <a:gd name="T14" fmla="*/ 66 w 129"/>
                    <a:gd name="T15" fmla="*/ 0 h 129"/>
                    <a:gd name="T16" fmla="*/ 67 w 129"/>
                    <a:gd name="T17" fmla="*/ 0 h 129"/>
                    <a:gd name="T18" fmla="*/ 109 w 129"/>
                    <a:gd name="T19" fmla="*/ 17 h 129"/>
                    <a:gd name="T20" fmla="*/ 129 w 129"/>
                    <a:gd name="T21" fmla="*/ 64 h 129"/>
                    <a:gd name="T22" fmla="*/ 109 w 129"/>
                    <a:gd name="T23" fmla="*/ 111 h 129"/>
                    <a:gd name="T24" fmla="*/ 83 w 129"/>
                    <a:gd name="T25" fmla="*/ 126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59" y="129"/>
                        <a:pt x="52" y="128"/>
                        <a:pt x="47" y="126"/>
                      </a:cubicBezTo>
                      <a:cubicBezTo>
                        <a:pt x="19" y="118"/>
                        <a:pt x="0" y="93"/>
                        <a:pt x="0" y="6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4" y="0"/>
                        <a:pt x="64" y="0"/>
                        <a:pt x="65" y="0"/>
                      </a:cubicBezTo>
                      <a:cubicBezTo>
                        <a:pt x="65" y="0"/>
                        <a:pt x="66" y="0"/>
                        <a:pt x="66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83" y="0"/>
                        <a:pt x="98" y="7"/>
                        <a:pt x="109" y="17"/>
                      </a:cubicBezTo>
                      <a:cubicBezTo>
                        <a:pt x="122" y="30"/>
                        <a:pt x="129" y="46"/>
                        <a:pt x="129" y="64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101" y="118"/>
                        <a:pt x="92" y="123"/>
                        <a:pt x="83" y="126"/>
                      </a:cubicBezTo>
                      <a:cubicBezTo>
                        <a:pt x="77" y="128"/>
                        <a:pt x="71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FA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3035301" y="3516313"/>
                  <a:ext cx="827088" cy="830263"/>
                </a:xfrm>
                <a:custGeom>
                  <a:avLst/>
                  <a:gdLst>
                    <a:gd name="T0" fmla="*/ 60 w 119"/>
                    <a:gd name="T1" fmla="*/ 119 h 119"/>
                    <a:gd name="T2" fmla="*/ 43 w 119"/>
                    <a:gd name="T3" fmla="*/ 116 h 119"/>
                    <a:gd name="T4" fmla="*/ 0 w 119"/>
                    <a:gd name="T5" fmla="*/ 60 h 119"/>
                    <a:gd name="T6" fmla="*/ 0 w 119"/>
                    <a:gd name="T7" fmla="*/ 0 h 119"/>
                    <a:gd name="T8" fmla="*/ 57 w 119"/>
                    <a:gd name="T9" fmla="*/ 0 h 119"/>
                    <a:gd name="T10" fmla="*/ 58 w 119"/>
                    <a:gd name="T11" fmla="*/ 0 h 119"/>
                    <a:gd name="T12" fmla="*/ 60 w 119"/>
                    <a:gd name="T13" fmla="*/ 0 h 119"/>
                    <a:gd name="T14" fmla="*/ 61 w 119"/>
                    <a:gd name="T15" fmla="*/ 0 h 119"/>
                    <a:gd name="T16" fmla="*/ 62 w 119"/>
                    <a:gd name="T17" fmla="*/ 0 h 119"/>
                    <a:gd name="T18" fmla="*/ 100 w 119"/>
                    <a:gd name="T19" fmla="*/ 16 h 119"/>
                    <a:gd name="T20" fmla="*/ 119 w 119"/>
                    <a:gd name="T21" fmla="*/ 59 h 119"/>
                    <a:gd name="T22" fmla="*/ 100 w 119"/>
                    <a:gd name="T23" fmla="*/ 102 h 119"/>
                    <a:gd name="T24" fmla="*/ 76 w 119"/>
                    <a:gd name="T25" fmla="*/ 116 h 119"/>
                    <a:gd name="T26" fmla="*/ 60 w 119"/>
                    <a:gd name="T27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19">
                      <a:moveTo>
                        <a:pt x="60" y="119"/>
                      </a:moveTo>
                      <a:cubicBezTo>
                        <a:pt x="54" y="119"/>
                        <a:pt x="48" y="118"/>
                        <a:pt x="43" y="116"/>
                      </a:cubicBezTo>
                      <a:cubicBezTo>
                        <a:pt x="18" y="109"/>
                        <a:pt x="0" y="86"/>
                        <a:pt x="0" y="6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9" y="0"/>
                        <a:pt x="59" y="0"/>
                        <a:pt x="60" y="0"/>
                      </a:cubicBezTo>
                      <a:cubicBezTo>
                        <a:pt x="60" y="0"/>
                        <a:pt x="60" y="0"/>
                        <a:pt x="61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76" y="0"/>
                        <a:pt x="90" y="6"/>
                        <a:pt x="100" y="16"/>
                      </a:cubicBezTo>
                      <a:cubicBezTo>
                        <a:pt x="112" y="27"/>
                        <a:pt x="119" y="43"/>
                        <a:pt x="119" y="59"/>
                      </a:cubicBezTo>
                      <a:cubicBezTo>
                        <a:pt x="119" y="76"/>
                        <a:pt x="112" y="91"/>
                        <a:pt x="100" y="102"/>
                      </a:cubicBezTo>
                      <a:cubicBezTo>
                        <a:pt x="93" y="109"/>
                        <a:pt x="85" y="114"/>
                        <a:pt x="76" y="116"/>
                      </a:cubicBezTo>
                      <a:cubicBezTo>
                        <a:pt x="71" y="118"/>
                        <a:pt x="65" y="119"/>
                        <a:pt x="60" y="119"/>
                      </a:cubicBezTo>
                      <a:close/>
                    </a:path>
                  </a:pathLst>
                </a:custGeom>
                <a:solidFill>
                  <a:srgbClr val="D724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42" name="出自【趣你的PPT】(微信:qunideppt)：最优质的PPT资源库"/>
              <p:cNvSpPr txBox="1"/>
              <p:nvPr/>
            </p:nvSpPr>
            <p:spPr>
              <a:xfrm>
                <a:off x="3121592" y="3662290"/>
                <a:ext cx="89569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2</a:t>
                </a:r>
                <a:endParaRPr lang="zh-CN" altLang="en-US" sz="2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0" name="出自【趣你的PPT】(微信:qunideppt)：最优质的PPT资源库"/>
            <p:cNvSpPr txBox="1"/>
            <p:nvPr/>
          </p:nvSpPr>
          <p:spPr>
            <a:xfrm>
              <a:off x="4111899" y="5817916"/>
              <a:ext cx="869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</a:p>
          </p:txBody>
        </p:sp>
      </p:grpSp>
      <p:grpSp>
        <p:nvGrpSpPr>
          <p:cNvPr id="47" name="Group 46出自【趣你的PPT】(微信:qunideppt)：最优质的PPT资源库"/>
          <p:cNvGrpSpPr/>
          <p:nvPr/>
        </p:nvGrpSpPr>
        <p:grpSpPr>
          <a:xfrm>
            <a:off x="4659514" y="5257827"/>
            <a:ext cx="1831062" cy="968375"/>
            <a:chOff x="5099175" y="5532239"/>
            <a:chExt cx="1831062" cy="968375"/>
          </a:xfrm>
        </p:grpSpPr>
        <p:grpSp>
          <p:nvGrpSpPr>
            <p:cNvPr id="48" name="组合 47"/>
            <p:cNvGrpSpPr/>
            <p:nvPr/>
          </p:nvGrpSpPr>
          <p:grpSpPr>
            <a:xfrm>
              <a:off x="5099175" y="5532239"/>
              <a:ext cx="1053079" cy="968375"/>
              <a:chOff x="4883151" y="3509963"/>
              <a:chExt cx="1053079" cy="968375"/>
            </a:xfrm>
          </p:grpSpPr>
          <p:grpSp>
            <p:nvGrpSpPr>
              <p:cNvPr id="50" name="组合 49"/>
              <p:cNvGrpSpPr/>
              <p:nvPr/>
            </p:nvGrpSpPr>
            <p:grpSpPr>
              <a:xfrm>
                <a:off x="4883151" y="3509963"/>
                <a:ext cx="965200" cy="968375"/>
                <a:chOff x="4883151" y="3509963"/>
                <a:chExt cx="965200" cy="968375"/>
              </a:xfrm>
            </p:grpSpPr>
            <p:sp>
              <p:nvSpPr>
                <p:cNvPr id="52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4883151" y="3509963"/>
                  <a:ext cx="965200" cy="968375"/>
                </a:xfrm>
                <a:custGeom>
                  <a:avLst/>
                  <a:gdLst>
                    <a:gd name="T0" fmla="*/ 117 w 139"/>
                    <a:gd name="T1" fmla="*/ 19 h 139"/>
                    <a:gd name="T2" fmla="*/ 72 w 139"/>
                    <a:gd name="T3" fmla="*/ 0 h 139"/>
                    <a:gd name="T4" fmla="*/ 70 w 139"/>
                    <a:gd name="T5" fmla="*/ 0 h 139"/>
                    <a:gd name="T6" fmla="*/ 67 w 139"/>
                    <a:gd name="T7" fmla="*/ 0 h 139"/>
                    <a:gd name="T8" fmla="*/ 0 w 139"/>
                    <a:gd name="T9" fmla="*/ 0 h 139"/>
                    <a:gd name="T10" fmla="*/ 0 w 139"/>
                    <a:gd name="T11" fmla="*/ 70 h 139"/>
                    <a:gd name="T12" fmla="*/ 0 w 139"/>
                    <a:gd name="T13" fmla="*/ 70 h 139"/>
                    <a:gd name="T14" fmla="*/ 0 w 139"/>
                    <a:gd name="T15" fmla="*/ 69 h 139"/>
                    <a:gd name="T16" fmla="*/ 50 w 139"/>
                    <a:gd name="T17" fmla="*/ 136 h 139"/>
                    <a:gd name="T18" fmla="*/ 70 w 139"/>
                    <a:gd name="T19" fmla="*/ 139 h 139"/>
                    <a:gd name="T20" fmla="*/ 89 w 139"/>
                    <a:gd name="T21" fmla="*/ 136 h 139"/>
                    <a:gd name="T22" fmla="*/ 117 w 139"/>
                    <a:gd name="T23" fmla="*/ 120 h 139"/>
                    <a:gd name="T24" fmla="*/ 139 w 139"/>
                    <a:gd name="T25" fmla="*/ 69 h 139"/>
                    <a:gd name="T26" fmla="*/ 117 w 139"/>
                    <a:gd name="T27" fmla="*/ 19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9" h="139">
                      <a:moveTo>
                        <a:pt x="117" y="19"/>
                      </a:moveTo>
                      <a:cubicBezTo>
                        <a:pt x="105" y="8"/>
                        <a:pt x="90" y="1"/>
                        <a:pt x="72" y="0"/>
                      </a:cubicBezTo>
                      <a:cubicBezTo>
                        <a:pt x="71" y="0"/>
                        <a:pt x="71" y="0"/>
                        <a:pt x="70" y="0"/>
                      </a:cubicBezTo>
                      <a:cubicBezTo>
                        <a:pt x="69" y="0"/>
                        <a:pt x="68" y="0"/>
                        <a:pt x="6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69"/>
                      </a:cubicBezTo>
                      <a:cubicBezTo>
                        <a:pt x="0" y="101"/>
                        <a:pt x="21" y="128"/>
                        <a:pt x="50" y="136"/>
                      </a:cubicBezTo>
                      <a:cubicBezTo>
                        <a:pt x="56" y="138"/>
                        <a:pt x="63" y="139"/>
                        <a:pt x="70" y="139"/>
                      </a:cubicBezTo>
                      <a:cubicBezTo>
                        <a:pt x="76" y="139"/>
                        <a:pt x="83" y="138"/>
                        <a:pt x="89" y="136"/>
                      </a:cubicBezTo>
                      <a:cubicBezTo>
                        <a:pt x="100" y="133"/>
                        <a:pt x="109" y="128"/>
                        <a:pt x="117" y="120"/>
                      </a:cubicBezTo>
                      <a:cubicBezTo>
                        <a:pt x="131" y="107"/>
                        <a:pt x="139" y="89"/>
                        <a:pt x="139" y="69"/>
                      </a:cubicBezTo>
                      <a:cubicBezTo>
                        <a:pt x="139" y="50"/>
                        <a:pt x="131" y="32"/>
                        <a:pt x="117" y="19"/>
                      </a:cubicBezTo>
                      <a:close/>
                    </a:path>
                  </a:pathLst>
                </a:custGeom>
                <a:solidFill>
                  <a:srgbClr val="FF3C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4916488" y="3544888"/>
                  <a:ext cx="896938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47 w 129"/>
                    <a:gd name="T3" fmla="*/ 126 h 129"/>
                    <a:gd name="T4" fmla="*/ 0 w 129"/>
                    <a:gd name="T5" fmla="*/ 65 h 129"/>
                    <a:gd name="T6" fmla="*/ 0 w 129"/>
                    <a:gd name="T7" fmla="*/ 0 h 129"/>
                    <a:gd name="T8" fmla="*/ 62 w 129"/>
                    <a:gd name="T9" fmla="*/ 0 h 129"/>
                    <a:gd name="T10" fmla="*/ 63 w 129"/>
                    <a:gd name="T11" fmla="*/ 0 h 129"/>
                    <a:gd name="T12" fmla="*/ 65 w 129"/>
                    <a:gd name="T13" fmla="*/ 0 h 129"/>
                    <a:gd name="T14" fmla="*/ 66 w 129"/>
                    <a:gd name="T15" fmla="*/ 0 h 129"/>
                    <a:gd name="T16" fmla="*/ 67 w 129"/>
                    <a:gd name="T17" fmla="*/ 0 h 129"/>
                    <a:gd name="T18" fmla="*/ 109 w 129"/>
                    <a:gd name="T19" fmla="*/ 18 h 129"/>
                    <a:gd name="T20" fmla="*/ 129 w 129"/>
                    <a:gd name="T21" fmla="*/ 64 h 129"/>
                    <a:gd name="T22" fmla="*/ 109 w 129"/>
                    <a:gd name="T23" fmla="*/ 111 h 129"/>
                    <a:gd name="T24" fmla="*/ 83 w 129"/>
                    <a:gd name="T25" fmla="*/ 126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59" y="129"/>
                        <a:pt x="52" y="128"/>
                        <a:pt x="47" y="126"/>
                      </a:cubicBezTo>
                      <a:cubicBezTo>
                        <a:pt x="19" y="119"/>
                        <a:pt x="0" y="93"/>
                        <a:pt x="0" y="6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4" y="0"/>
                        <a:pt x="64" y="0"/>
                        <a:pt x="65" y="0"/>
                      </a:cubicBezTo>
                      <a:cubicBezTo>
                        <a:pt x="65" y="0"/>
                        <a:pt x="66" y="0"/>
                        <a:pt x="66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83" y="1"/>
                        <a:pt x="97" y="7"/>
                        <a:pt x="109" y="18"/>
                      </a:cubicBezTo>
                      <a:cubicBezTo>
                        <a:pt x="122" y="30"/>
                        <a:pt x="129" y="47"/>
                        <a:pt x="129" y="64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101" y="118"/>
                        <a:pt x="92" y="124"/>
                        <a:pt x="83" y="126"/>
                      </a:cubicBezTo>
                      <a:cubicBezTo>
                        <a:pt x="77" y="128"/>
                        <a:pt x="71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3C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4916488" y="3544888"/>
                  <a:ext cx="896938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47 w 129"/>
                    <a:gd name="T3" fmla="*/ 126 h 129"/>
                    <a:gd name="T4" fmla="*/ 0 w 129"/>
                    <a:gd name="T5" fmla="*/ 65 h 129"/>
                    <a:gd name="T6" fmla="*/ 0 w 129"/>
                    <a:gd name="T7" fmla="*/ 0 h 129"/>
                    <a:gd name="T8" fmla="*/ 62 w 129"/>
                    <a:gd name="T9" fmla="*/ 0 h 129"/>
                    <a:gd name="T10" fmla="*/ 63 w 129"/>
                    <a:gd name="T11" fmla="*/ 0 h 129"/>
                    <a:gd name="T12" fmla="*/ 65 w 129"/>
                    <a:gd name="T13" fmla="*/ 0 h 129"/>
                    <a:gd name="T14" fmla="*/ 66 w 129"/>
                    <a:gd name="T15" fmla="*/ 0 h 129"/>
                    <a:gd name="T16" fmla="*/ 67 w 129"/>
                    <a:gd name="T17" fmla="*/ 0 h 129"/>
                    <a:gd name="T18" fmla="*/ 109 w 129"/>
                    <a:gd name="T19" fmla="*/ 18 h 129"/>
                    <a:gd name="T20" fmla="*/ 129 w 129"/>
                    <a:gd name="T21" fmla="*/ 64 h 129"/>
                    <a:gd name="T22" fmla="*/ 109 w 129"/>
                    <a:gd name="T23" fmla="*/ 111 h 129"/>
                    <a:gd name="T24" fmla="*/ 83 w 129"/>
                    <a:gd name="T25" fmla="*/ 126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59" y="129"/>
                        <a:pt x="52" y="128"/>
                        <a:pt x="47" y="126"/>
                      </a:cubicBezTo>
                      <a:cubicBezTo>
                        <a:pt x="19" y="119"/>
                        <a:pt x="0" y="93"/>
                        <a:pt x="0" y="6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4" y="0"/>
                        <a:pt x="64" y="0"/>
                        <a:pt x="65" y="0"/>
                      </a:cubicBezTo>
                      <a:cubicBezTo>
                        <a:pt x="65" y="0"/>
                        <a:pt x="66" y="0"/>
                        <a:pt x="66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83" y="1"/>
                        <a:pt x="97" y="7"/>
                        <a:pt x="109" y="18"/>
                      </a:cubicBezTo>
                      <a:cubicBezTo>
                        <a:pt x="122" y="30"/>
                        <a:pt x="129" y="47"/>
                        <a:pt x="129" y="64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101" y="118"/>
                        <a:pt x="92" y="124"/>
                        <a:pt x="83" y="126"/>
                      </a:cubicBezTo>
                      <a:cubicBezTo>
                        <a:pt x="77" y="128"/>
                        <a:pt x="71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FA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4951413" y="3579813"/>
                  <a:ext cx="827088" cy="828675"/>
                </a:xfrm>
                <a:custGeom>
                  <a:avLst/>
                  <a:gdLst>
                    <a:gd name="T0" fmla="*/ 60 w 119"/>
                    <a:gd name="T1" fmla="*/ 119 h 119"/>
                    <a:gd name="T2" fmla="*/ 43 w 119"/>
                    <a:gd name="T3" fmla="*/ 117 h 119"/>
                    <a:gd name="T4" fmla="*/ 0 w 119"/>
                    <a:gd name="T5" fmla="*/ 60 h 119"/>
                    <a:gd name="T6" fmla="*/ 0 w 119"/>
                    <a:gd name="T7" fmla="*/ 0 h 119"/>
                    <a:gd name="T8" fmla="*/ 57 w 119"/>
                    <a:gd name="T9" fmla="*/ 0 h 119"/>
                    <a:gd name="T10" fmla="*/ 58 w 119"/>
                    <a:gd name="T11" fmla="*/ 0 h 119"/>
                    <a:gd name="T12" fmla="*/ 60 w 119"/>
                    <a:gd name="T13" fmla="*/ 0 h 119"/>
                    <a:gd name="T14" fmla="*/ 61 w 119"/>
                    <a:gd name="T15" fmla="*/ 0 h 119"/>
                    <a:gd name="T16" fmla="*/ 62 w 119"/>
                    <a:gd name="T17" fmla="*/ 0 h 119"/>
                    <a:gd name="T18" fmla="*/ 100 w 119"/>
                    <a:gd name="T19" fmla="*/ 16 h 119"/>
                    <a:gd name="T20" fmla="*/ 119 w 119"/>
                    <a:gd name="T21" fmla="*/ 59 h 119"/>
                    <a:gd name="T22" fmla="*/ 100 w 119"/>
                    <a:gd name="T23" fmla="*/ 103 h 119"/>
                    <a:gd name="T24" fmla="*/ 76 w 119"/>
                    <a:gd name="T25" fmla="*/ 117 h 119"/>
                    <a:gd name="T26" fmla="*/ 60 w 119"/>
                    <a:gd name="T27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19">
                      <a:moveTo>
                        <a:pt x="60" y="119"/>
                      </a:moveTo>
                      <a:cubicBezTo>
                        <a:pt x="54" y="119"/>
                        <a:pt x="48" y="118"/>
                        <a:pt x="43" y="117"/>
                      </a:cubicBezTo>
                      <a:cubicBezTo>
                        <a:pt x="18" y="109"/>
                        <a:pt x="0" y="86"/>
                        <a:pt x="0" y="6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9" y="0"/>
                        <a:pt x="59" y="0"/>
                        <a:pt x="60" y="0"/>
                      </a:cubicBezTo>
                      <a:cubicBezTo>
                        <a:pt x="60" y="0"/>
                        <a:pt x="60" y="0"/>
                        <a:pt x="61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76" y="1"/>
                        <a:pt x="90" y="6"/>
                        <a:pt x="100" y="16"/>
                      </a:cubicBezTo>
                      <a:cubicBezTo>
                        <a:pt x="112" y="28"/>
                        <a:pt x="119" y="43"/>
                        <a:pt x="119" y="59"/>
                      </a:cubicBezTo>
                      <a:cubicBezTo>
                        <a:pt x="119" y="76"/>
                        <a:pt x="112" y="91"/>
                        <a:pt x="100" y="103"/>
                      </a:cubicBezTo>
                      <a:cubicBezTo>
                        <a:pt x="93" y="109"/>
                        <a:pt x="85" y="114"/>
                        <a:pt x="76" y="117"/>
                      </a:cubicBezTo>
                      <a:cubicBezTo>
                        <a:pt x="71" y="118"/>
                        <a:pt x="65" y="119"/>
                        <a:pt x="60" y="119"/>
                      </a:cubicBezTo>
                      <a:close/>
                    </a:path>
                  </a:pathLst>
                </a:custGeom>
                <a:solidFill>
                  <a:srgbClr val="FF3C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51" name="出自【趣你的PPT】(微信:qunideppt)：最优质的PPT资源库"/>
              <p:cNvSpPr txBox="1"/>
              <p:nvPr/>
            </p:nvSpPr>
            <p:spPr>
              <a:xfrm>
                <a:off x="5040533" y="3732540"/>
                <a:ext cx="89569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4</a:t>
                </a:r>
                <a:endParaRPr lang="zh-CN" altLang="en-US" sz="2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9" name="出自【趣你的PPT】(微信:qunideppt)：最优质的PPT资源库"/>
            <p:cNvSpPr txBox="1"/>
            <p:nvPr/>
          </p:nvSpPr>
          <p:spPr>
            <a:xfrm>
              <a:off x="6061230" y="5813611"/>
              <a:ext cx="869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</a:p>
          </p:txBody>
        </p:sp>
      </p:grpSp>
      <p:grpSp>
        <p:nvGrpSpPr>
          <p:cNvPr id="56" name="Group 55出自【趣你的PPT】(微信:qunideppt)：最优质的PPT资源库"/>
          <p:cNvGrpSpPr/>
          <p:nvPr/>
        </p:nvGrpSpPr>
        <p:grpSpPr>
          <a:xfrm>
            <a:off x="6269239" y="3089302"/>
            <a:ext cx="1887835" cy="968375"/>
            <a:chOff x="6708900" y="3363714"/>
            <a:chExt cx="1887835" cy="968375"/>
          </a:xfrm>
        </p:grpSpPr>
        <p:grpSp>
          <p:nvGrpSpPr>
            <p:cNvPr id="57" name="组合 56"/>
            <p:cNvGrpSpPr/>
            <p:nvPr/>
          </p:nvGrpSpPr>
          <p:grpSpPr>
            <a:xfrm>
              <a:off x="6708900" y="3363714"/>
              <a:ext cx="1054100" cy="968375"/>
              <a:chOff x="6492876" y="1341438"/>
              <a:chExt cx="1054100" cy="968375"/>
            </a:xfrm>
          </p:grpSpPr>
          <p:grpSp>
            <p:nvGrpSpPr>
              <p:cNvPr id="59" name="组合 58"/>
              <p:cNvGrpSpPr/>
              <p:nvPr/>
            </p:nvGrpSpPr>
            <p:grpSpPr>
              <a:xfrm>
                <a:off x="6492876" y="1341438"/>
                <a:ext cx="965200" cy="968375"/>
                <a:chOff x="6492876" y="1341438"/>
                <a:chExt cx="965200" cy="968375"/>
              </a:xfrm>
            </p:grpSpPr>
            <p:sp>
              <p:nvSpPr>
                <p:cNvPr id="61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6492876" y="1341438"/>
                  <a:ext cx="965200" cy="968375"/>
                </a:xfrm>
                <a:custGeom>
                  <a:avLst/>
                  <a:gdLst>
                    <a:gd name="T0" fmla="*/ 118 w 139"/>
                    <a:gd name="T1" fmla="*/ 120 h 139"/>
                    <a:gd name="T2" fmla="*/ 73 w 139"/>
                    <a:gd name="T3" fmla="*/ 139 h 139"/>
                    <a:gd name="T4" fmla="*/ 70 w 139"/>
                    <a:gd name="T5" fmla="*/ 139 h 139"/>
                    <a:gd name="T6" fmla="*/ 67 w 139"/>
                    <a:gd name="T7" fmla="*/ 139 h 139"/>
                    <a:gd name="T8" fmla="*/ 0 w 139"/>
                    <a:gd name="T9" fmla="*/ 139 h 139"/>
                    <a:gd name="T10" fmla="*/ 0 w 139"/>
                    <a:gd name="T11" fmla="*/ 69 h 139"/>
                    <a:gd name="T12" fmla="*/ 0 w 139"/>
                    <a:gd name="T13" fmla="*/ 69 h 139"/>
                    <a:gd name="T14" fmla="*/ 0 w 139"/>
                    <a:gd name="T15" fmla="*/ 70 h 139"/>
                    <a:gd name="T16" fmla="*/ 50 w 139"/>
                    <a:gd name="T17" fmla="*/ 3 h 139"/>
                    <a:gd name="T18" fmla="*/ 70 w 139"/>
                    <a:gd name="T19" fmla="*/ 0 h 139"/>
                    <a:gd name="T20" fmla="*/ 89 w 139"/>
                    <a:gd name="T21" fmla="*/ 3 h 139"/>
                    <a:gd name="T22" fmla="*/ 118 w 139"/>
                    <a:gd name="T23" fmla="*/ 19 h 139"/>
                    <a:gd name="T24" fmla="*/ 139 w 139"/>
                    <a:gd name="T25" fmla="*/ 70 h 139"/>
                    <a:gd name="T26" fmla="*/ 118 w 139"/>
                    <a:gd name="T27" fmla="*/ 12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9" h="139">
                      <a:moveTo>
                        <a:pt x="118" y="120"/>
                      </a:moveTo>
                      <a:cubicBezTo>
                        <a:pt x="106" y="131"/>
                        <a:pt x="90" y="138"/>
                        <a:pt x="73" y="139"/>
                      </a:cubicBezTo>
                      <a:cubicBezTo>
                        <a:pt x="72" y="139"/>
                        <a:pt x="71" y="139"/>
                        <a:pt x="70" y="139"/>
                      </a:cubicBezTo>
                      <a:cubicBezTo>
                        <a:pt x="69" y="139"/>
                        <a:pt x="68" y="139"/>
                        <a:pt x="67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0" y="69"/>
                        <a:pt x="0" y="70"/>
                      </a:cubicBezTo>
                      <a:cubicBezTo>
                        <a:pt x="0" y="38"/>
                        <a:pt x="21" y="11"/>
                        <a:pt x="50" y="3"/>
                      </a:cubicBezTo>
                      <a:cubicBezTo>
                        <a:pt x="57" y="1"/>
                        <a:pt x="63" y="0"/>
                        <a:pt x="70" y="0"/>
                      </a:cubicBezTo>
                      <a:cubicBezTo>
                        <a:pt x="77" y="0"/>
                        <a:pt x="83" y="1"/>
                        <a:pt x="89" y="3"/>
                      </a:cubicBezTo>
                      <a:cubicBezTo>
                        <a:pt x="100" y="6"/>
                        <a:pt x="110" y="11"/>
                        <a:pt x="118" y="19"/>
                      </a:cubicBezTo>
                      <a:cubicBezTo>
                        <a:pt x="131" y="32"/>
                        <a:pt x="139" y="50"/>
                        <a:pt x="139" y="70"/>
                      </a:cubicBezTo>
                      <a:cubicBezTo>
                        <a:pt x="139" y="89"/>
                        <a:pt x="131" y="107"/>
                        <a:pt x="118" y="120"/>
                      </a:cubicBezTo>
                      <a:close/>
                    </a:path>
                  </a:pathLst>
                </a:custGeom>
                <a:solidFill>
                  <a:srgbClr val="FFA0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6527801" y="1376363"/>
                  <a:ext cx="895350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63 w 129"/>
                    <a:gd name="T3" fmla="*/ 129 h 129"/>
                    <a:gd name="T4" fmla="*/ 62 w 129"/>
                    <a:gd name="T5" fmla="*/ 129 h 129"/>
                    <a:gd name="T6" fmla="*/ 0 w 129"/>
                    <a:gd name="T7" fmla="*/ 129 h 129"/>
                    <a:gd name="T8" fmla="*/ 0 w 129"/>
                    <a:gd name="T9" fmla="*/ 64 h 129"/>
                    <a:gd name="T10" fmla="*/ 47 w 129"/>
                    <a:gd name="T11" fmla="*/ 3 h 129"/>
                    <a:gd name="T12" fmla="*/ 65 w 129"/>
                    <a:gd name="T13" fmla="*/ 0 h 129"/>
                    <a:gd name="T14" fmla="*/ 83 w 129"/>
                    <a:gd name="T15" fmla="*/ 3 h 129"/>
                    <a:gd name="T16" fmla="*/ 109 w 129"/>
                    <a:gd name="T17" fmla="*/ 18 h 129"/>
                    <a:gd name="T18" fmla="*/ 129 w 129"/>
                    <a:gd name="T19" fmla="*/ 65 h 129"/>
                    <a:gd name="T20" fmla="*/ 109 w 129"/>
                    <a:gd name="T21" fmla="*/ 111 h 129"/>
                    <a:gd name="T22" fmla="*/ 67 w 129"/>
                    <a:gd name="T23" fmla="*/ 129 h 129"/>
                    <a:gd name="T24" fmla="*/ 66 w 129"/>
                    <a:gd name="T25" fmla="*/ 129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64" y="129"/>
                        <a:pt x="64" y="129"/>
                        <a:pt x="63" y="129"/>
                      </a:cubicBezTo>
                      <a:cubicBezTo>
                        <a:pt x="62" y="129"/>
                        <a:pt x="62" y="129"/>
                        <a:pt x="62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36"/>
                        <a:pt x="20" y="11"/>
                        <a:pt x="47" y="3"/>
                      </a:cubicBezTo>
                      <a:cubicBezTo>
                        <a:pt x="53" y="1"/>
                        <a:pt x="59" y="0"/>
                        <a:pt x="65" y="0"/>
                      </a:cubicBezTo>
                      <a:cubicBezTo>
                        <a:pt x="71" y="0"/>
                        <a:pt x="77" y="1"/>
                        <a:pt x="83" y="3"/>
                      </a:cubicBezTo>
                      <a:cubicBezTo>
                        <a:pt x="93" y="5"/>
                        <a:pt x="102" y="11"/>
                        <a:pt x="109" y="18"/>
                      </a:cubicBezTo>
                      <a:cubicBezTo>
                        <a:pt x="122" y="30"/>
                        <a:pt x="129" y="47"/>
                        <a:pt x="129" y="65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98" y="122"/>
                        <a:pt x="83" y="128"/>
                        <a:pt x="67" y="129"/>
                      </a:cubicBezTo>
                      <a:cubicBezTo>
                        <a:pt x="66" y="129"/>
                        <a:pt x="66" y="129"/>
                        <a:pt x="66" y="129"/>
                      </a:cubicBezTo>
                      <a:cubicBezTo>
                        <a:pt x="66" y="129"/>
                        <a:pt x="65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FA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6562726" y="1411288"/>
                  <a:ext cx="827088" cy="828675"/>
                </a:xfrm>
                <a:custGeom>
                  <a:avLst/>
                  <a:gdLst>
                    <a:gd name="T0" fmla="*/ 60 w 119"/>
                    <a:gd name="T1" fmla="*/ 119 h 119"/>
                    <a:gd name="T2" fmla="*/ 59 w 119"/>
                    <a:gd name="T3" fmla="*/ 119 h 119"/>
                    <a:gd name="T4" fmla="*/ 58 w 119"/>
                    <a:gd name="T5" fmla="*/ 119 h 119"/>
                    <a:gd name="T6" fmla="*/ 0 w 119"/>
                    <a:gd name="T7" fmla="*/ 119 h 119"/>
                    <a:gd name="T8" fmla="*/ 0 w 119"/>
                    <a:gd name="T9" fmla="*/ 59 h 119"/>
                    <a:gd name="T10" fmla="*/ 43 w 119"/>
                    <a:gd name="T11" fmla="*/ 2 h 119"/>
                    <a:gd name="T12" fmla="*/ 60 w 119"/>
                    <a:gd name="T13" fmla="*/ 0 h 119"/>
                    <a:gd name="T14" fmla="*/ 76 w 119"/>
                    <a:gd name="T15" fmla="*/ 2 h 119"/>
                    <a:gd name="T16" fmla="*/ 101 w 119"/>
                    <a:gd name="T17" fmla="*/ 16 h 119"/>
                    <a:gd name="T18" fmla="*/ 119 w 119"/>
                    <a:gd name="T19" fmla="*/ 60 h 119"/>
                    <a:gd name="T20" fmla="*/ 101 w 119"/>
                    <a:gd name="T21" fmla="*/ 103 h 119"/>
                    <a:gd name="T22" fmla="*/ 62 w 119"/>
                    <a:gd name="T23" fmla="*/ 119 h 119"/>
                    <a:gd name="T24" fmla="*/ 61 w 119"/>
                    <a:gd name="T25" fmla="*/ 119 h 119"/>
                    <a:gd name="T26" fmla="*/ 60 w 119"/>
                    <a:gd name="T27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19">
                      <a:moveTo>
                        <a:pt x="60" y="119"/>
                      </a:moveTo>
                      <a:cubicBezTo>
                        <a:pt x="60" y="119"/>
                        <a:pt x="59" y="119"/>
                        <a:pt x="59" y="119"/>
                      </a:cubicBezTo>
                      <a:cubicBezTo>
                        <a:pt x="58" y="119"/>
                        <a:pt x="58" y="119"/>
                        <a:pt x="58" y="119"/>
                      </a:cubicBezTo>
                      <a:cubicBezTo>
                        <a:pt x="0" y="119"/>
                        <a:pt x="0" y="119"/>
                        <a:pt x="0" y="11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1" y="33"/>
                        <a:pt x="18" y="10"/>
                        <a:pt x="43" y="2"/>
                      </a:cubicBezTo>
                      <a:cubicBezTo>
                        <a:pt x="49" y="1"/>
                        <a:pt x="54" y="0"/>
                        <a:pt x="60" y="0"/>
                      </a:cubicBezTo>
                      <a:cubicBezTo>
                        <a:pt x="65" y="0"/>
                        <a:pt x="71" y="1"/>
                        <a:pt x="76" y="2"/>
                      </a:cubicBezTo>
                      <a:cubicBezTo>
                        <a:pt x="85" y="5"/>
                        <a:pt x="94" y="10"/>
                        <a:pt x="101" y="16"/>
                      </a:cubicBezTo>
                      <a:cubicBezTo>
                        <a:pt x="113" y="28"/>
                        <a:pt x="119" y="43"/>
                        <a:pt x="119" y="60"/>
                      </a:cubicBezTo>
                      <a:cubicBezTo>
                        <a:pt x="119" y="76"/>
                        <a:pt x="113" y="91"/>
                        <a:pt x="101" y="103"/>
                      </a:cubicBezTo>
                      <a:cubicBezTo>
                        <a:pt x="90" y="113"/>
                        <a:pt x="77" y="118"/>
                        <a:pt x="62" y="119"/>
                      </a:cubicBezTo>
                      <a:cubicBezTo>
                        <a:pt x="61" y="119"/>
                        <a:pt x="61" y="119"/>
                        <a:pt x="61" y="119"/>
                      </a:cubicBezTo>
                      <a:cubicBezTo>
                        <a:pt x="60" y="119"/>
                        <a:pt x="60" y="119"/>
                        <a:pt x="60" y="119"/>
                      </a:cubicBezTo>
                      <a:close/>
                    </a:path>
                  </a:pathLst>
                </a:custGeom>
                <a:solidFill>
                  <a:srgbClr val="FFA0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0" name="出自【趣你的PPT】(微信:qunideppt)：最优质的PPT资源库"/>
              <p:cNvSpPr txBox="1"/>
              <p:nvPr/>
            </p:nvSpPr>
            <p:spPr>
              <a:xfrm>
                <a:off x="6651279" y="1583318"/>
                <a:ext cx="89569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3</a:t>
                </a:r>
                <a:endParaRPr lang="zh-CN" altLang="en-US" sz="2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8" name="出自【趣你的PPT】(微信:qunideppt)：最优质的PPT资源库"/>
            <p:cNvSpPr txBox="1"/>
            <p:nvPr/>
          </p:nvSpPr>
          <p:spPr>
            <a:xfrm>
              <a:off x="7727728" y="3697645"/>
              <a:ext cx="869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</a:p>
          </p:txBody>
        </p:sp>
      </p:grpSp>
      <p:grpSp>
        <p:nvGrpSpPr>
          <p:cNvPr id="64" name="Group 63出自【趣你的PPT】(微信:qunideppt)：最优质的PPT资源库"/>
          <p:cNvGrpSpPr/>
          <p:nvPr/>
        </p:nvGrpSpPr>
        <p:grpSpPr>
          <a:xfrm>
            <a:off x="9206114" y="3089302"/>
            <a:ext cx="1904291" cy="968375"/>
            <a:chOff x="9645775" y="3363714"/>
            <a:chExt cx="1904291" cy="968375"/>
          </a:xfrm>
        </p:grpSpPr>
        <p:grpSp>
          <p:nvGrpSpPr>
            <p:cNvPr id="65" name="组合 64"/>
            <p:cNvGrpSpPr/>
            <p:nvPr/>
          </p:nvGrpSpPr>
          <p:grpSpPr>
            <a:xfrm>
              <a:off x="9645775" y="3363714"/>
              <a:ext cx="1054100" cy="968375"/>
              <a:chOff x="9429751" y="1341438"/>
              <a:chExt cx="1054100" cy="968375"/>
            </a:xfrm>
          </p:grpSpPr>
          <p:grpSp>
            <p:nvGrpSpPr>
              <p:cNvPr id="67" name="组合 66"/>
              <p:cNvGrpSpPr/>
              <p:nvPr/>
            </p:nvGrpSpPr>
            <p:grpSpPr>
              <a:xfrm>
                <a:off x="9429751" y="1341438"/>
                <a:ext cx="965200" cy="968375"/>
                <a:chOff x="9429751" y="1341438"/>
                <a:chExt cx="965200" cy="968375"/>
              </a:xfrm>
            </p:grpSpPr>
            <p:sp>
              <p:nvSpPr>
                <p:cNvPr id="69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9429751" y="1341438"/>
                  <a:ext cx="965200" cy="968375"/>
                </a:xfrm>
                <a:custGeom>
                  <a:avLst/>
                  <a:gdLst>
                    <a:gd name="T0" fmla="*/ 117 w 139"/>
                    <a:gd name="T1" fmla="*/ 120 h 139"/>
                    <a:gd name="T2" fmla="*/ 73 w 139"/>
                    <a:gd name="T3" fmla="*/ 139 h 139"/>
                    <a:gd name="T4" fmla="*/ 70 w 139"/>
                    <a:gd name="T5" fmla="*/ 139 h 139"/>
                    <a:gd name="T6" fmla="*/ 67 w 139"/>
                    <a:gd name="T7" fmla="*/ 139 h 139"/>
                    <a:gd name="T8" fmla="*/ 0 w 139"/>
                    <a:gd name="T9" fmla="*/ 139 h 139"/>
                    <a:gd name="T10" fmla="*/ 0 w 139"/>
                    <a:gd name="T11" fmla="*/ 69 h 139"/>
                    <a:gd name="T12" fmla="*/ 0 w 139"/>
                    <a:gd name="T13" fmla="*/ 69 h 139"/>
                    <a:gd name="T14" fmla="*/ 0 w 139"/>
                    <a:gd name="T15" fmla="*/ 70 h 139"/>
                    <a:gd name="T16" fmla="*/ 50 w 139"/>
                    <a:gd name="T17" fmla="*/ 3 h 139"/>
                    <a:gd name="T18" fmla="*/ 70 w 139"/>
                    <a:gd name="T19" fmla="*/ 0 h 139"/>
                    <a:gd name="T20" fmla="*/ 89 w 139"/>
                    <a:gd name="T21" fmla="*/ 3 h 139"/>
                    <a:gd name="T22" fmla="*/ 117 w 139"/>
                    <a:gd name="T23" fmla="*/ 19 h 139"/>
                    <a:gd name="T24" fmla="*/ 139 w 139"/>
                    <a:gd name="T25" fmla="*/ 70 h 139"/>
                    <a:gd name="T26" fmla="*/ 117 w 139"/>
                    <a:gd name="T27" fmla="*/ 12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9" h="139">
                      <a:moveTo>
                        <a:pt x="117" y="120"/>
                      </a:moveTo>
                      <a:cubicBezTo>
                        <a:pt x="106" y="131"/>
                        <a:pt x="90" y="138"/>
                        <a:pt x="73" y="139"/>
                      </a:cubicBezTo>
                      <a:cubicBezTo>
                        <a:pt x="72" y="139"/>
                        <a:pt x="71" y="139"/>
                        <a:pt x="70" y="139"/>
                      </a:cubicBezTo>
                      <a:cubicBezTo>
                        <a:pt x="69" y="139"/>
                        <a:pt x="68" y="139"/>
                        <a:pt x="67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0" y="69"/>
                        <a:pt x="0" y="70"/>
                      </a:cubicBezTo>
                      <a:cubicBezTo>
                        <a:pt x="0" y="38"/>
                        <a:pt x="21" y="11"/>
                        <a:pt x="50" y="3"/>
                      </a:cubicBezTo>
                      <a:cubicBezTo>
                        <a:pt x="56" y="1"/>
                        <a:pt x="63" y="0"/>
                        <a:pt x="70" y="0"/>
                      </a:cubicBezTo>
                      <a:cubicBezTo>
                        <a:pt x="77" y="0"/>
                        <a:pt x="83" y="1"/>
                        <a:pt x="89" y="3"/>
                      </a:cubicBezTo>
                      <a:cubicBezTo>
                        <a:pt x="100" y="6"/>
                        <a:pt x="110" y="11"/>
                        <a:pt x="117" y="19"/>
                      </a:cubicBezTo>
                      <a:cubicBezTo>
                        <a:pt x="131" y="32"/>
                        <a:pt x="139" y="50"/>
                        <a:pt x="139" y="70"/>
                      </a:cubicBezTo>
                      <a:cubicBezTo>
                        <a:pt x="139" y="89"/>
                        <a:pt x="131" y="107"/>
                        <a:pt x="117" y="120"/>
                      </a:cubicBezTo>
                      <a:close/>
                    </a:path>
                  </a:pathLst>
                </a:custGeom>
                <a:solidFill>
                  <a:srgbClr val="FF3C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9464676" y="1376363"/>
                  <a:ext cx="896938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63 w 129"/>
                    <a:gd name="T3" fmla="*/ 129 h 129"/>
                    <a:gd name="T4" fmla="*/ 62 w 129"/>
                    <a:gd name="T5" fmla="*/ 129 h 129"/>
                    <a:gd name="T6" fmla="*/ 0 w 129"/>
                    <a:gd name="T7" fmla="*/ 129 h 129"/>
                    <a:gd name="T8" fmla="*/ 0 w 129"/>
                    <a:gd name="T9" fmla="*/ 64 h 129"/>
                    <a:gd name="T10" fmla="*/ 47 w 129"/>
                    <a:gd name="T11" fmla="*/ 3 h 129"/>
                    <a:gd name="T12" fmla="*/ 65 w 129"/>
                    <a:gd name="T13" fmla="*/ 0 h 129"/>
                    <a:gd name="T14" fmla="*/ 83 w 129"/>
                    <a:gd name="T15" fmla="*/ 3 h 129"/>
                    <a:gd name="T16" fmla="*/ 109 w 129"/>
                    <a:gd name="T17" fmla="*/ 18 h 129"/>
                    <a:gd name="T18" fmla="*/ 129 w 129"/>
                    <a:gd name="T19" fmla="*/ 65 h 129"/>
                    <a:gd name="T20" fmla="*/ 109 w 129"/>
                    <a:gd name="T21" fmla="*/ 111 h 129"/>
                    <a:gd name="T22" fmla="*/ 67 w 129"/>
                    <a:gd name="T23" fmla="*/ 129 h 129"/>
                    <a:gd name="T24" fmla="*/ 66 w 129"/>
                    <a:gd name="T25" fmla="*/ 129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64" y="129"/>
                        <a:pt x="64" y="129"/>
                        <a:pt x="63" y="129"/>
                      </a:cubicBezTo>
                      <a:cubicBezTo>
                        <a:pt x="62" y="129"/>
                        <a:pt x="62" y="129"/>
                        <a:pt x="62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36"/>
                        <a:pt x="20" y="11"/>
                        <a:pt x="47" y="3"/>
                      </a:cubicBezTo>
                      <a:cubicBezTo>
                        <a:pt x="53" y="1"/>
                        <a:pt x="59" y="0"/>
                        <a:pt x="65" y="0"/>
                      </a:cubicBezTo>
                      <a:cubicBezTo>
                        <a:pt x="71" y="0"/>
                        <a:pt x="77" y="1"/>
                        <a:pt x="83" y="3"/>
                      </a:cubicBezTo>
                      <a:cubicBezTo>
                        <a:pt x="92" y="5"/>
                        <a:pt x="102" y="11"/>
                        <a:pt x="109" y="18"/>
                      </a:cubicBezTo>
                      <a:cubicBezTo>
                        <a:pt x="122" y="30"/>
                        <a:pt x="129" y="47"/>
                        <a:pt x="129" y="65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98" y="122"/>
                        <a:pt x="83" y="128"/>
                        <a:pt x="67" y="129"/>
                      </a:cubicBezTo>
                      <a:cubicBezTo>
                        <a:pt x="66" y="129"/>
                        <a:pt x="66" y="129"/>
                        <a:pt x="66" y="129"/>
                      </a:cubicBezTo>
                      <a:cubicBezTo>
                        <a:pt x="66" y="129"/>
                        <a:pt x="65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3C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9464676" y="1376363"/>
                  <a:ext cx="896938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63 w 129"/>
                    <a:gd name="T3" fmla="*/ 129 h 129"/>
                    <a:gd name="T4" fmla="*/ 62 w 129"/>
                    <a:gd name="T5" fmla="*/ 129 h 129"/>
                    <a:gd name="T6" fmla="*/ 0 w 129"/>
                    <a:gd name="T7" fmla="*/ 129 h 129"/>
                    <a:gd name="T8" fmla="*/ 0 w 129"/>
                    <a:gd name="T9" fmla="*/ 64 h 129"/>
                    <a:gd name="T10" fmla="*/ 47 w 129"/>
                    <a:gd name="T11" fmla="*/ 3 h 129"/>
                    <a:gd name="T12" fmla="*/ 65 w 129"/>
                    <a:gd name="T13" fmla="*/ 0 h 129"/>
                    <a:gd name="T14" fmla="*/ 83 w 129"/>
                    <a:gd name="T15" fmla="*/ 3 h 129"/>
                    <a:gd name="T16" fmla="*/ 109 w 129"/>
                    <a:gd name="T17" fmla="*/ 18 h 129"/>
                    <a:gd name="T18" fmla="*/ 129 w 129"/>
                    <a:gd name="T19" fmla="*/ 65 h 129"/>
                    <a:gd name="T20" fmla="*/ 109 w 129"/>
                    <a:gd name="T21" fmla="*/ 111 h 129"/>
                    <a:gd name="T22" fmla="*/ 67 w 129"/>
                    <a:gd name="T23" fmla="*/ 129 h 129"/>
                    <a:gd name="T24" fmla="*/ 66 w 129"/>
                    <a:gd name="T25" fmla="*/ 129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64" y="129"/>
                        <a:pt x="64" y="129"/>
                        <a:pt x="63" y="129"/>
                      </a:cubicBezTo>
                      <a:cubicBezTo>
                        <a:pt x="62" y="129"/>
                        <a:pt x="62" y="129"/>
                        <a:pt x="62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36"/>
                        <a:pt x="20" y="11"/>
                        <a:pt x="47" y="3"/>
                      </a:cubicBezTo>
                      <a:cubicBezTo>
                        <a:pt x="53" y="1"/>
                        <a:pt x="59" y="0"/>
                        <a:pt x="65" y="0"/>
                      </a:cubicBezTo>
                      <a:cubicBezTo>
                        <a:pt x="71" y="0"/>
                        <a:pt x="77" y="1"/>
                        <a:pt x="83" y="3"/>
                      </a:cubicBezTo>
                      <a:cubicBezTo>
                        <a:pt x="92" y="5"/>
                        <a:pt x="102" y="11"/>
                        <a:pt x="109" y="18"/>
                      </a:cubicBezTo>
                      <a:cubicBezTo>
                        <a:pt x="122" y="30"/>
                        <a:pt x="129" y="47"/>
                        <a:pt x="129" y="65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98" y="122"/>
                        <a:pt x="83" y="128"/>
                        <a:pt x="67" y="129"/>
                      </a:cubicBezTo>
                      <a:cubicBezTo>
                        <a:pt x="66" y="129"/>
                        <a:pt x="66" y="129"/>
                        <a:pt x="66" y="129"/>
                      </a:cubicBezTo>
                      <a:cubicBezTo>
                        <a:pt x="66" y="129"/>
                        <a:pt x="65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FA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9499601" y="1411288"/>
                  <a:ext cx="827088" cy="828675"/>
                </a:xfrm>
                <a:custGeom>
                  <a:avLst/>
                  <a:gdLst>
                    <a:gd name="T0" fmla="*/ 60 w 119"/>
                    <a:gd name="T1" fmla="*/ 119 h 119"/>
                    <a:gd name="T2" fmla="*/ 59 w 119"/>
                    <a:gd name="T3" fmla="*/ 119 h 119"/>
                    <a:gd name="T4" fmla="*/ 57 w 119"/>
                    <a:gd name="T5" fmla="*/ 119 h 119"/>
                    <a:gd name="T6" fmla="*/ 0 w 119"/>
                    <a:gd name="T7" fmla="*/ 119 h 119"/>
                    <a:gd name="T8" fmla="*/ 0 w 119"/>
                    <a:gd name="T9" fmla="*/ 59 h 119"/>
                    <a:gd name="T10" fmla="*/ 43 w 119"/>
                    <a:gd name="T11" fmla="*/ 2 h 119"/>
                    <a:gd name="T12" fmla="*/ 60 w 119"/>
                    <a:gd name="T13" fmla="*/ 0 h 119"/>
                    <a:gd name="T14" fmla="*/ 76 w 119"/>
                    <a:gd name="T15" fmla="*/ 2 h 119"/>
                    <a:gd name="T16" fmla="*/ 100 w 119"/>
                    <a:gd name="T17" fmla="*/ 16 h 119"/>
                    <a:gd name="T18" fmla="*/ 119 w 119"/>
                    <a:gd name="T19" fmla="*/ 60 h 119"/>
                    <a:gd name="T20" fmla="*/ 100 w 119"/>
                    <a:gd name="T21" fmla="*/ 103 h 119"/>
                    <a:gd name="T22" fmla="*/ 62 w 119"/>
                    <a:gd name="T23" fmla="*/ 119 h 119"/>
                    <a:gd name="T24" fmla="*/ 61 w 119"/>
                    <a:gd name="T25" fmla="*/ 119 h 119"/>
                    <a:gd name="T26" fmla="*/ 60 w 119"/>
                    <a:gd name="T27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19">
                      <a:moveTo>
                        <a:pt x="60" y="119"/>
                      </a:moveTo>
                      <a:cubicBezTo>
                        <a:pt x="59" y="119"/>
                        <a:pt x="59" y="119"/>
                        <a:pt x="59" y="119"/>
                      </a:cubicBezTo>
                      <a:cubicBezTo>
                        <a:pt x="57" y="119"/>
                        <a:pt x="57" y="119"/>
                        <a:pt x="57" y="119"/>
                      </a:cubicBezTo>
                      <a:cubicBezTo>
                        <a:pt x="0" y="119"/>
                        <a:pt x="0" y="119"/>
                        <a:pt x="0" y="11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0" y="33"/>
                        <a:pt x="18" y="10"/>
                        <a:pt x="43" y="2"/>
                      </a:cubicBezTo>
                      <a:cubicBezTo>
                        <a:pt x="49" y="1"/>
                        <a:pt x="54" y="0"/>
                        <a:pt x="60" y="0"/>
                      </a:cubicBezTo>
                      <a:cubicBezTo>
                        <a:pt x="65" y="0"/>
                        <a:pt x="71" y="1"/>
                        <a:pt x="76" y="2"/>
                      </a:cubicBezTo>
                      <a:cubicBezTo>
                        <a:pt x="85" y="5"/>
                        <a:pt x="94" y="10"/>
                        <a:pt x="100" y="16"/>
                      </a:cubicBezTo>
                      <a:cubicBezTo>
                        <a:pt x="113" y="28"/>
                        <a:pt x="119" y="43"/>
                        <a:pt x="119" y="60"/>
                      </a:cubicBezTo>
                      <a:cubicBezTo>
                        <a:pt x="119" y="76"/>
                        <a:pt x="113" y="91"/>
                        <a:pt x="100" y="103"/>
                      </a:cubicBezTo>
                      <a:cubicBezTo>
                        <a:pt x="90" y="113"/>
                        <a:pt x="76" y="118"/>
                        <a:pt x="62" y="119"/>
                      </a:cubicBezTo>
                      <a:cubicBezTo>
                        <a:pt x="61" y="119"/>
                        <a:pt x="61" y="119"/>
                        <a:pt x="61" y="119"/>
                      </a:cubicBezTo>
                      <a:cubicBezTo>
                        <a:pt x="60" y="119"/>
                        <a:pt x="60" y="119"/>
                        <a:pt x="60" y="119"/>
                      </a:cubicBezTo>
                      <a:close/>
                    </a:path>
                  </a:pathLst>
                </a:custGeom>
                <a:solidFill>
                  <a:srgbClr val="FF3C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8" name="出自【趣你的PPT】(微信:qunideppt)：最优质的PPT资源库"/>
              <p:cNvSpPr txBox="1"/>
              <p:nvPr/>
            </p:nvSpPr>
            <p:spPr>
              <a:xfrm>
                <a:off x="9588154" y="1576997"/>
                <a:ext cx="89569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6</a:t>
                </a:r>
                <a:endParaRPr lang="zh-CN" altLang="en-US" sz="2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6" name="出自【趣你的PPT】(微信:qunideppt)：最优质的PPT资源库"/>
            <p:cNvSpPr txBox="1"/>
            <p:nvPr/>
          </p:nvSpPr>
          <p:spPr>
            <a:xfrm>
              <a:off x="10681059" y="3697645"/>
              <a:ext cx="869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</a:p>
          </p:txBody>
        </p:sp>
      </p:grpSp>
      <p:grpSp>
        <p:nvGrpSpPr>
          <p:cNvPr id="73" name="Group 72出自【趣你的PPT】(微信:qunideppt)：最优质的PPT资源库"/>
          <p:cNvGrpSpPr/>
          <p:nvPr/>
        </p:nvGrpSpPr>
        <p:grpSpPr>
          <a:xfrm>
            <a:off x="7728151" y="5264177"/>
            <a:ext cx="1885870" cy="968375"/>
            <a:chOff x="8167812" y="5538589"/>
            <a:chExt cx="1885870" cy="968375"/>
          </a:xfrm>
        </p:grpSpPr>
        <p:grpSp>
          <p:nvGrpSpPr>
            <p:cNvPr id="74" name="组合 73"/>
            <p:cNvGrpSpPr/>
            <p:nvPr/>
          </p:nvGrpSpPr>
          <p:grpSpPr>
            <a:xfrm>
              <a:off x="8167812" y="5538589"/>
              <a:ext cx="1052135" cy="968375"/>
              <a:chOff x="7951788" y="3516313"/>
              <a:chExt cx="1052135" cy="968375"/>
            </a:xfrm>
          </p:grpSpPr>
          <p:grpSp>
            <p:nvGrpSpPr>
              <p:cNvPr id="76" name="组合 75"/>
              <p:cNvGrpSpPr/>
              <p:nvPr/>
            </p:nvGrpSpPr>
            <p:grpSpPr>
              <a:xfrm>
                <a:off x="7951788" y="3516313"/>
                <a:ext cx="965200" cy="968375"/>
                <a:chOff x="7951788" y="3516313"/>
                <a:chExt cx="965200" cy="968375"/>
              </a:xfrm>
            </p:grpSpPr>
            <p:sp>
              <p:nvSpPr>
                <p:cNvPr id="78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7951788" y="3516313"/>
                  <a:ext cx="965200" cy="968375"/>
                </a:xfrm>
                <a:custGeom>
                  <a:avLst/>
                  <a:gdLst>
                    <a:gd name="T0" fmla="*/ 117 w 139"/>
                    <a:gd name="T1" fmla="*/ 19 h 139"/>
                    <a:gd name="T2" fmla="*/ 72 w 139"/>
                    <a:gd name="T3" fmla="*/ 0 h 139"/>
                    <a:gd name="T4" fmla="*/ 70 w 139"/>
                    <a:gd name="T5" fmla="*/ 0 h 139"/>
                    <a:gd name="T6" fmla="*/ 67 w 139"/>
                    <a:gd name="T7" fmla="*/ 0 h 139"/>
                    <a:gd name="T8" fmla="*/ 0 w 139"/>
                    <a:gd name="T9" fmla="*/ 0 h 139"/>
                    <a:gd name="T10" fmla="*/ 0 w 139"/>
                    <a:gd name="T11" fmla="*/ 70 h 139"/>
                    <a:gd name="T12" fmla="*/ 0 w 139"/>
                    <a:gd name="T13" fmla="*/ 70 h 139"/>
                    <a:gd name="T14" fmla="*/ 0 w 139"/>
                    <a:gd name="T15" fmla="*/ 69 h 139"/>
                    <a:gd name="T16" fmla="*/ 50 w 139"/>
                    <a:gd name="T17" fmla="*/ 136 h 139"/>
                    <a:gd name="T18" fmla="*/ 70 w 139"/>
                    <a:gd name="T19" fmla="*/ 139 h 139"/>
                    <a:gd name="T20" fmla="*/ 89 w 139"/>
                    <a:gd name="T21" fmla="*/ 136 h 139"/>
                    <a:gd name="T22" fmla="*/ 117 w 139"/>
                    <a:gd name="T23" fmla="*/ 120 h 139"/>
                    <a:gd name="T24" fmla="*/ 139 w 139"/>
                    <a:gd name="T25" fmla="*/ 69 h 139"/>
                    <a:gd name="T26" fmla="*/ 117 w 139"/>
                    <a:gd name="T27" fmla="*/ 19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9" h="139">
                      <a:moveTo>
                        <a:pt x="117" y="19"/>
                      </a:moveTo>
                      <a:cubicBezTo>
                        <a:pt x="106" y="7"/>
                        <a:pt x="90" y="0"/>
                        <a:pt x="72" y="0"/>
                      </a:cubicBezTo>
                      <a:cubicBezTo>
                        <a:pt x="72" y="0"/>
                        <a:pt x="71" y="0"/>
                        <a:pt x="70" y="0"/>
                      </a:cubicBezTo>
                      <a:cubicBezTo>
                        <a:pt x="69" y="0"/>
                        <a:pt x="68" y="0"/>
                        <a:pt x="6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101"/>
                        <a:pt x="21" y="128"/>
                        <a:pt x="50" y="136"/>
                      </a:cubicBezTo>
                      <a:cubicBezTo>
                        <a:pt x="56" y="138"/>
                        <a:pt x="63" y="139"/>
                        <a:pt x="70" y="139"/>
                      </a:cubicBezTo>
                      <a:cubicBezTo>
                        <a:pt x="76" y="139"/>
                        <a:pt x="83" y="138"/>
                        <a:pt x="89" y="136"/>
                      </a:cubicBezTo>
                      <a:cubicBezTo>
                        <a:pt x="100" y="133"/>
                        <a:pt x="110" y="127"/>
                        <a:pt x="117" y="120"/>
                      </a:cubicBezTo>
                      <a:cubicBezTo>
                        <a:pt x="131" y="107"/>
                        <a:pt x="139" y="89"/>
                        <a:pt x="139" y="69"/>
                      </a:cubicBezTo>
                      <a:cubicBezTo>
                        <a:pt x="139" y="49"/>
                        <a:pt x="131" y="31"/>
                        <a:pt x="117" y="19"/>
                      </a:cubicBezTo>
                      <a:close/>
                    </a:path>
                  </a:pathLst>
                </a:custGeom>
                <a:solidFill>
                  <a:srgbClr val="7CC7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7986713" y="3551238"/>
                  <a:ext cx="895350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47 w 129"/>
                    <a:gd name="T3" fmla="*/ 126 h 129"/>
                    <a:gd name="T4" fmla="*/ 0 w 129"/>
                    <a:gd name="T5" fmla="*/ 65 h 129"/>
                    <a:gd name="T6" fmla="*/ 0 w 129"/>
                    <a:gd name="T7" fmla="*/ 0 h 129"/>
                    <a:gd name="T8" fmla="*/ 62 w 129"/>
                    <a:gd name="T9" fmla="*/ 0 h 129"/>
                    <a:gd name="T10" fmla="*/ 63 w 129"/>
                    <a:gd name="T11" fmla="*/ 0 h 129"/>
                    <a:gd name="T12" fmla="*/ 65 w 129"/>
                    <a:gd name="T13" fmla="*/ 0 h 129"/>
                    <a:gd name="T14" fmla="*/ 66 w 129"/>
                    <a:gd name="T15" fmla="*/ 0 h 129"/>
                    <a:gd name="T16" fmla="*/ 67 w 129"/>
                    <a:gd name="T17" fmla="*/ 0 h 129"/>
                    <a:gd name="T18" fmla="*/ 109 w 129"/>
                    <a:gd name="T19" fmla="*/ 17 h 129"/>
                    <a:gd name="T20" fmla="*/ 129 w 129"/>
                    <a:gd name="T21" fmla="*/ 64 h 129"/>
                    <a:gd name="T22" fmla="*/ 109 w 129"/>
                    <a:gd name="T23" fmla="*/ 111 h 129"/>
                    <a:gd name="T24" fmla="*/ 83 w 129"/>
                    <a:gd name="T25" fmla="*/ 126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59" y="129"/>
                        <a:pt x="53" y="128"/>
                        <a:pt x="47" y="126"/>
                      </a:cubicBezTo>
                      <a:cubicBezTo>
                        <a:pt x="19" y="118"/>
                        <a:pt x="0" y="93"/>
                        <a:pt x="0" y="6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4" y="0"/>
                        <a:pt x="64" y="0"/>
                        <a:pt x="65" y="0"/>
                      </a:cubicBezTo>
                      <a:cubicBezTo>
                        <a:pt x="65" y="0"/>
                        <a:pt x="66" y="0"/>
                        <a:pt x="66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83" y="0"/>
                        <a:pt x="98" y="7"/>
                        <a:pt x="109" y="17"/>
                      </a:cubicBezTo>
                      <a:cubicBezTo>
                        <a:pt x="122" y="30"/>
                        <a:pt x="129" y="46"/>
                        <a:pt x="129" y="64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101" y="118"/>
                        <a:pt x="92" y="123"/>
                        <a:pt x="83" y="126"/>
                      </a:cubicBezTo>
                      <a:cubicBezTo>
                        <a:pt x="77" y="128"/>
                        <a:pt x="71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7CC7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7986713" y="3551238"/>
                  <a:ext cx="895350" cy="898525"/>
                </a:xfrm>
                <a:custGeom>
                  <a:avLst/>
                  <a:gdLst>
                    <a:gd name="T0" fmla="*/ 65 w 129"/>
                    <a:gd name="T1" fmla="*/ 129 h 129"/>
                    <a:gd name="T2" fmla="*/ 47 w 129"/>
                    <a:gd name="T3" fmla="*/ 126 h 129"/>
                    <a:gd name="T4" fmla="*/ 0 w 129"/>
                    <a:gd name="T5" fmla="*/ 65 h 129"/>
                    <a:gd name="T6" fmla="*/ 0 w 129"/>
                    <a:gd name="T7" fmla="*/ 0 h 129"/>
                    <a:gd name="T8" fmla="*/ 62 w 129"/>
                    <a:gd name="T9" fmla="*/ 0 h 129"/>
                    <a:gd name="T10" fmla="*/ 63 w 129"/>
                    <a:gd name="T11" fmla="*/ 0 h 129"/>
                    <a:gd name="T12" fmla="*/ 65 w 129"/>
                    <a:gd name="T13" fmla="*/ 0 h 129"/>
                    <a:gd name="T14" fmla="*/ 66 w 129"/>
                    <a:gd name="T15" fmla="*/ 0 h 129"/>
                    <a:gd name="T16" fmla="*/ 67 w 129"/>
                    <a:gd name="T17" fmla="*/ 0 h 129"/>
                    <a:gd name="T18" fmla="*/ 109 w 129"/>
                    <a:gd name="T19" fmla="*/ 17 h 129"/>
                    <a:gd name="T20" fmla="*/ 129 w 129"/>
                    <a:gd name="T21" fmla="*/ 64 h 129"/>
                    <a:gd name="T22" fmla="*/ 109 w 129"/>
                    <a:gd name="T23" fmla="*/ 111 h 129"/>
                    <a:gd name="T24" fmla="*/ 83 w 129"/>
                    <a:gd name="T25" fmla="*/ 126 h 129"/>
                    <a:gd name="T26" fmla="*/ 65 w 129"/>
                    <a:gd name="T2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9" h="129">
                      <a:moveTo>
                        <a:pt x="65" y="129"/>
                      </a:moveTo>
                      <a:cubicBezTo>
                        <a:pt x="59" y="129"/>
                        <a:pt x="53" y="128"/>
                        <a:pt x="47" y="126"/>
                      </a:cubicBezTo>
                      <a:cubicBezTo>
                        <a:pt x="19" y="118"/>
                        <a:pt x="0" y="93"/>
                        <a:pt x="0" y="6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4" y="0"/>
                        <a:pt x="64" y="0"/>
                        <a:pt x="65" y="0"/>
                      </a:cubicBezTo>
                      <a:cubicBezTo>
                        <a:pt x="65" y="0"/>
                        <a:pt x="66" y="0"/>
                        <a:pt x="66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83" y="0"/>
                        <a:pt x="98" y="7"/>
                        <a:pt x="109" y="17"/>
                      </a:cubicBezTo>
                      <a:cubicBezTo>
                        <a:pt x="122" y="30"/>
                        <a:pt x="129" y="46"/>
                        <a:pt x="129" y="64"/>
                      </a:cubicBezTo>
                      <a:cubicBezTo>
                        <a:pt x="129" y="82"/>
                        <a:pt x="122" y="99"/>
                        <a:pt x="109" y="111"/>
                      </a:cubicBezTo>
                      <a:cubicBezTo>
                        <a:pt x="101" y="118"/>
                        <a:pt x="92" y="123"/>
                        <a:pt x="83" y="126"/>
                      </a:cubicBezTo>
                      <a:cubicBezTo>
                        <a:pt x="77" y="128"/>
                        <a:pt x="71" y="129"/>
                        <a:pt x="65" y="129"/>
                      </a:cubicBezTo>
                      <a:close/>
                    </a:path>
                  </a:pathLst>
                </a:custGeom>
                <a:solidFill>
                  <a:srgbClr val="FFFA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8021638" y="3586163"/>
                  <a:ext cx="825500" cy="828675"/>
                </a:xfrm>
                <a:custGeom>
                  <a:avLst/>
                  <a:gdLst>
                    <a:gd name="T0" fmla="*/ 60 w 119"/>
                    <a:gd name="T1" fmla="*/ 119 h 119"/>
                    <a:gd name="T2" fmla="*/ 43 w 119"/>
                    <a:gd name="T3" fmla="*/ 116 h 119"/>
                    <a:gd name="T4" fmla="*/ 0 w 119"/>
                    <a:gd name="T5" fmla="*/ 60 h 119"/>
                    <a:gd name="T6" fmla="*/ 0 w 119"/>
                    <a:gd name="T7" fmla="*/ 0 h 119"/>
                    <a:gd name="T8" fmla="*/ 57 w 119"/>
                    <a:gd name="T9" fmla="*/ 0 h 119"/>
                    <a:gd name="T10" fmla="*/ 59 w 119"/>
                    <a:gd name="T11" fmla="*/ 0 h 119"/>
                    <a:gd name="T12" fmla="*/ 60 w 119"/>
                    <a:gd name="T13" fmla="*/ 0 h 119"/>
                    <a:gd name="T14" fmla="*/ 61 w 119"/>
                    <a:gd name="T15" fmla="*/ 0 h 119"/>
                    <a:gd name="T16" fmla="*/ 62 w 119"/>
                    <a:gd name="T17" fmla="*/ 0 h 119"/>
                    <a:gd name="T18" fmla="*/ 100 w 119"/>
                    <a:gd name="T19" fmla="*/ 16 h 119"/>
                    <a:gd name="T20" fmla="*/ 119 w 119"/>
                    <a:gd name="T21" fmla="*/ 59 h 119"/>
                    <a:gd name="T22" fmla="*/ 100 w 119"/>
                    <a:gd name="T23" fmla="*/ 102 h 119"/>
                    <a:gd name="T24" fmla="*/ 76 w 119"/>
                    <a:gd name="T25" fmla="*/ 116 h 119"/>
                    <a:gd name="T26" fmla="*/ 60 w 119"/>
                    <a:gd name="T27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19">
                      <a:moveTo>
                        <a:pt x="60" y="119"/>
                      </a:moveTo>
                      <a:cubicBezTo>
                        <a:pt x="54" y="119"/>
                        <a:pt x="49" y="118"/>
                        <a:pt x="43" y="116"/>
                      </a:cubicBezTo>
                      <a:cubicBezTo>
                        <a:pt x="18" y="109"/>
                        <a:pt x="0" y="86"/>
                        <a:pt x="0" y="6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9" y="0"/>
                        <a:pt x="59" y="0"/>
                        <a:pt x="60" y="0"/>
                      </a:cubicBezTo>
                      <a:cubicBezTo>
                        <a:pt x="60" y="0"/>
                        <a:pt x="60" y="0"/>
                        <a:pt x="61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76" y="0"/>
                        <a:pt x="90" y="6"/>
                        <a:pt x="100" y="16"/>
                      </a:cubicBezTo>
                      <a:cubicBezTo>
                        <a:pt x="112" y="27"/>
                        <a:pt x="119" y="43"/>
                        <a:pt x="119" y="59"/>
                      </a:cubicBezTo>
                      <a:cubicBezTo>
                        <a:pt x="119" y="76"/>
                        <a:pt x="112" y="91"/>
                        <a:pt x="100" y="102"/>
                      </a:cubicBezTo>
                      <a:cubicBezTo>
                        <a:pt x="94" y="109"/>
                        <a:pt x="85" y="114"/>
                        <a:pt x="76" y="116"/>
                      </a:cubicBezTo>
                      <a:cubicBezTo>
                        <a:pt x="71" y="118"/>
                        <a:pt x="65" y="119"/>
                        <a:pt x="60" y="119"/>
                      </a:cubicBezTo>
                      <a:close/>
                    </a:path>
                  </a:pathLst>
                </a:custGeom>
                <a:solidFill>
                  <a:srgbClr val="7CC7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77" name="出自【趣你的PPT】(微信:qunideppt)：最优质的PPT资源库"/>
              <p:cNvSpPr txBox="1"/>
              <p:nvPr/>
            </p:nvSpPr>
            <p:spPr>
              <a:xfrm>
                <a:off x="8108226" y="3738890"/>
                <a:ext cx="89569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5</a:t>
                </a:r>
                <a:endParaRPr lang="zh-CN" altLang="en-US" sz="2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75" name="出自【趣你的PPT】(微信:qunideppt)：最优质的PPT资源库"/>
            <p:cNvSpPr txBox="1"/>
            <p:nvPr/>
          </p:nvSpPr>
          <p:spPr>
            <a:xfrm>
              <a:off x="9184675" y="5824215"/>
              <a:ext cx="8690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</a:p>
          </p:txBody>
        </p:sp>
      </p:grpSp>
      <p:sp>
        <p:nvSpPr>
          <p:cNvPr id="82" name="出自【趣你的PPT】(微信:qunideppt)：最优质的PPT资源库"/>
          <p:cNvSpPr txBox="1"/>
          <p:nvPr/>
        </p:nvSpPr>
        <p:spPr>
          <a:xfrm>
            <a:off x="2395146" y="1094878"/>
            <a:ext cx="73515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</a:p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</a:p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en-US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3" name="出自【趣你的PPT】(微信:qunideppt)：最优质的PPT资源库"/>
          <p:cNvSpPr txBox="1"/>
          <p:nvPr/>
        </p:nvSpPr>
        <p:spPr>
          <a:xfrm>
            <a:off x="2395146" y="2145466"/>
            <a:ext cx="73515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</a:p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不小心，就学会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45080874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425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8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6" fill="hold" nodeType="withEffect" p14:presetBounceEnd="46000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3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4" fill="hold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3" fill="hold" nodeType="withEffect" p14:presetBounceEnd="46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20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21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2" presetClass="entr" presetSubtype="1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4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6" fill="hold" nodeType="withEffect" p14:presetBounceEnd="46000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27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28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2" presetClass="entr" presetSubtype="8" fill="hold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1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3" fill="hold" nodeType="withEffect" p14:presetBounceEnd="46000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34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3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6" fill="hold" nodeType="withEffect" p14:presetBounceEnd="46000">
                                      <p:stCondLst>
                                        <p:cond delay="375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1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42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2" presetClass="entr" presetSubtype="4" fill="hold" nodeType="withEffect">
                                      <p:stCondLst>
                                        <p:cond delay="425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5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3" fill="hold" nodeType="withEffect" p14:presetBounceEnd="46000">
                                      <p:stCondLst>
                                        <p:cond delay="45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8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49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25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8950"/>
                                </p:stCondLst>
                                <p:childTnLst>
                                  <p:par>
                                    <p:cTn id="5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7" dur="25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2" grpId="0"/>
          <p:bldP spid="8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425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8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6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4" fill="hold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3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2" presetClass="entr" presetSubtype="1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4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6" fill="hold" nodeType="withEffect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2" presetClass="entr" presetSubtype="8" fill="hold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1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3" fill="hold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6" fill="hold" nodeType="withEffect">
                                      <p:stCondLst>
                                        <p:cond delay="375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2" presetClass="entr" presetSubtype="4" fill="hold" nodeType="withEffect">
                                      <p:stCondLst>
                                        <p:cond delay="425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5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3" fill="hold" nodeType="withEffect">
                                      <p:stCondLst>
                                        <p:cond delay="45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25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8950"/>
                                </p:stCondLst>
                                <p:childTnLst>
                                  <p:par>
                                    <p:cTn id="5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7" dur="25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2" grpId="0"/>
          <p:bldP spid="83" grpId="0"/>
        </p:bldLst>
      </p:timing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4799072" y="1596274"/>
            <a:ext cx="1389267" cy="1407807"/>
            <a:chOff x="4103613" y="1743200"/>
            <a:chExt cx="1389267" cy="1407807"/>
          </a:xfrm>
          <a:solidFill>
            <a:srgbClr val="C00000"/>
          </a:solidFill>
        </p:grpSpPr>
        <p:sp>
          <p:nvSpPr>
            <p:cNvPr id="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103613" y="1743200"/>
              <a:ext cx="1389267" cy="1407807"/>
            </a:xfrm>
            <a:custGeom>
              <a:avLst/>
              <a:gdLst/>
              <a:ahLst/>
              <a:cxnLst>
                <a:cxn ang="0">
                  <a:pos x="444" y="378"/>
                </a:cxn>
                <a:cxn ang="0">
                  <a:pos x="444" y="0"/>
                </a:cxn>
                <a:cxn ang="0">
                  <a:pos x="0" y="220"/>
                </a:cxn>
                <a:cxn ang="0">
                  <a:pos x="301" y="450"/>
                </a:cxn>
                <a:cxn ang="0">
                  <a:pos x="444" y="378"/>
                </a:cxn>
              </a:cxnLst>
              <a:rect l="0" t="0" r="r" b="b"/>
              <a:pathLst>
                <a:path w="444" h="450">
                  <a:moveTo>
                    <a:pt x="444" y="378"/>
                  </a:moveTo>
                  <a:cubicBezTo>
                    <a:pt x="444" y="0"/>
                    <a:pt x="444" y="0"/>
                    <a:pt x="444" y="0"/>
                  </a:cubicBezTo>
                  <a:cubicBezTo>
                    <a:pt x="264" y="3"/>
                    <a:pt x="104" y="88"/>
                    <a:pt x="0" y="220"/>
                  </a:cubicBezTo>
                  <a:cubicBezTo>
                    <a:pt x="301" y="450"/>
                    <a:pt x="301" y="450"/>
                    <a:pt x="301" y="450"/>
                  </a:cubicBezTo>
                  <a:cubicBezTo>
                    <a:pt x="335" y="408"/>
                    <a:pt x="387" y="381"/>
                    <a:pt x="444" y="37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9" name="出自【趣你的PPT】(微信:qunideppt)：最优质的PPT资源库"/>
            <p:cNvSpPr/>
            <p:nvPr/>
          </p:nvSpPr>
          <p:spPr>
            <a:xfrm>
              <a:off x="4748581" y="2214578"/>
              <a:ext cx="388198" cy="44770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/>
                </a:rPr>
                <a:t>7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10" name="Group 9出自【趣你的PPT】(微信:qunideppt)：最优质的PPT资源库"/>
          <p:cNvGrpSpPr/>
          <p:nvPr/>
        </p:nvGrpSpPr>
        <p:grpSpPr>
          <a:xfrm>
            <a:off x="6225420" y="1596274"/>
            <a:ext cx="1398538" cy="1397213"/>
            <a:chOff x="5529961" y="1743200"/>
            <a:chExt cx="1398538" cy="1397213"/>
          </a:xfrm>
          <a:solidFill>
            <a:srgbClr val="C00000"/>
          </a:solidFill>
        </p:grpSpPr>
        <p:sp>
          <p:nvSpPr>
            <p:cNvPr id="1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29961" y="1743200"/>
              <a:ext cx="1398538" cy="1397213"/>
            </a:xfrm>
            <a:custGeom>
              <a:avLst/>
              <a:gdLst/>
              <a:ahLst/>
              <a:cxnLst>
                <a:cxn ang="0">
                  <a:pos x="146" y="447"/>
                </a:cxn>
                <a:cxn ang="0">
                  <a:pos x="447" y="217"/>
                </a:cxn>
                <a:cxn ang="0">
                  <a:pos x="0" y="0"/>
                </a:cxn>
                <a:cxn ang="0">
                  <a:pos x="0" y="378"/>
                </a:cxn>
                <a:cxn ang="0">
                  <a:pos x="146" y="447"/>
                </a:cxn>
              </a:cxnLst>
              <a:rect l="0" t="0" r="r" b="b"/>
              <a:pathLst>
                <a:path w="447" h="447">
                  <a:moveTo>
                    <a:pt x="146" y="447"/>
                  </a:moveTo>
                  <a:cubicBezTo>
                    <a:pt x="447" y="217"/>
                    <a:pt x="447" y="217"/>
                    <a:pt x="447" y="217"/>
                  </a:cubicBezTo>
                  <a:cubicBezTo>
                    <a:pt x="342" y="86"/>
                    <a:pt x="181" y="1"/>
                    <a:pt x="0" y="0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59" y="379"/>
                    <a:pt x="111" y="406"/>
                    <a:pt x="146" y="44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12" name="出自【趣你的PPT】(微信:qunideppt)：最优质的PPT资源库"/>
            <p:cNvSpPr/>
            <p:nvPr/>
          </p:nvSpPr>
          <p:spPr>
            <a:xfrm>
              <a:off x="5855756" y="2214578"/>
              <a:ext cx="335813" cy="44770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/>
                </a:rPr>
                <a:t>1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13" name="Group 12出自【趣你的PPT】(微信:qunideppt)：最优质的PPT资源库"/>
          <p:cNvGrpSpPr/>
          <p:nvPr/>
        </p:nvGrpSpPr>
        <p:grpSpPr>
          <a:xfrm>
            <a:off x="6707491" y="2306137"/>
            <a:ext cx="1307156" cy="1495216"/>
            <a:chOff x="6012032" y="2453063"/>
            <a:chExt cx="1307156" cy="1495216"/>
          </a:xfrm>
          <a:solidFill>
            <a:srgbClr val="C00000"/>
          </a:solidFill>
        </p:grpSpPr>
        <p:sp>
          <p:nvSpPr>
            <p:cNvPr id="1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012032" y="2453063"/>
              <a:ext cx="1307156" cy="1495216"/>
            </a:xfrm>
            <a:custGeom>
              <a:avLst/>
              <a:gdLst/>
              <a:ahLst/>
              <a:cxnLst>
                <a:cxn ang="0">
                  <a:pos x="36" y="387"/>
                </a:cxn>
                <a:cxn ang="0">
                  <a:pos x="403" y="478"/>
                </a:cxn>
                <a:cxn ang="0">
                  <a:pos x="418" y="349"/>
                </a:cxn>
                <a:cxn ang="0">
                  <a:pos x="300" y="0"/>
                </a:cxn>
                <a:cxn ang="0">
                  <a:pos x="0" y="229"/>
                </a:cxn>
                <a:cxn ang="0">
                  <a:pos x="40" y="349"/>
                </a:cxn>
                <a:cxn ang="0">
                  <a:pos x="36" y="387"/>
                </a:cxn>
              </a:cxnLst>
              <a:rect l="0" t="0" r="r" b="b"/>
              <a:pathLst>
                <a:path w="418" h="478">
                  <a:moveTo>
                    <a:pt x="36" y="387"/>
                  </a:moveTo>
                  <a:cubicBezTo>
                    <a:pt x="403" y="478"/>
                    <a:pt x="403" y="478"/>
                    <a:pt x="403" y="478"/>
                  </a:cubicBezTo>
                  <a:cubicBezTo>
                    <a:pt x="413" y="436"/>
                    <a:pt x="418" y="393"/>
                    <a:pt x="418" y="349"/>
                  </a:cubicBezTo>
                  <a:cubicBezTo>
                    <a:pt x="418" y="217"/>
                    <a:pt x="374" y="96"/>
                    <a:pt x="300" y="0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25" y="263"/>
                    <a:pt x="40" y="304"/>
                    <a:pt x="40" y="349"/>
                  </a:cubicBezTo>
                  <a:cubicBezTo>
                    <a:pt x="40" y="362"/>
                    <a:pt x="39" y="374"/>
                    <a:pt x="36" y="38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16" name="出自【趣你的PPT】(微信:qunideppt)：最优质的PPT资源库"/>
            <p:cNvSpPr/>
            <p:nvPr/>
          </p:nvSpPr>
          <p:spPr>
            <a:xfrm>
              <a:off x="6576068" y="3064213"/>
              <a:ext cx="416758" cy="44770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/>
                  <a:cs typeface="Arial" pitchFamily="34" charset="0"/>
                </a:rPr>
                <a:t>2</a:t>
              </a:r>
            </a:p>
          </p:txBody>
        </p:sp>
      </p:grp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4467979" y="3548398"/>
            <a:ext cx="1454160" cy="1456809"/>
            <a:chOff x="3772520" y="3695324"/>
            <a:chExt cx="1454160" cy="1456809"/>
          </a:xfrm>
          <a:solidFill>
            <a:srgbClr val="C00000"/>
          </a:solidFill>
        </p:grpSpPr>
        <p:sp>
          <p:nvSpPr>
            <p:cNvPr id="1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72520" y="3695324"/>
              <a:ext cx="1454160" cy="1456809"/>
            </a:xfrm>
            <a:custGeom>
              <a:avLst/>
              <a:gdLst/>
              <a:ahLst/>
              <a:cxnLst>
                <a:cxn ang="0">
                  <a:pos x="367" y="0"/>
                </a:cxn>
                <a:cxn ang="0">
                  <a:pos x="0" y="89"/>
                </a:cxn>
                <a:cxn ang="0">
                  <a:pos x="302" y="466"/>
                </a:cxn>
                <a:cxn ang="0">
                  <a:pos x="465" y="125"/>
                </a:cxn>
                <a:cxn ang="0">
                  <a:pos x="367" y="0"/>
                </a:cxn>
              </a:cxnLst>
              <a:rect l="0" t="0" r="r" b="b"/>
              <a:pathLst>
                <a:path w="465" h="466">
                  <a:moveTo>
                    <a:pt x="367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40" y="255"/>
                    <a:pt x="153" y="392"/>
                    <a:pt x="302" y="466"/>
                  </a:cubicBezTo>
                  <a:cubicBezTo>
                    <a:pt x="465" y="125"/>
                    <a:pt x="465" y="125"/>
                    <a:pt x="465" y="125"/>
                  </a:cubicBezTo>
                  <a:cubicBezTo>
                    <a:pt x="417" y="99"/>
                    <a:pt x="381" y="54"/>
                    <a:pt x="367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/>
            <p:nvPr/>
          </p:nvSpPr>
          <p:spPr>
            <a:xfrm>
              <a:off x="4354508" y="4048103"/>
              <a:ext cx="402202" cy="52322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/>
                </a:rPr>
                <a:t>5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0" name="Group 19出自【趣你的PPT】(微信:qunideppt)：最优质的PPT资源库"/>
          <p:cNvGrpSpPr/>
          <p:nvPr/>
        </p:nvGrpSpPr>
        <p:grpSpPr>
          <a:xfrm>
            <a:off x="6494267" y="3551046"/>
            <a:ext cx="1464756" cy="1467404"/>
            <a:chOff x="5798808" y="3697972"/>
            <a:chExt cx="1464756" cy="1467404"/>
          </a:xfrm>
          <a:solidFill>
            <a:srgbClr val="C00000"/>
          </a:solidFill>
        </p:grpSpPr>
        <p:sp>
          <p:nvSpPr>
            <p:cNvPr id="2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798808" y="3697972"/>
              <a:ext cx="1464756" cy="1467404"/>
            </a:xfrm>
            <a:custGeom>
              <a:avLst/>
              <a:gdLst/>
              <a:ahLst/>
              <a:cxnLst>
                <a:cxn ang="0">
                  <a:pos x="0" y="127"/>
                </a:cxn>
                <a:cxn ang="0">
                  <a:pos x="161" y="469"/>
                </a:cxn>
                <a:cxn ang="0">
                  <a:pos x="468" y="92"/>
                </a:cxn>
                <a:cxn ang="0">
                  <a:pos x="102" y="0"/>
                </a:cxn>
                <a:cxn ang="0">
                  <a:pos x="0" y="127"/>
                </a:cxn>
              </a:cxnLst>
              <a:rect l="0" t="0" r="r" b="b"/>
              <a:pathLst>
                <a:path w="468" h="469">
                  <a:moveTo>
                    <a:pt x="0" y="127"/>
                  </a:moveTo>
                  <a:cubicBezTo>
                    <a:pt x="161" y="469"/>
                    <a:pt x="161" y="469"/>
                    <a:pt x="161" y="469"/>
                  </a:cubicBezTo>
                  <a:cubicBezTo>
                    <a:pt x="312" y="396"/>
                    <a:pt x="426" y="258"/>
                    <a:pt x="468" y="92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7" y="56"/>
                    <a:pt x="50" y="101"/>
                    <a:pt x="0" y="12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22" name="出自【趣你的PPT】(微信:qunideppt)：最优质的PPT资源库"/>
            <p:cNvSpPr/>
            <p:nvPr/>
          </p:nvSpPr>
          <p:spPr>
            <a:xfrm>
              <a:off x="6332605" y="4094217"/>
              <a:ext cx="234118" cy="447709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sz="2800" kern="0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23" name="Group 22出自【趣你的PPT】(微信:qunideppt)：最优质的PPT资源库"/>
          <p:cNvGrpSpPr/>
          <p:nvPr/>
        </p:nvGrpSpPr>
        <p:grpSpPr>
          <a:xfrm>
            <a:off x="5444040" y="3957629"/>
            <a:ext cx="1520379" cy="1238288"/>
            <a:chOff x="4748581" y="4104555"/>
            <a:chExt cx="1520379" cy="1238288"/>
          </a:xfrm>
          <a:solidFill>
            <a:srgbClr val="C00000"/>
          </a:solidFill>
        </p:grpSpPr>
        <p:sp>
          <p:nvSpPr>
            <p:cNvPr id="2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748581" y="4104555"/>
              <a:ext cx="1520379" cy="1238288"/>
            </a:xfrm>
            <a:custGeom>
              <a:avLst/>
              <a:gdLst/>
              <a:ahLst/>
              <a:cxnLst>
                <a:cxn ang="0">
                  <a:pos x="163" y="0"/>
                </a:cxn>
                <a:cxn ang="0">
                  <a:pos x="0" y="341"/>
                </a:cxn>
                <a:cxn ang="0">
                  <a:pos x="247" y="396"/>
                </a:cxn>
                <a:cxn ang="0">
                  <a:pos x="486" y="344"/>
                </a:cxn>
                <a:cxn ang="0">
                  <a:pos x="325" y="2"/>
                </a:cxn>
                <a:cxn ang="0">
                  <a:pos x="247" y="18"/>
                </a:cxn>
                <a:cxn ang="0">
                  <a:pos x="163" y="0"/>
                </a:cxn>
              </a:cxnLst>
              <a:rect l="0" t="0" r="r" b="b"/>
              <a:pathLst>
                <a:path w="486" h="396">
                  <a:moveTo>
                    <a:pt x="163" y="0"/>
                  </a:moveTo>
                  <a:cubicBezTo>
                    <a:pt x="0" y="341"/>
                    <a:pt x="0" y="341"/>
                    <a:pt x="0" y="341"/>
                  </a:cubicBezTo>
                  <a:cubicBezTo>
                    <a:pt x="75" y="376"/>
                    <a:pt x="158" y="396"/>
                    <a:pt x="247" y="396"/>
                  </a:cubicBezTo>
                  <a:cubicBezTo>
                    <a:pt x="332" y="396"/>
                    <a:pt x="413" y="377"/>
                    <a:pt x="486" y="344"/>
                  </a:cubicBezTo>
                  <a:cubicBezTo>
                    <a:pt x="325" y="2"/>
                    <a:pt x="325" y="2"/>
                    <a:pt x="325" y="2"/>
                  </a:cubicBezTo>
                  <a:cubicBezTo>
                    <a:pt x="301" y="12"/>
                    <a:pt x="274" y="18"/>
                    <a:pt x="247" y="18"/>
                  </a:cubicBezTo>
                  <a:cubicBezTo>
                    <a:pt x="217" y="18"/>
                    <a:pt x="189" y="11"/>
                    <a:pt x="163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25" name="出自【趣你的PPT】(微信:qunideppt)：最优质的PPT资源库"/>
            <p:cNvSpPr/>
            <p:nvPr/>
          </p:nvSpPr>
          <p:spPr>
            <a:xfrm>
              <a:off x="5329447" y="4467010"/>
              <a:ext cx="219441" cy="44770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/>
                </a:rPr>
                <a:t>4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6" name="Group 25出自【趣你的PPT】(微信:qunideppt)：最优质的PPT资源库"/>
          <p:cNvGrpSpPr/>
          <p:nvPr/>
        </p:nvGrpSpPr>
        <p:grpSpPr>
          <a:xfrm>
            <a:off x="4415004" y="2315408"/>
            <a:ext cx="1300533" cy="1476674"/>
            <a:chOff x="3719545" y="2462334"/>
            <a:chExt cx="1300533" cy="1476674"/>
          </a:xfrm>
          <a:solidFill>
            <a:srgbClr val="C00000"/>
          </a:solidFill>
        </p:grpSpPr>
        <p:sp>
          <p:nvSpPr>
            <p:cNvPr id="2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19545" y="2462334"/>
              <a:ext cx="1300533" cy="1476674"/>
            </a:xfrm>
            <a:custGeom>
              <a:avLst/>
              <a:gdLst/>
              <a:ahLst/>
              <a:cxnLst>
                <a:cxn ang="0">
                  <a:pos x="416" y="229"/>
                </a:cxn>
                <a:cxn ang="0">
                  <a:pos x="116" y="0"/>
                </a:cxn>
                <a:cxn ang="0">
                  <a:pos x="0" y="346"/>
                </a:cxn>
                <a:cxn ang="0">
                  <a:pos x="14" y="472"/>
                </a:cxn>
                <a:cxn ang="0">
                  <a:pos x="382" y="382"/>
                </a:cxn>
                <a:cxn ang="0">
                  <a:pos x="378" y="346"/>
                </a:cxn>
                <a:cxn ang="0">
                  <a:pos x="416" y="229"/>
                </a:cxn>
              </a:cxnLst>
              <a:rect l="0" t="0" r="r" b="b"/>
              <a:pathLst>
                <a:path w="416" h="472">
                  <a:moveTo>
                    <a:pt x="416" y="229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43" y="96"/>
                    <a:pt x="0" y="216"/>
                    <a:pt x="0" y="346"/>
                  </a:cubicBezTo>
                  <a:cubicBezTo>
                    <a:pt x="0" y="389"/>
                    <a:pt x="5" y="431"/>
                    <a:pt x="14" y="472"/>
                  </a:cubicBezTo>
                  <a:cubicBezTo>
                    <a:pt x="382" y="382"/>
                    <a:pt x="382" y="382"/>
                    <a:pt x="382" y="382"/>
                  </a:cubicBezTo>
                  <a:cubicBezTo>
                    <a:pt x="379" y="370"/>
                    <a:pt x="378" y="358"/>
                    <a:pt x="378" y="346"/>
                  </a:cubicBezTo>
                  <a:cubicBezTo>
                    <a:pt x="378" y="302"/>
                    <a:pt x="392" y="262"/>
                    <a:pt x="416" y="229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28" name="出自【趣你的PPT】(微信:qunideppt)：最优质的PPT资源库"/>
            <p:cNvSpPr/>
            <p:nvPr/>
          </p:nvSpPr>
          <p:spPr>
            <a:xfrm>
              <a:off x="4027413" y="3090047"/>
              <a:ext cx="380979" cy="44770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微软雅黑"/>
                </a:rPr>
                <a:t>6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9" name="Group 28出自【趣你的PPT】(微信:qunideppt)：最优质的PPT资源库"/>
          <p:cNvGrpSpPr/>
          <p:nvPr/>
        </p:nvGrpSpPr>
        <p:grpSpPr>
          <a:xfrm>
            <a:off x="7033779" y="1586749"/>
            <a:ext cx="2218018" cy="203752"/>
            <a:chOff x="6338320" y="1733675"/>
            <a:chExt cx="2218018" cy="203752"/>
          </a:xfrm>
        </p:grpSpPr>
        <p:cxnSp>
          <p:nvCxnSpPr>
            <p:cNvPr id="30" name="出自【趣你的PPT】(微信:qunideppt)：最优质的PPT资源库"/>
            <p:cNvCxnSpPr/>
            <p:nvPr/>
          </p:nvCxnSpPr>
          <p:spPr>
            <a:xfrm flipV="1">
              <a:off x="6338320" y="1733675"/>
              <a:ext cx="317765" cy="203752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出自【趣你的PPT】(微信:qunideppt)：最优质的PPT资源库"/>
            <p:cNvCxnSpPr/>
            <p:nvPr/>
          </p:nvCxnSpPr>
          <p:spPr>
            <a:xfrm>
              <a:off x="6653704" y="1736579"/>
              <a:ext cx="1902634" cy="17506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出自【趣你的PPT】(微信:qunideppt)：最优质的PPT资源库"/>
          <p:cNvGrpSpPr/>
          <p:nvPr/>
        </p:nvGrpSpPr>
        <p:grpSpPr>
          <a:xfrm>
            <a:off x="2831243" y="1588655"/>
            <a:ext cx="2654842" cy="266234"/>
            <a:chOff x="2135784" y="1735581"/>
            <a:chExt cx="2654842" cy="266234"/>
          </a:xfrm>
        </p:grpSpPr>
        <p:cxnSp>
          <p:nvCxnSpPr>
            <p:cNvPr id="33" name="出自【趣你的PPT】(微信:qunideppt)：最优质的PPT资源库"/>
            <p:cNvCxnSpPr/>
            <p:nvPr/>
          </p:nvCxnSpPr>
          <p:spPr>
            <a:xfrm flipH="1" flipV="1">
              <a:off x="4309342" y="1735581"/>
              <a:ext cx="481284" cy="266234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出自【趣你的PPT】(微信:qunideppt)：最优质的PPT资源库"/>
            <p:cNvCxnSpPr/>
            <p:nvPr/>
          </p:nvCxnSpPr>
          <p:spPr>
            <a:xfrm flipV="1">
              <a:off x="2135784" y="1736579"/>
              <a:ext cx="2173558" cy="1905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出自【趣你的PPT】(微信:qunideppt)：最优质的PPT资源库"/>
          <p:cNvSpPr/>
          <p:nvPr/>
        </p:nvSpPr>
        <p:spPr>
          <a:xfrm>
            <a:off x="2927931" y="1253650"/>
            <a:ext cx="17235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计划</a:t>
            </a:r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管理</a:t>
            </a:r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，</a:t>
            </a:r>
            <a:endParaRPr lang="en-US" altLang="zh-CN" sz="2000" b="1" dirty="0">
              <a:solidFill>
                <a:schemeClr val="tx1">
                  <a:lumMod val="50000"/>
                  <a:lumOff val="50000"/>
                </a:schemeClr>
              </a:solidFill>
              <a:ea typeface="微软雅黑"/>
            </a:endParaRPr>
          </a:p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保障生产</a:t>
            </a:r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运营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出自【趣你的PPT】(微信:qunideppt)：最优质的PPT资源库"/>
          <p:cNvSpPr/>
          <p:nvPr/>
        </p:nvSpPr>
        <p:spPr>
          <a:xfrm>
            <a:off x="7425461" y="1253216"/>
            <a:ext cx="17235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建章立制，</a:t>
            </a:r>
            <a:endParaRPr lang="en-US" altLang="zh-CN" sz="2000" b="1" dirty="0">
              <a:solidFill>
                <a:schemeClr val="tx1">
                  <a:lumMod val="50000"/>
                  <a:lumOff val="50000"/>
                </a:schemeClr>
              </a:solidFill>
              <a:ea typeface="微软雅黑"/>
            </a:endParaRPr>
          </a:p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工作有章可循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37" name="出自【趣你的PPT】(微信:qunideppt)：最优质的PPT资源库"/>
          <p:cNvCxnSpPr>
            <a:endCxn id="38" idx="3"/>
          </p:cNvCxnSpPr>
          <p:nvPr/>
        </p:nvCxnSpPr>
        <p:spPr>
          <a:xfrm>
            <a:off x="7898063" y="3004081"/>
            <a:ext cx="1944621" cy="12759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出自【趣你的PPT】(微信:qunideppt)：最优质的PPT资源库"/>
          <p:cNvSpPr/>
          <p:nvPr/>
        </p:nvSpPr>
        <p:spPr>
          <a:xfrm>
            <a:off x="8119135" y="2662897"/>
            <a:ext cx="17235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强化学习，</a:t>
            </a:r>
            <a:endParaRPr lang="en-US" altLang="zh-CN" sz="2000" b="1" dirty="0">
              <a:solidFill>
                <a:schemeClr val="tx1">
                  <a:lumMod val="50000"/>
                  <a:lumOff val="50000"/>
                </a:schemeClr>
              </a:solidFill>
              <a:ea typeface="微软雅黑"/>
            </a:endParaRPr>
          </a:p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加强队伍建设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9" name="Group 38出自【趣你的PPT】(微信:qunideppt)：最优质的PPT资源库"/>
          <p:cNvGrpSpPr/>
          <p:nvPr/>
        </p:nvGrpSpPr>
        <p:grpSpPr>
          <a:xfrm>
            <a:off x="7678125" y="4422940"/>
            <a:ext cx="2670174" cy="266914"/>
            <a:chOff x="6982666" y="4569866"/>
            <a:chExt cx="2670174" cy="266914"/>
          </a:xfrm>
        </p:grpSpPr>
        <p:cxnSp>
          <p:nvCxnSpPr>
            <p:cNvPr id="40" name="出自【趣你的PPT】(微信:qunideppt)：最优质的PPT资源库"/>
            <p:cNvCxnSpPr/>
            <p:nvPr/>
          </p:nvCxnSpPr>
          <p:spPr>
            <a:xfrm>
              <a:off x="6982666" y="4569866"/>
              <a:ext cx="255498" cy="266914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出自【趣你的PPT】(微信:qunideppt)：最优质的PPT资源库"/>
            <p:cNvCxnSpPr>
              <a:endCxn id="42" idx="3"/>
            </p:cNvCxnSpPr>
            <p:nvPr/>
          </p:nvCxnSpPr>
          <p:spPr>
            <a:xfrm>
              <a:off x="7951661" y="4697058"/>
              <a:ext cx="1701179" cy="8413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出自【趣你的PPT】(微信:qunideppt)：最优质的PPT资源库"/>
          <p:cNvSpPr/>
          <p:nvPr/>
        </p:nvSpPr>
        <p:spPr>
          <a:xfrm>
            <a:off x="7929291" y="4351528"/>
            <a:ext cx="17235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抓</a:t>
            </a:r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根本，</a:t>
            </a:r>
            <a:endParaRPr lang="en-US" altLang="zh-CN" sz="2000" b="1" dirty="0">
              <a:solidFill>
                <a:schemeClr val="tx1">
                  <a:lumMod val="50000"/>
                  <a:lumOff val="50000"/>
                </a:schemeClr>
              </a:solidFill>
              <a:ea typeface="微软雅黑"/>
            </a:endParaRPr>
          </a:p>
          <a:p>
            <a:pPr algn="ctr"/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深化</a:t>
            </a:r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基础工作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43" name="出自【趣你的PPT】(微信:qunideppt)：最优质的PPT资源库"/>
          <p:cNvCxnSpPr/>
          <p:nvPr/>
        </p:nvCxnSpPr>
        <p:spPr>
          <a:xfrm>
            <a:off x="2255179" y="3005897"/>
            <a:ext cx="2287978" cy="403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出自【趣你的PPT】(微信:qunideppt)：最优质的PPT资源库"/>
          <p:cNvSpPr/>
          <p:nvPr/>
        </p:nvSpPr>
        <p:spPr>
          <a:xfrm>
            <a:off x="2369452" y="2651954"/>
            <a:ext cx="17235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积极沟通，</a:t>
            </a:r>
            <a:endParaRPr lang="en-US" altLang="zh-CN" sz="2000" b="1" dirty="0">
              <a:solidFill>
                <a:schemeClr val="tx1">
                  <a:lumMod val="50000"/>
                  <a:lumOff val="50000"/>
                </a:schemeClr>
              </a:solidFill>
              <a:ea typeface="微软雅黑"/>
            </a:endParaRPr>
          </a:p>
          <a:p>
            <a:pPr algn="ctr"/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维护企业利益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45" name="Group 44出自【趣你的PPT】(微信:qunideppt)：最优质的PPT资源库"/>
          <p:cNvGrpSpPr/>
          <p:nvPr/>
        </p:nvGrpSpPr>
        <p:grpSpPr>
          <a:xfrm>
            <a:off x="2255179" y="4388722"/>
            <a:ext cx="2448272" cy="316749"/>
            <a:chOff x="1559720" y="4535648"/>
            <a:chExt cx="2448272" cy="316749"/>
          </a:xfrm>
        </p:grpSpPr>
        <p:cxnSp>
          <p:nvCxnSpPr>
            <p:cNvPr id="46" name="出自【趣你的PPT】(微信:qunideppt)：最优质的PPT资源库"/>
            <p:cNvCxnSpPr/>
            <p:nvPr/>
          </p:nvCxnSpPr>
          <p:spPr>
            <a:xfrm flipV="1">
              <a:off x="3911199" y="4535648"/>
              <a:ext cx="96793" cy="304526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出自【趣你的PPT】(微信:qunideppt)：最优质的PPT资源库"/>
            <p:cNvCxnSpPr/>
            <p:nvPr/>
          </p:nvCxnSpPr>
          <p:spPr>
            <a:xfrm flipV="1">
              <a:off x="1559720" y="4843077"/>
              <a:ext cx="2356014" cy="932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出自【趣你的PPT】(微信:qunideppt)：最优质的PPT资源库"/>
          <p:cNvSpPr/>
          <p:nvPr/>
        </p:nvSpPr>
        <p:spPr>
          <a:xfrm>
            <a:off x="2322925" y="4353244"/>
            <a:ext cx="22365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做好自查整改工作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出自【趣你的PPT】(微信:qunideppt)：最优质的PPT资源库"/>
          <p:cNvSpPr/>
          <p:nvPr/>
        </p:nvSpPr>
        <p:spPr>
          <a:xfrm>
            <a:off x="4951461" y="5485122"/>
            <a:ext cx="25250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严格管理</a:t>
            </a:r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     </a:t>
            </a:r>
            <a:r>
              <a:rPr lang="zh-CN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ea typeface="微软雅黑"/>
              </a:rPr>
              <a:t>规避风险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50" name="Group 49出自【趣你的PPT】(微信:qunideppt)：最优质的PPT资源库"/>
          <p:cNvGrpSpPr/>
          <p:nvPr/>
        </p:nvGrpSpPr>
        <p:grpSpPr>
          <a:xfrm>
            <a:off x="4913361" y="5094952"/>
            <a:ext cx="2566545" cy="780340"/>
            <a:chOff x="4217902" y="5241878"/>
            <a:chExt cx="2566545" cy="780340"/>
          </a:xfrm>
        </p:grpSpPr>
        <p:cxnSp>
          <p:nvCxnSpPr>
            <p:cNvPr id="51" name="出自【趣你的PPT】(微信:qunideppt)：最优质的PPT资源库"/>
            <p:cNvCxnSpPr/>
            <p:nvPr/>
          </p:nvCxnSpPr>
          <p:spPr>
            <a:xfrm>
              <a:off x="5511675" y="5241878"/>
              <a:ext cx="8003" cy="78034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出自【趣你的PPT】(微信:qunideppt)：最优质的PPT资源库"/>
            <p:cNvCxnSpPr/>
            <p:nvPr/>
          </p:nvCxnSpPr>
          <p:spPr>
            <a:xfrm>
              <a:off x="4217902" y="5993643"/>
              <a:ext cx="2566545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出自【趣你的PPT】(微信:qunideppt)：最优质的PPT资源库"/>
          <p:cNvGrpSpPr/>
          <p:nvPr/>
        </p:nvGrpSpPr>
        <p:grpSpPr>
          <a:xfrm>
            <a:off x="5687946" y="2893508"/>
            <a:ext cx="1038376" cy="1038374"/>
            <a:chOff x="4992487" y="3040434"/>
            <a:chExt cx="1038376" cy="1038374"/>
          </a:xfrm>
        </p:grpSpPr>
        <p:sp>
          <p:nvSpPr>
            <p:cNvPr id="5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992487" y="3040434"/>
              <a:ext cx="1038376" cy="1038374"/>
            </a:xfrm>
            <a:custGeom>
              <a:avLst/>
              <a:gdLst/>
              <a:ahLst/>
              <a:cxnLst>
                <a:cxn ang="0">
                  <a:pos x="328" y="425"/>
                </a:cxn>
                <a:cxn ang="0">
                  <a:pos x="450" y="225"/>
                </a:cxn>
                <a:cxn ang="0">
                  <a:pos x="225" y="0"/>
                </a:cxn>
                <a:cxn ang="0">
                  <a:pos x="0" y="225"/>
                </a:cxn>
                <a:cxn ang="0">
                  <a:pos x="121" y="424"/>
                </a:cxn>
                <a:cxn ang="0">
                  <a:pos x="225" y="450"/>
                </a:cxn>
                <a:cxn ang="0">
                  <a:pos x="328" y="425"/>
                </a:cxn>
              </a:cxnLst>
              <a:rect l="0" t="0" r="r" b="b"/>
              <a:pathLst>
                <a:path w="450" h="450">
                  <a:moveTo>
                    <a:pt x="328" y="425"/>
                  </a:moveTo>
                  <a:cubicBezTo>
                    <a:pt x="401" y="387"/>
                    <a:pt x="450" y="312"/>
                    <a:pt x="450" y="225"/>
                  </a:cubicBezTo>
                  <a:cubicBezTo>
                    <a:pt x="450" y="101"/>
                    <a:pt x="349" y="0"/>
                    <a:pt x="225" y="0"/>
                  </a:cubicBezTo>
                  <a:cubicBezTo>
                    <a:pt x="101" y="0"/>
                    <a:pt x="0" y="101"/>
                    <a:pt x="0" y="225"/>
                  </a:cubicBezTo>
                  <a:cubicBezTo>
                    <a:pt x="0" y="312"/>
                    <a:pt x="49" y="387"/>
                    <a:pt x="121" y="424"/>
                  </a:cubicBezTo>
                  <a:cubicBezTo>
                    <a:pt x="152" y="441"/>
                    <a:pt x="188" y="450"/>
                    <a:pt x="225" y="450"/>
                  </a:cubicBezTo>
                  <a:cubicBezTo>
                    <a:pt x="262" y="450"/>
                    <a:pt x="297" y="441"/>
                    <a:pt x="328" y="42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kern="0" dirty="0">
                <a:solidFill>
                  <a:schemeClr val="bg1"/>
                </a:solidFill>
              </a:endParaRPr>
            </a:p>
          </p:txBody>
        </p:sp>
        <p:sp>
          <p:nvSpPr>
            <p:cNvPr id="55" name="出自【趣你的PPT】(微信:qunideppt)：最优质的PPT资源库"/>
            <p:cNvSpPr/>
            <p:nvPr/>
          </p:nvSpPr>
          <p:spPr>
            <a:xfrm>
              <a:off x="5119569" y="3151007"/>
              <a:ext cx="800219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ea typeface="微软雅黑"/>
                </a:rPr>
                <a:t>工作</a:t>
              </a:r>
              <a:endParaRPr kumimoji="0" lang="en-US" altLang="zh-CN" sz="2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微软雅黑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ea typeface="微软雅黑"/>
                </a:rPr>
                <a:t>内容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5075618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3" presetClass="entr" presetSubtype="3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3" fill="hold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2" fill="hold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6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6" fill="hold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20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21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" presetClass="entr" presetSubtype="4" fill="hold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24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25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8" fill="hold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2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2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0" presetID="2" presetClass="entr" presetSubtype="9" fill="hold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3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3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4" presetID="2" presetClass="entr" presetSubtype="12" fill="hold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36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37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39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1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43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5" dur="25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47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9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25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8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59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1" dur="2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2" fill="hold">
                                <p:stCondLst>
                                  <p:cond delay="3975"/>
                                </p:stCondLst>
                                <p:childTnLst>
                                  <p:par>
                                    <p:cTn id="63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5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6" fill="hold">
                                <p:stCondLst>
                                  <p:cond delay="4475"/>
                                </p:stCondLst>
                                <p:childTnLst>
                                  <p:par>
                                    <p:cTn id="67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9" dur="25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0" fill="hold">
                                <p:stCondLst>
                                  <p:cond delay="4900"/>
                                </p:stCondLst>
                                <p:childTnLst>
                                  <p:par>
                                    <p:cTn id="71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3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5400"/>
                                </p:stCondLst>
                                <p:childTnLst>
                                  <p:par>
                                    <p:cTn id="7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7" dur="25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8" fill="hold">
                                <p:stCondLst>
                                  <p:cond delay="5825"/>
                                </p:stCondLst>
                                <p:childTnLst>
                                  <p:par>
                                    <p:cTn id="79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81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6325"/>
                                </p:stCondLst>
                                <p:childTnLst>
                                  <p:par>
                                    <p:cTn id="83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5" dur="2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6" fill="hold">
                                <p:stCondLst>
                                  <p:cond delay="6825"/>
                                </p:stCondLst>
                                <p:childTnLst>
                                  <p:par>
                                    <p:cTn id="87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89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0" fill="hold">
                                <p:stCondLst>
                                  <p:cond delay="7325"/>
                                </p:stCondLst>
                                <p:childTnLst>
                                  <p:par>
                                    <p:cTn id="9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9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3" dur="25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5" grpId="0"/>
          <p:bldP spid="36" grpId="0"/>
          <p:bldP spid="38" grpId="0"/>
          <p:bldP spid="42" grpId="0"/>
          <p:bldP spid="44" grpId="0"/>
          <p:bldP spid="48" grpId="0"/>
          <p:bldP spid="4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3" presetClass="entr" presetSubtype="3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*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4*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3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4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0" presetID="2" presetClass="entr" presetSubtype="9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3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4" presetID="2" presetClass="entr" presetSubtype="1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6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7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39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1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43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5" dur="25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47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9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5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25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8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59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1" dur="2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2" fill="hold">
                                <p:stCondLst>
                                  <p:cond delay="3975"/>
                                </p:stCondLst>
                                <p:childTnLst>
                                  <p:par>
                                    <p:cTn id="63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5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6" fill="hold">
                                <p:stCondLst>
                                  <p:cond delay="4475"/>
                                </p:stCondLst>
                                <p:childTnLst>
                                  <p:par>
                                    <p:cTn id="67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9" dur="25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0" fill="hold">
                                <p:stCondLst>
                                  <p:cond delay="4900"/>
                                </p:stCondLst>
                                <p:childTnLst>
                                  <p:par>
                                    <p:cTn id="71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3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5400"/>
                                </p:stCondLst>
                                <p:childTnLst>
                                  <p:par>
                                    <p:cTn id="7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7" dur="25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8" fill="hold">
                                <p:stCondLst>
                                  <p:cond delay="5825"/>
                                </p:stCondLst>
                                <p:childTnLst>
                                  <p:par>
                                    <p:cTn id="79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81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6325"/>
                                </p:stCondLst>
                                <p:childTnLst>
                                  <p:par>
                                    <p:cTn id="83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5" dur="2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6" fill="hold">
                                <p:stCondLst>
                                  <p:cond delay="6825"/>
                                </p:stCondLst>
                                <p:childTnLst>
                                  <p:par>
                                    <p:cTn id="87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89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0" fill="hold">
                                <p:stCondLst>
                                  <p:cond delay="7325"/>
                                </p:stCondLst>
                                <p:childTnLst>
                                  <p:par>
                                    <p:cTn id="91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9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3" dur="25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5" grpId="0"/>
          <p:bldP spid="36" grpId="0"/>
          <p:bldP spid="38" grpId="0"/>
          <p:bldP spid="42" grpId="0"/>
          <p:bldP spid="44" grpId="0"/>
          <p:bldP spid="48" grpId="0"/>
          <p:bldP spid="49" grpId="0"/>
        </p:bldLst>
      </p:timing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3653621" y="1583312"/>
            <a:ext cx="4981014" cy="3774776"/>
            <a:chOff x="3448483" y="1484838"/>
            <a:chExt cx="4981014" cy="3774776"/>
          </a:xfrm>
        </p:grpSpPr>
        <p:sp>
          <p:nvSpPr>
            <p:cNvPr id="8" name="出自【趣你的PPT】(微信:qunideppt)：最优质的PPT资源库"/>
            <p:cNvSpPr>
              <a:spLocks/>
            </p:cNvSpPr>
            <p:nvPr/>
          </p:nvSpPr>
          <p:spPr bwMode="blackWhite">
            <a:xfrm>
              <a:off x="5100560" y="1994888"/>
              <a:ext cx="1592188" cy="3264726"/>
            </a:xfrm>
            <a:custGeom>
              <a:avLst/>
              <a:gdLst>
                <a:gd name="T0" fmla="*/ 432 w 865"/>
                <a:gd name="T1" fmla="*/ 0 h 1828"/>
                <a:gd name="T2" fmla="*/ 561 w 865"/>
                <a:gd name="T3" fmla="*/ 828 h 1828"/>
                <a:gd name="T4" fmla="*/ 561 w 865"/>
                <a:gd name="T5" fmla="*/ 1539 h 1828"/>
                <a:gd name="T6" fmla="*/ 648 w 865"/>
                <a:gd name="T7" fmla="*/ 1539 h 1828"/>
                <a:gd name="T8" fmla="*/ 864 w 865"/>
                <a:gd name="T9" fmla="*/ 1658 h 1828"/>
                <a:gd name="T10" fmla="*/ 864 w 865"/>
                <a:gd name="T11" fmla="*/ 1827 h 1828"/>
                <a:gd name="T12" fmla="*/ 0 w 865"/>
                <a:gd name="T13" fmla="*/ 1827 h 1828"/>
                <a:gd name="T14" fmla="*/ 0 w 865"/>
                <a:gd name="T15" fmla="*/ 1674 h 1828"/>
                <a:gd name="T16" fmla="*/ 172 w 865"/>
                <a:gd name="T17" fmla="*/ 1556 h 1828"/>
                <a:gd name="T18" fmla="*/ 273 w 865"/>
                <a:gd name="T19" fmla="*/ 1556 h 1828"/>
                <a:gd name="T20" fmla="*/ 273 w 865"/>
                <a:gd name="T21" fmla="*/ 828 h 1828"/>
                <a:gd name="T22" fmla="*/ 432 w 865"/>
                <a:gd name="T2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5" h="1828">
                  <a:moveTo>
                    <a:pt x="432" y="0"/>
                  </a:moveTo>
                  <a:lnTo>
                    <a:pt x="561" y="828"/>
                  </a:lnTo>
                  <a:lnTo>
                    <a:pt x="561" y="1539"/>
                  </a:lnTo>
                  <a:lnTo>
                    <a:pt x="648" y="1539"/>
                  </a:lnTo>
                  <a:lnTo>
                    <a:pt x="864" y="1658"/>
                  </a:lnTo>
                  <a:lnTo>
                    <a:pt x="864" y="1827"/>
                  </a:lnTo>
                  <a:lnTo>
                    <a:pt x="0" y="1827"/>
                  </a:lnTo>
                  <a:lnTo>
                    <a:pt x="0" y="1674"/>
                  </a:lnTo>
                  <a:lnTo>
                    <a:pt x="172" y="1556"/>
                  </a:lnTo>
                  <a:lnTo>
                    <a:pt x="273" y="1556"/>
                  </a:lnTo>
                  <a:lnTo>
                    <a:pt x="273" y="828"/>
                  </a:lnTo>
                  <a:lnTo>
                    <a:pt x="432" y="0"/>
                  </a:lnTo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100" b="1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9" name="出自【趣你的PPT】(微信:qunideppt)：最优质的PPT资源库"/>
            <p:cNvSpPr>
              <a:spLocks/>
            </p:cNvSpPr>
            <p:nvPr/>
          </p:nvSpPr>
          <p:spPr bwMode="blackWhite">
            <a:xfrm>
              <a:off x="4082468" y="1484838"/>
              <a:ext cx="3756411" cy="1408313"/>
            </a:xfrm>
            <a:custGeom>
              <a:avLst/>
              <a:gdLst>
                <a:gd name="T0" fmla="*/ 0 w 2042"/>
                <a:gd name="T1" fmla="*/ 788 h 789"/>
                <a:gd name="T2" fmla="*/ 2041 w 2042"/>
                <a:gd name="T3" fmla="*/ 78 h 789"/>
                <a:gd name="T4" fmla="*/ 1996 w 2042"/>
                <a:gd name="T5" fmla="*/ 0 h 789"/>
                <a:gd name="T6" fmla="*/ 985 w 2042"/>
                <a:gd name="T7" fmla="*/ 178 h 789"/>
                <a:gd name="T8" fmla="*/ 834 w 2042"/>
                <a:gd name="T9" fmla="*/ 230 h 789"/>
                <a:gd name="T10" fmla="*/ 8 w 2042"/>
                <a:gd name="T11" fmla="*/ 682 h 789"/>
                <a:gd name="T12" fmla="*/ 0 w 2042"/>
                <a:gd name="T13" fmla="*/ 78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2" h="789">
                  <a:moveTo>
                    <a:pt x="0" y="788"/>
                  </a:moveTo>
                  <a:lnTo>
                    <a:pt x="2041" y="78"/>
                  </a:lnTo>
                  <a:lnTo>
                    <a:pt x="1996" y="0"/>
                  </a:lnTo>
                  <a:lnTo>
                    <a:pt x="985" y="178"/>
                  </a:lnTo>
                  <a:lnTo>
                    <a:pt x="834" y="230"/>
                  </a:lnTo>
                  <a:lnTo>
                    <a:pt x="8" y="682"/>
                  </a:lnTo>
                  <a:lnTo>
                    <a:pt x="0" y="788"/>
                  </a:lnTo>
                </a:path>
              </a:pathLst>
            </a:custGeom>
            <a:solidFill>
              <a:srgbClr val="C00000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0" name="出自【趣你的PPT】(微信:qunideppt)：最优质的PPT资源库"/>
            <p:cNvSpPr>
              <a:spLocks noChangeArrowheads="1"/>
            </p:cNvSpPr>
            <p:nvPr/>
          </p:nvSpPr>
          <p:spPr bwMode="blackWhite">
            <a:xfrm>
              <a:off x="5798563" y="1949458"/>
              <a:ext cx="196183" cy="189978"/>
            </a:xfrm>
            <a:prstGeom prst="ellipse">
              <a:avLst/>
            </a:prstGeom>
            <a:solidFill>
              <a:srgbClr val="404040"/>
            </a:soli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100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1" name="出自【趣你的PPT】(微信:qunideppt)：最优质的PPT资源库"/>
            <p:cNvSpPr>
              <a:spLocks noChangeShapeType="1"/>
            </p:cNvSpPr>
            <p:nvPr/>
          </p:nvSpPr>
          <p:spPr bwMode="blackWhite">
            <a:xfrm>
              <a:off x="7712907" y="1662426"/>
              <a:ext cx="675287" cy="1621006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chemeClr val="accent3">
                  <a:lumMod val="75000"/>
                </a:schemeClr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2" name="出自【趣你的PPT】(微信:qunideppt)：最优质的PPT资源库"/>
            <p:cNvSpPr>
              <a:spLocks noChangeShapeType="1"/>
            </p:cNvSpPr>
            <p:nvPr/>
          </p:nvSpPr>
          <p:spPr bwMode="blackWhite">
            <a:xfrm>
              <a:off x="7698451" y="1662426"/>
              <a:ext cx="0" cy="161068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chemeClr val="accent3">
                  <a:lumMod val="75000"/>
                </a:schemeClr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3" name="出自【趣你的PPT】(微信:qunideppt)：最优质的PPT资源库"/>
            <p:cNvSpPr>
              <a:spLocks noChangeShapeType="1"/>
            </p:cNvSpPr>
            <p:nvPr/>
          </p:nvSpPr>
          <p:spPr bwMode="blackWhite">
            <a:xfrm flipH="1">
              <a:off x="6985993" y="1666556"/>
              <a:ext cx="704198" cy="156938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chemeClr val="accent3">
                  <a:lumMod val="75000"/>
                </a:schemeClr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4" name="出自【趣你的PPT】(微信:qunideppt)：最优质的PPT资源库"/>
            <p:cNvSpPr>
              <a:spLocks/>
            </p:cNvSpPr>
            <p:nvPr/>
          </p:nvSpPr>
          <p:spPr bwMode="blackWhite">
            <a:xfrm>
              <a:off x="6901325" y="3246264"/>
              <a:ext cx="1528172" cy="491464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6" name="出自【趣你的PPT】(微信:qunideppt)：最优质的PPT资源库"/>
            <p:cNvSpPr>
              <a:spLocks noChangeShapeType="1"/>
            </p:cNvSpPr>
            <p:nvPr/>
          </p:nvSpPr>
          <p:spPr bwMode="blackWhite">
            <a:xfrm>
              <a:off x="4258001" y="2825008"/>
              <a:ext cx="675286" cy="161894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F83003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7" name="出自【趣你的PPT】(微信:qunideppt)：最优质的PPT资源库"/>
            <p:cNvSpPr>
              <a:spLocks noChangeShapeType="1"/>
            </p:cNvSpPr>
            <p:nvPr/>
          </p:nvSpPr>
          <p:spPr bwMode="blackWhite">
            <a:xfrm>
              <a:off x="4247674" y="2825008"/>
              <a:ext cx="0" cy="161068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F83003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8" name="出自【趣你的PPT】(微信:qunideppt)：最优质的PPT资源库"/>
            <p:cNvSpPr>
              <a:spLocks noChangeShapeType="1"/>
            </p:cNvSpPr>
            <p:nvPr/>
          </p:nvSpPr>
          <p:spPr bwMode="blackWhite">
            <a:xfrm flipH="1">
              <a:off x="3522826" y="2827072"/>
              <a:ext cx="714524" cy="1579707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F83003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9" name="出自【趣你的PPT】(微信:qunideppt)：最优质的PPT资源库"/>
            <p:cNvSpPr>
              <a:spLocks/>
            </p:cNvSpPr>
            <p:nvPr/>
          </p:nvSpPr>
          <p:spPr bwMode="blackWhite">
            <a:xfrm>
              <a:off x="3448483" y="4406780"/>
              <a:ext cx="1528172" cy="491464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rgbClr val="F83003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93296" tIns="46648" rIns="93296" bIns="46648" anchor="ctr"/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</p:grpSp>
      <p:sp>
        <p:nvSpPr>
          <p:cNvPr id="20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1405445" y="3937384"/>
            <a:ext cx="2248176" cy="278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zh-CN" altLang="en-US" sz="1200" b="1" dirty="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单击此处添加标题</a:t>
            </a:r>
            <a:endParaRPr lang="zh-CN" altLang="en-US" dirty="0">
              <a:latin typeface="Arial" pitchFamily="34" charset="0"/>
              <a:cs typeface="宋体" pitchFamily="2" charset="-122"/>
            </a:endParaRPr>
          </a:p>
        </p:txBody>
      </p:sp>
      <p:sp>
        <p:nvSpPr>
          <p:cNvPr id="21" name="出自【趣你的PPT】(微信:qunideppt)：最优质的PPT资源库"/>
          <p:cNvSpPr txBox="1"/>
          <p:nvPr/>
        </p:nvSpPr>
        <p:spPr bwMode="auto">
          <a:xfrm>
            <a:off x="1404730" y="4358322"/>
            <a:ext cx="2321666" cy="892567"/>
          </a:xfrm>
          <a:prstGeom prst="rect">
            <a:avLst/>
          </a:prstGeom>
          <a:noFill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32962">
              <a:lnSpc>
                <a:spcPct val="150000"/>
              </a:lnSpc>
              <a:defRPr/>
            </a:pP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该原创</a:t>
            </a:r>
            <a:r>
              <a:rPr lang="en-US" altLang="zh-CN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PPT</a:t>
            </a: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模板来自公众号：趣你的</a:t>
            </a:r>
            <a:r>
              <a:rPr lang="en-US" altLang="zh-CN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PPT</a:t>
            </a: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。一不小心，就学会</a:t>
            </a:r>
            <a:r>
              <a:rPr lang="en-US" altLang="zh-CN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PPT</a:t>
            </a: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，快来加入我们。</a:t>
            </a:r>
            <a:endParaRPr lang="zh-CN" altLang="en-US" sz="1200" dirty="0"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</p:txBody>
      </p:sp>
      <p:sp>
        <p:nvSpPr>
          <p:cNvPr id="22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8788522" y="2515157"/>
            <a:ext cx="2248176" cy="278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zh-CN" altLang="en-US" sz="1200" b="1" dirty="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单击此处添加标题</a:t>
            </a:r>
          </a:p>
        </p:txBody>
      </p:sp>
      <p:sp>
        <p:nvSpPr>
          <p:cNvPr id="23" name="出自【趣你的PPT】(微信:qunideppt)：最优质的PPT资源库"/>
          <p:cNvSpPr txBox="1"/>
          <p:nvPr/>
        </p:nvSpPr>
        <p:spPr bwMode="auto">
          <a:xfrm>
            <a:off x="8700717" y="2936094"/>
            <a:ext cx="2335981" cy="925204"/>
          </a:xfrm>
          <a:prstGeom prst="rect">
            <a:avLst/>
          </a:prstGeom>
          <a:noFill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32962">
              <a:lnSpc>
                <a:spcPct val="150000"/>
              </a:lnSpc>
              <a:defRPr/>
            </a:pP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该原创</a:t>
            </a:r>
            <a:r>
              <a:rPr lang="en-US" altLang="zh-CN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PPT</a:t>
            </a: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模板来自公众号：趣你的</a:t>
            </a:r>
            <a:r>
              <a:rPr lang="en-US" altLang="zh-CN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PPT</a:t>
            </a: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。一不小心，就学会</a:t>
            </a:r>
            <a:r>
              <a:rPr lang="en-US" altLang="zh-CN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PPT</a:t>
            </a:r>
            <a:r>
              <a:rPr lang="zh-CN" altLang="en-US" sz="1200"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，快来加入我们。</a:t>
            </a:r>
            <a:endParaRPr lang="zh-CN" altLang="en-US" sz="1200" dirty="0"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52620181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 p14:presetBounceEnd="5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000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000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8" presetClass="entr" presetSubtype="0" accel="5000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50000"/>
                                      </p:iterate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set>
                                          <p:cBhvr>
                                            <p:cTn id="12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o>
                                            <p:strVal val="-45.0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227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-45"/>
                                              </p:val>
                                            </p:tav>
                                            <p:tav tm="69900">
                                              <p:val>
                                                <p:fltVal val="4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78" decel="50000" autoRev="1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-#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68" fill="hold">
                                              <p:stCondLst>
                                                <p:cond delay="432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38" presetClass="entr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50000"/>
                                      </p:iterate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set>
                                          <p:cBhvr>
                                            <p:cTn id="19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o>
                                            <p:strVal val="-45.0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227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-45"/>
                                              </p:val>
                                            </p:tav>
                                            <p:tav tm="69900">
                                              <p:val>
                                                <p:fltVal val="4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78" decel="50000" autoRev="1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-#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68" fill="hold">
                                              <p:stCondLst>
                                                <p:cond delay="432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25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 tmFilter="0,0; .5, 1; 1, 1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4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4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 tmFilter="0,0; .5, 1; 1, 1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/>
          <p:bldP spid="22" grpId="0"/>
          <p:bldP spid="2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38" presetClass="entr" presetSubtype="0" accel="5000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50000"/>
                                      </p:iterate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set>
                                          <p:cBhvr>
                                            <p:cTn id="12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o>
                                            <p:strVal val="-45.0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227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-45"/>
                                              </p:val>
                                            </p:tav>
                                            <p:tav tm="69900">
                                              <p:val>
                                                <p:fltVal val="4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78" decel="50000" autoRev="1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-#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68" fill="hold">
                                              <p:stCondLst>
                                                <p:cond delay="432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38" presetClass="entr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50000"/>
                                      </p:iterate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set>
                                          <p:cBhvr>
                                            <p:cTn id="19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o>
                                            <p:strVal val="-45.0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227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-45"/>
                                              </p:val>
                                            </p:tav>
                                            <p:tav tm="69900">
                                              <p:val>
                                                <p:fltVal val="4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227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78" decel="50000" autoRev="1" fill="hold">
                                              <p:stCondLst>
                                                <p:cond delay="227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(0.354*#ppt_w-0.172*#ppt_h)-#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68" fill="hold">
                                              <p:stCondLst>
                                                <p:cond delay="432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(0.354*#ppt_w-0.172*#ppt_h)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750"/>
                                </p:stCondLst>
                                <p:childTnLst>
                                  <p:par>
                                    <p:cTn id="25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500" tmFilter="0,0; .5, 1; 1, 1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4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4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 tmFilter="0,0; .5, 1; 1, 1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" grpId="0"/>
          <p:bldP spid="21" grpId="0"/>
          <p:bldP spid="22" grpId="0"/>
          <p:bldP spid="23" grpId="0"/>
        </p:bldLst>
      </p:timing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sp>
        <p:nvSpPr>
          <p:cNvPr id="7" name="出自【趣你的PPT】(微信:qunideppt)：最优质的PPT资源库"/>
          <p:cNvSpPr/>
          <p:nvPr/>
        </p:nvSpPr>
        <p:spPr>
          <a:xfrm>
            <a:off x="1047629" y="3907611"/>
            <a:ext cx="2374962" cy="1357900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出自【趣你的PPT】(微信:qunideppt)：最优质的PPT资源库"/>
          <p:cNvSpPr/>
          <p:nvPr/>
        </p:nvSpPr>
        <p:spPr>
          <a:xfrm>
            <a:off x="1047629" y="3138134"/>
            <a:ext cx="2374962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出自【趣你的PPT】(微信:qunideppt)：最优质的PPT资源库"/>
          <p:cNvSpPr/>
          <p:nvPr/>
        </p:nvSpPr>
        <p:spPr>
          <a:xfrm>
            <a:off x="6141925" y="3138134"/>
            <a:ext cx="2374962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出自【趣你的PPT】(微信:qunideppt)：最优质的PPT资源库"/>
          <p:cNvSpPr/>
          <p:nvPr/>
        </p:nvSpPr>
        <p:spPr>
          <a:xfrm>
            <a:off x="6141925" y="4662000"/>
            <a:ext cx="2374962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出自【趣你的PPT】(微信:qunideppt)：最优质的PPT资源库"/>
          <p:cNvSpPr/>
          <p:nvPr/>
        </p:nvSpPr>
        <p:spPr>
          <a:xfrm>
            <a:off x="3594777" y="4662000"/>
            <a:ext cx="2393811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出自【趣你的PPT】(微信:qunideppt)：最优质的PPT资源库"/>
          <p:cNvSpPr/>
          <p:nvPr/>
        </p:nvSpPr>
        <p:spPr>
          <a:xfrm>
            <a:off x="8689073" y="3138134"/>
            <a:ext cx="2374962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出自【趣你的PPT】(微信:qunideppt)：最优质的PPT资源库"/>
          <p:cNvSpPr/>
          <p:nvPr/>
        </p:nvSpPr>
        <p:spPr>
          <a:xfrm>
            <a:off x="8689073" y="3907611"/>
            <a:ext cx="2377527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出自【趣你的PPT】(微信:qunideppt)：最优质的PPT资源库"/>
          <p:cNvSpPr/>
          <p:nvPr/>
        </p:nvSpPr>
        <p:spPr>
          <a:xfrm>
            <a:off x="8689073" y="4662000"/>
            <a:ext cx="2377527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出自【趣你的PPT】(微信:qunideppt)：最优质的PPT资源库"/>
          <p:cNvSpPr/>
          <p:nvPr/>
        </p:nvSpPr>
        <p:spPr>
          <a:xfrm>
            <a:off x="6141925" y="3907611"/>
            <a:ext cx="2377527" cy="603511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600" b="1" kern="0" dirty="0">
              <a:solidFill>
                <a:srgbClr val="373737">
                  <a:alpha val="99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3594777" y="3138134"/>
            <a:ext cx="2396375" cy="1357900"/>
            <a:chOff x="2482670" y="2407920"/>
            <a:chExt cx="2031202" cy="1028700"/>
          </a:xfrm>
        </p:grpSpPr>
        <p:sp>
          <p:nvSpPr>
            <p:cNvPr id="18" name="出自【趣你的PPT】(微信:qunideppt)：最优质的PPT资源库"/>
            <p:cNvSpPr/>
            <p:nvPr/>
          </p:nvSpPr>
          <p:spPr>
            <a:xfrm>
              <a:off x="2482670" y="2407920"/>
              <a:ext cx="2031202" cy="10287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 anchorCtr="1"/>
            <a:lstStyle/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出自【趣你的PPT】(微信:qunideppt)：最优质的PPT资源库"/>
            <p:cNvSpPr/>
            <p:nvPr/>
          </p:nvSpPr>
          <p:spPr>
            <a:xfrm>
              <a:off x="2882200" y="2482967"/>
              <a:ext cx="1224486" cy="69015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" name="Group 19出自【趣你的PPT】(微信:qunideppt)：最优质的PPT资源库"/>
          <p:cNvGrpSpPr/>
          <p:nvPr/>
        </p:nvGrpSpPr>
        <p:grpSpPr>
          <a:xfrm>
            <a:off x="8689073" y="1258751"/>
            <a:ext cx="2379357" cy="1720005"/>
            <a:chOff x="8768892" y="1864613"/>
            <a:chExt cx="2379357" cy="1720005"/>
          </a:xfrm>
          <a:solidFill>
            <a:srgbClr val="C00000"/>
          </a:solidFill>
        </p:grpSpPr>
        <p:grpSp>
          <p:nvGrpSpPr>
            <p:cNvPr id="21" name="Group 4"/>
            <p:cNvGrpSpPr/>
            <p:nvPr/>
          </p:nvGrpSpPr>
          <p:grpSpPr>
            <a:xfrm>
              <a:off x="8768892" y="1864613"/>
              <a:ext cx="2379357" cy="1720005"/>
              <a:chOff x="6264422" y="1315329"/>
              <a:chExt cx="2678656" cy="1725473"/>
            </a:xfrm>
            <a:grpFill/>
          </p:grpSpPr>
          <p:sp>
            <p:nvSpPr>
              <p:cNvPr id="23" name="出自【趣你的PPT】(微信:qunideppt)：最优质的PPT资源库"/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264422" y="1315329"/>
                <a:ext cx="2678656" cy="1725473"/>
              </a:xfrm>
              <a:prstGeom prst="rect">
                <a:avLst/>
              </a:prstGeom>
              <a:grpFill/>
              <a:ln w="9525">
                <a:solidFill>
                  <a:srgbClr val="FFFFFF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121893" tIns="60947" rIns="121893" bIns="60947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04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1600" b="1" kern="0" dirty="0">
                    <a:solidFill>
                      <a:srgbClr val="FFFFFF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en-US" altLang="zh-CN" sz="1600" b="1" kern="0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4" name="Group 100"/>
              <p:cNvGrpSpPr>
                <a:grpSpLocks noChangeAspect="1"/>
              </p:cNvGrpSpPr>
              <p:nvPr/>
            </p:nvGrpSpPr>
            <p:grpSpPr>
              <a:xfrm>
                <a:off x="7225894" y="1638148"/>
                <a:ext cx="59636" cy="184077"/>
                <a:chOff x="-1616075" y="2730500"/>
                <a:chExt cx="258763" cy="798512"/>
              </a:xfrm>
              <a:grpFill/>
            </p:grpSpPr>
            <p:sp>
              <p:nvSpPr>
                <p:cNvPr id="25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-1495425" y="2730500"/>
                  <a:ext cx="138113" cy="52387"/>
                </a:xfrm>
                <a:custGeom>
                  <a:avLst/>
                  <a:gdLst>
                    <a:gd name="T0" fmla="*/ 35 w 37"/>
                    <a:gd name="T1" fmla="*/ 14 h 14"/>
                    <a:gd name="T2" fmla="*/ 37 w 37"/>
                    <a:gd name="T3" fmla="*/ 12 h 14"/>
                    <a:gd name="T4" fmla="*/ 36 w 37"/>
                    <a:gd name="T5" fmla="*/ 9 h 14"/>
                    <a:gd name="T6" fmla="*/ 29 w 37"/>
                    <a:gd name="T7" fmla="*/ 1 h 14"/>
                    <a:gd name="T8" fmla="*/ 27 w 37"/>
                    <a:gd name="T9" fmla="*/ 0 h 14"/>
                    <a:gd name="T10" fmla="*/ 27 w 37"/>
                    <a:gd name="T11" fmla="*/ 0 h 14"/>
                    <a:gd name="T12" fmla="*/ 27 w 37"/>
                    <a:gd name="T13" fmla="*/ 0 h 14"/>
                    <a:gd name="T14" fmla="*/ 26 w 37"/>
                    <a:gd name="T15" fmla="*/ 0 h 14"/>
                    <a:gd name="T16" fmla="*/ 26 w 37"/>
                    <a:gd name="T17" fmla="*/ 0 h 14"/>
                    <a:gd name="T18" fmla="*/ 25 w 37"/>
                    <a:gd name="T19" fmla="*/ 0 h 14"/>
                    <a:gd name="T20" fmla="*/ 25 w 37"/>
                    <a:gd name="T21" fmla="*/ 0 h 14"/>
                    <a:gd name="T22" fmla="*/ 25 w 37"/>
                    <a:gd name="T23" fmla="*/ 0 h 14"/>
                    <a:gd name="T24" fmla="*/ 25 w 37"/>
                    <a:gd name="T25" fmla="*/ 0 h 14"/>
                    <a:gd name="T26" fmla="*/ 24 w 37"/>
                    <a:gd name="T27" fmla="*/ 0 h 14"/>
                    <a:gd name="T28" fmla="*/ 24 w 37"/>
                    <a:gd name="T29" fmla="*/ 0 h 14"/>
                    <a:gd name="T30" fmla="*/ 23 w 37"/>
                    <a:gd name="T31" fmla="*/ 0 h 14"/>
                    <a:gd name="T32" fmla="*/ 23 w 37"/>
                    <a:gd name="T33" fmla="*/ 0 h 14"/>
                    <a:gd name="T34" fmla="*/ 0 w 37"/>
                    <a:gd name="T35" fmla="*/ 9 h 14"/>
                    <a:gd name="T36" fmla="*/ 35 w 37"/>
                    <a:gd name="T3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7" h="14">
                      <a:moveTo>
                        <a:pt x="35" y="14"/>
                      </a:moveTo>
                      <a:cubicBezTo>
                        <a:pt x="37" y="14"/>
                        <a:pt x="37" y="13"/>
                        <a:pt x="37" y="12"/>
                      </a:cubicBezTo>
                      <a:cubicBezTo>
                        <a:pt x="37" y="11"/>
                        <a:pt x="36" y="10"/>
                        <a:pt x="36" y="9"/>
                      </a:cubicBezTo>
                      <a:cubicBezTo>
                        <a:pt x="33" y="6"/>
                        <a:pt x="31" y="4"/>
                        <a:pt x="29" y="1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7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4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lnTo>
                        <a:pt x="35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487">
                    <a:defRPr/>
                  </a:pPr>
                  <a:endParaRPr lang="en-US" sz="1400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26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-1616075" y="3479800"/>
                  <a:ext cx="104775" cy="49212"/>
                </a:xfrm>
                <a:custGeom>
                  <a:avLst/>
                  <a:gdLst>
                    <a:gd name="T0" fmla="*/ 0 w 28"/>
                    <a:gd name="T1" fmla="*/ 10 h 13"/>
                    <a:gd name="T2" fmla="*/ 0 w 28"/>
                    <a:gd name="T3" fmla="*/ 13 h 13"/>
                    <a:gd name="T4" fmla="*/ 28 w 28"/>
                    <a:gd name="T5" fmla="*/ 4 h 13"/>
                    <a:gd name="T6" fmla="*/ 28 w 28"/>
                    <a:gd name="T7" fmla="*/ 0 h 13"/>
                    <a:gd name="T8" fmla="*/ 0 w 28"/>
                    <a:gd name="T9" fmla="*/ 9 h 13"/>
                    <a:gd name="T10" fmla="*/ 0 w 28"/>
                    <a:gd name="T11" fmla="*/ 1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13">
                      <a:moveTo>
                        <a:pt x="0" y="10"/>
                      </a:move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0" y="9"/>
                        <a:pt x="0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487">
                    <a:defRPr/>
                  </a:pPr>
                  <a:endParaRPr lang="en-US" sz="1400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27" name="出自【趣你的PPT】(微信:qunideppt)：最优质的PPT资源库"/>
                <p:cNvSpPr>
                  <a:spLocks/>
                </p:cNvSpPr>
                <p:nvPr/>
              </p:nvSpPr>
              <p:spPr bwMode="auto">
                <a:xfrm>
                  <a:off x="-1470025" y="3443288"/>
                  <a:ext cx="11113" cy="36512"/>
                </a:xfrm>
                <a:custGeom>
                  <a:avLst/>
                  <a:gdLst>
                    <a:gd name="T0" fmla="*/ 2 w 3"/>
                    <a:gd name="T1" fmla="*/ 10 h 10"/>
                    <a:gd name="T2" fmla="*/ 3 w 3"/>
                    <a:gd name="T3" fmla="*/ 10 h 10"/>
                    <a:gd name="T4" fmla="*/ 3 w 3"/>
                    <a:gd name="T5" fmla="*/ 0 h 10"/>
                    <a:gd name="T6" fmla="*/ 2 w 3"/>
                    <a:gd name="T7" fmla="*/ 0 h 10"/>
                    <a:gd name="T8" fmla="*/ 2 w 3"/>
                    <a:gd name="T9" fmla="*/ 0 h 10"/>
                    <a:gd name="T10" fmla="*/ 1 w 3"/>
                    <a:gd name="T11" fmla="*/ 0 h 10"/>
                    <a:gd name="T12" fmla="*/ 0 w 3"/>
                    <a:gd name="T13" fmla="*/ 0 h 10"/>
                    <a:gd name="T14" fmla="*/ 2 w 3"/>
                    <a:gd name="T15" fmla="*/ 7 h 10"/>
                    <a:gd name="T16" fmla="*/ 2 w 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0">
                      <a:moveTo>
                        <a:pt x="2" y="10"/>
                      </a:move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"/>
                        <a:pt x="2" y="4"/>
                        <a:pt x="2" y="7"/>
                      </a:cubicBezTo>
                      <a:lnTo>
                        <a:pt x="2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487">
                    <a:defRPr/>
                  </a:pPr>
                  <a:endParaRPr lang="en-US" sz="1400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22" name="出自【趣你的PPT】(微信:qunideppt)：最优质的PPT资源库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842696" y="1876150"/>
              <a:ext cx="835224" cy="1231499"/>
            </a:xfrm>
            <a:prstGeom prst="rect">
              <a:avLst/>
            </a:prstGeom>
            <a:grpFill/>
          </p:spPr>
        </p:pic>
      </p:grpSp>
      <p:grpSp>
        <p:nvGrpSpPr>
          <p:cNvPr id="28" name="Group 27出自【趣你的PPT】(微信:qunideppt)：最优质的PPT资源库"/>
          <p:cNvGrpSpPr/>
          <p:nvPr/>
        </p:nvGrpSpPr>
        <p:grpSpPr>
          <a:xfrm>
            <a:off x="6141925" y="1258751"/>
            <a:ext cx="2379357" cy="1720007"/>
            <a:chOff x="6221744" y="1864613"/>
            <a:chExt cx="2379357" cy="1720007"/>
          </a:xfrm>
          <a:solidFill>
            <a:srgbClr val="C00000"/>
          </a:solidFill>
        </p:grpSpPr>
        <p:sp>
          <p:nvSpPr>
            <p:cNvPr id="29" name="出自【趣你的PPT】(微信:qunideppt)：最优质的PPT资源库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6221744" y="1864613"/>
              <a:ext cx="2379357" cy="1720007"/>
            </a:xfrm>
            <a:prstGeom prst="rect">
              <a:avLst/>
            </a:prstGeom>
            <a:grpFill/>
            <a:ln w="9525">
              <a:solidFill>
                <a:srgbClr val="FFFFFF">
                  <a:alpha val="50000"/>
                </a:srgbClr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121893" tIns="365681" rIns="121893" bIns="60947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600" b="1" kern="0" dirty="0"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" name="出自【趣你的PPT】(微信:qunideppt)：最优质的PPT资源库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398643" y="1994424"/>
              <a:ext cx="932769" cy="835224"/>
            </a:xfrm>
            <a:prstGeom prst="rect">
              <a:avLst/>
            </a:prstGeom>
            <a:grpFill/>
          </p:spPr>
        </p:pic>
      </p:grpSp>
      <p:grpSp>
        <p:nvGrpSpPr>
          <p:cNvPr id="31" name="Group 30出自【趣你的PPT】(微信:qunideppt)：最优质的PPT资源库"/>
          <p:cNvGrpSpPr/>
          <p:nvPr/>
        </p:nvGrpSpPr>
        <p:grpSpPr>
          <a:xfrm>
            <a:off x="3594777" y="1258751"/>
            <a:ext cx="2379357" cy="1720007"/>
            <a:chOff x="3674596" y="1864613"/>
            <a:chExt cx="2379357" cy="1720007"/>
          </a:xfrm>
          <a:solidFill>
            <a:srgbClr val="C00000"/>
          </a:solidFill>
        </p:grpSpPr>
        <p:sp>
          <p:nvSpPr>
            <p:cNvPr id="32" name="出自【趣你的PPT】(微信:qunideppt)：最优质的PPT资源库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3674596" y="1864613"/>
              <a:ext cx="2379357" cy="1720007"/>
            </a:xfrm>
            <a:prstGeom prst="rect">
              <a:avLst/>
            </a:prstGeom>
            <a:grpFill/>
            <a:ln w="9525">
              <a:solidFill>
                <a:srgbClr val="FFFFFF">
                  <a:alpha val="50000"/>
                </a:srgbClr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121893" tIns="60947" rIns="121893" bIns="60947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600" b="1" kern="0" dirty="0"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3" name="出自【趣你的PPT】(微信:qunideppt)：最优质的PPT资源库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87526" y="2055480"/>
              <a:ext cx="347502" cy="829128"/>
            </a:xfrm>
            <a:prstGeom prst="rect">
              <a:avLst/>
            </a:prstGeom>
            <a:grpFill/>
          </p:spPr>
        </p:pic>
      </p:grpSp>
      <p:grpSp>
        <p:nvGrpSpPr>
          <p:cNvPr id="34" name="Group 33出自【趣你的PPT】(微信:qunideppt)：最优质的PPT资源库"/>
          <p:cNvGrpSpPr/>
          <p:nvPr/>
        </p:nvGrpSpPr>
        <p:grpSpPr>
          <a:xfrm>
            <a:off x="1047629" y="1258751"/>
            <a:ext cx="2379357" cy="1720007"/>
            <a:chOff x="1127448" y="1864613"/>
            <a:chExt cx="2379357" cy="1720007"/>
          </a:xfrm>
          <a:solidFill>
            <a:srgbClr val="C00000"/>
          </a:solidFill>
        </p:grpSpPr>
        <p:sp>
          <p:nvSpPr>
            <p:cNvPr id="35" name="出自【趣你的PPT】(微信:qunideppt)：最优质的PPT资源库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1127448" y="1864613"/>
              <a:ext cx="2379357" cy="1720007"/>
            </a:xfrm>
            <a:prstGeom prst="rect">
              <a:avLst/>
            </a:prstGeom>
            <a:grpFill/>
            <a:ln w="9525">
              <a:solidFill>
                <a:srgbClr val="FFFFFF">
                  <a:alpha val="50000"/>
                </a:srgbClr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121893" tIns="60947" rIns="121893" bIns="60947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sz="1600" b="1" kern="0" dirty="0"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6" name="出自【趣你的PPT】(微信:qunideppt)：最优质的PPT资源库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271464" y="1970037"/>
              <a:ext cx="530398" cy="859611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3842989806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6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3915267" y="2855324"/>
            <a:ext cx="2880320" cy="1403944"/>
            <a:chOff x="3863752" y="3074072"/>
            <a:chExt cx="2880320" cy="1403944"/>
          </a:xfrm>
          <a:solidFill>
            <a:srgbClr val="C00000"/>
          </a:solidFill>
        </p:grpSpPr>
        <p:sp>
          <p:nvSpPr>
            <p:cNvPr id="8" name="出自【趣你的PPT】(微信:qunideppt)：最优质的PPT资源库"/>
            <p:cNvSpPr/>
            <p:nvPr/>
          </p:nvSpPr>
          <p:spPr>
            <a:xfrm>
              <a:off x="3863752" y="3074072"/>
              <a:ext cx="2880320" cy="14039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出自【趣你的PPT】(微信:qunideppt)：最优质的PPT资源库"/>
            <p:cNvSpPr txBox="1"/>
            <p:nvPr/>
          </p:nvSpPr>
          <p:spPr>
            <a:xfrm>
              <a:off x="4153282" y="3522631"/>
              <a:ext cx="2574825" cy="60016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Group 9出自【趣你的PPT】(微信:qunideppt)：最优质的PPT资源库"/>
          <p:cNvGrpSpPr/>
          <p:nvPr/>
        </p:nvGrpSpPr>
        <p:grpSpPr>
          <a:xfrm>
            <a:off x="3931955" y="4578405"/>
            <a:ext cx="2880320" cy="1403944"/>
            <a:chOff x="3880440" y="4797153"/>
            <a:chExt cx="2880320" cy="1403944"/>
          </a:xfrm>
          <a:solidFill>
            <a:srgbClr val="C00000"/>
          </a:solidFill>
        </p:grpSpPr>
        <p:sp>
          <p:nvSpPr>
            <p:cNvPr id="11" name="出自【趣你的PPT】(微信:qunideppt)：最优质的PPT资源库"/>
            <p:cNvSpPr/>
            <p:nvPr/>
          </p:nvSpPr>
          <p:spPr>
            <a:xfrm>
              <a:off x="3880440" y="4797153"/>
              <a:ext cx="2880320" cy="14039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出自【趣你的PPT】(微信:qunideppt)：最优质的PPT资源库"/>
            <p:cNvSpPr txBox="1"/>
            <p:nvPr/>
          </p:nvSpPr>
          <p:spPr>
            <a:xfrm>
              <a:off x="4177764" y="5206737"/>
              <a:ext cx="2574825" cy="60016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" name="Group 12出自【趣你的PPT】(微信:qunideppt)：最优质的PPT资源库"/>
          <p:cNvGrpSpPr/>
          <p:nvPr/>
        </p:nvGrpSpPr>
        <p:grpSpPr>
          <a:xfrm>
            <a:off x="3915267" y="1122020"/>
            <a:ext cx="2903007" cy="1403944"/>
            <a:chOff x="3863752" y="1340768"/>
            <a:chExt cx="2903007" cy="1403944"/>
          </a:xfrm>
          <a:solidFill>
            <a:srgbClr val="C00000"/>
          </a:solidFill>
        </p:grpSpPr>
        <p:sp>
          <p:nvSpPr>
            <p:cNvPr id="14" name="出自【趣你的PPT】(微信:qunideppt)：最优质的PPT资源库"/>
            <p:cNvSpPr/>
            <p:nvPr/>
          </p:nvSpPr>
          <p:spPr>
            <a:xfrm>
              <a:off x="3863752" y="1340768"/>
              <a:ext cx="2880320" cy="14039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" name="出自【趣你的PPT】(微信:qunideppt)：最优质的PPT资源库"/>
            <p:cNvSpPr txBox="1"/>
            <p:nvPr/>
          </p:nvSpPr>
          <p:spPr>
            <a:xfrm>
              <a:off x="4191934" y="1768790"/>
              <a:ext cx="2574825" cy="60016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7" name="出自【趣你的PPT】(微信:qunideppt)：最优质的PPT资源库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4867" y="1122021"/>
            <a:ext cx="3529890" cy="4860328"/>
          </a:xfrm>
          <a:prstGeom prst="rect">
            <a:avLst/>
          </a:prstGeom>
        </p:spPr>
      </p:pic>
      <p:grpSp>
        <p:nvGrpSpPr>
          <p:cNvPr id="18" name="Group 17出自【趣你的PPT】(微信:qunideppt)：最优质的PPT资源库"/>
          <p:cNvGrpSpPr/>
          <p:nvPr/>
        </p:nvGrpSpPr>
        <p:grpSpPr>
          <a:xfrm>
            <a:off x="3484717" y="1463952"/>
            <a:ext cx="790590" cy="720080"/>
            <a:chOff x="3505210" y="1358876"/>
            <a:chExt cx="790590" cy="720080"/>
          </a:xfrm>
        </p:grpSpPr>
        <p:sp>
          <p:nvSpPr>
            <p:cNvPr id="19" name="出自【趣你的PPT】(微信:qunideppt)：最优质的PPT资源库"/>
            <p:cNvSpPr/>
            <p:nvPr/>
          </p:nvSpPr>
          <p:spPr>
            <a:xfrm>
              <a:off x="3505210" y="1358876"/>
              <a:ext cx="720080" cy="720080"/>
            </a:xfrm>
            <a:prstGeom prst="ellipse">
              <a:avLst/>
            </a:prstGeom>
            <a:solidFill>
              <a:srgbClr val="64B6E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" name="出自【趣你的PPT】(微信:qunideppt)：最优质的PPT资源库"/>
            <p:cNvSpPr txBox="1"/>
            <p:nvPr/>
          </p:nvSpPr>
          <p:spPr>
            <a:xfrm>
              <a:off x="3570927" y="1426528"/>
              <a:ext cx="72487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>
                  <a:solidFill>
                    <a:prstClr val="white"/>
                  </a:solidFill>
                </a:rPr>
                <a:t>01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1" name="Group 20出自【趣你的PPT】(微信:qunideppt)：最优质的PPT资源库"/>
          <p:cNvGrpSpPr/>
          <p:nvPr/>
        </p:nvGrpSpPr>
        <p:grpSpPr>
          <a:xfrm>
            <a:off x="3484717" y="3209379"/>
            <a:ext cx="790590" cy="720080"/>
            <a:chOff x="3505210" y="1358876"/>
            <a:chExt cx="790590" cy="720080"/>
          </a:xfrm>
        </p:grpSpPr>
        <p:sp>
          <p:nvSpPr>
            <p:cNvPr id="22" name="出自【趣你的PPT】(微信:qunideppt)：最优质的PPT资源库"/>
            <p:cNvSpPr/>
            <p:nvPr/>
          </p:nvSpPr>
          <p:spPr>
            <a:xfrm>
              <a:off x="3505210" y="1358876"/>
              <a:ext cx="720080" cy="720080"/>
            </a:xfrm>
            <a:prstGeom prst="ellipse">
              <a:avLst/>
            </a:prstGeom>
            <a:solidFill>
              <a:srgbClr val="3D9EE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3" name="出自【趣你的PPT】(微信:qunideppt)：最优质的PPT资源库"/>
            <p:cNvSpPr txBox="1"/>
            <p:nvPr/>
          </p:nvSpPr>
          <p:spPr>
            <a:xfrm>
              <a:off x="3570927" y="1426528"/>
              <a:ext cx="72487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>
                  <a:solidFill>
                    <a:prstClr val="white"/>
                  </a:solidFill>
                </a:rPr>
                <a:t>02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4" name="Group 23出自【趣你的PPT】(微信:qunideppt)：最优质的PPT资源库"/>
          <p:cNvGrpSpPr/>
          <p:nvPr/>
        </p:nvGrpSpPr>
        <p:grpSpPr>
          <a:xfrm>
            <a:off x="3509199" y="4920337"/>
            <a:ext cx="790590" cy="720080"/>
            <a:chOff x="3505210" y="1358876"/>
            <a:chExt cx="790590" cy="720080"/>
          </a:xfrm>
        </p:grpSpPr>
        <p:sp>
          <p:nvSpPr>
            <p:cNvPr id="25" name="出自【趣你的PPT】(微信:qunideppt)：最优质的PPT资源库"/>
            <p:cNvSpPr/>
            <p:nvPr/>
          </p:nvSpPr>
          <p:spPr>
            <a:xfrm>
              <a:off x="3505210" y="1358876"/>
              <a:ext cx="720080" cy="720080"/>
            </a:xfrm>
            <a:prstGeom prst="ellipse">
              <a:avLst/>
            </a:prstGeom>
            <a:solidFill>
              <a:srgbClr val="64B6E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" name="出自【趣你的PPT】(微信:qunideppt)：最优质的PPT资源库"/>
            <p:cNvSpPr txBox="1"/>
            <p:nvPr/>
          </p:nvSpPr>
          <p:spPr>
            <a:xfrm>
              <a:off x="3570927" y="1426528"/>
              <a:ext cx="72487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>
                  <a:solidFill>
                    <a:prstClr val="white"/>
                  </a:solidFill>
                </a:rPr>
                <a:t>03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27" name="出自【趣你的PPT】(微信:qunideppt)：最优质的PPT资源库"/>
          <p:cNvSpPr txBox="1"/>
          <p:nvPr/>
        </p:nvSpPr>
        <p:spPr>
          <a:xfrm>
            <a:off x="7014607" y="1397897"/>
            <a:ext cx="42237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出自【趣你的PPT】(微信:qunideppt)：最优质的PPT资源库"/>
          <p:cNvSpPr txBox="1"/>
          <p:nvPr/>
        </p:nvSpPr>
        <p:spPr>
          <a:xfrm>
            <a:off x="7031354" y="3044353"/>
            <a:ext cx="42237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出自【趣你的PPT】(微信:qunideppt)：最优质的PPT资源库"/>
          <p:cNvSpPr txBox="1"/>
          <p:nvPr/>
        </p:nvSpPr>
        <p:spPr>
          <a:xfrm>
            <a:off x="7013247" y="4772544"/>
            <a:ext cx="42237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85353957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ntr" presetSubtype="32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out)">
                                          <p:cBhvr>
                                            <p:cTn id="7" dur="2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9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3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5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7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9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20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2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25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26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8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0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32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33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35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2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8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39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1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43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45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46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/>
          <p:bldP spid="28" grpId="0"/>
          <p:bldP spid="2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ntr" presetSubtype="32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circle(out)">
                                          <p:cBhvr>
                                            <p:cTn id="7" dur="2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9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2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3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5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7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2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25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26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8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0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3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35" presetID="10" presetClass="entr" presetSubtype="0" repeatCount="2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2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8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39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1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43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5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6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7" grpId="0"/>
          <p:bldP spid="28" grpId="0"/>
          <p:bldP spid="29" grpId="0"/>
        </p:bldLst>
      </p:timing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E7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出自【趣你的PPT】(微信:qunideppt)：最优质的PPT资源库"/>
          <p:cNvSpPr>
            <a:spLocks/>
          </p:cNvSpPr>
          <p:nvPr/>
        </p:nvSpPr>
        <p:spPr bwMode="auto">
          <a:xfrm>
            <a:off x="1343472" y="342159"/>
            <a:ext cx="3096344" cy="521261"/>
          </a:xfrm>
          <a:custGeom>
            <a:avLst/>
            <a:gdLst>
              <a:gd name="T0" fmla="*/ 4637 w 4826"/>
              <a:gd name="T1" fmla="*/ 197 h 395"/>
              <a:gd name="T2" fmla="*/ 4826 w 4826"/>
              <a:gd name="T3" fmla="*/ 395 h 395"/>
              <a:gd name="T4" fmla="*/ 0 w 4826"/>
              <a:gd name="T5" fmla="*/ 395 h 395"/>
              <a:gd name="T6" fmla="*/ 185 w 4826"/>
              <a:gd name="T7" fmla="*/ 183 h 395"/>
              <a:gd name="T8" fmla="*/ 0 w 4826"/>
              <a:gd name="T9" fmla="*/ 0 h 395"/>
              <a:gd name="T10" fmla="*/ 4826 w 4826"/>
              <a:gd name="T11" fmla="*/ 0 h 395"/>
              <a:gd name="T12" fmla="*/ 4637 w 4826"/>
              <a:gd name="T13" fmla="*/ 197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26" h="395">
                <a:moveTo>
                  <a:pt x="4637" y="197"/>
                </a:moveTo>
                <a:lnTo>
                  <a:pt x="4826" y="395"/>
                </a:lnTo>
                <a:lnTo>
                  <a:pt x="0" y="395"/>
                </a:lnTo>
                <a:lnTo>
                  <a:pt x="185" y="183"/>
                </a:lnTo>
                <a:lnTo>
                  <a:pt x="0" y="0"/>
                </a:lnTo>
                <a:lnTo>
                  <a:pt x="4826" y="0"/>
                </a:lnTo>
                <a:lnTo>
                  <a:pt x="4637" y="197"/>
                </a:lnTo>
                <a:close/>
              </a:path>
            </a:pathLst>
          </a:custGeom>
          <a:solidFill>
            <a:srgbClr val="2DB4A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出自【趣你的PPT】(微信:qunideppt)：最优质的PPT资源库"/>
          <p:cNvSpPr/>
          <p:nvPr/>
        </p:nvSpPr>
        <p:spPr>
          <a:xfrm>
            <a:off x="335360" y="188640"/>
            <a:ext cx="792088" cy="792088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56" name="出自【趣你的PPT】(微信:qunideppt)：最优质的PPT资源库"/>
          <p:cNvSpPr>
            <a:spLocks noEditPoints="1"/>
          </p:cNvSpPr>
          <p:nvPr/>
        </p:nvSpPr>
        <p:spPr bwMode="auto">
          <a:xfrm>
            <a:off x="512848" y="436543"/>
            <a:ext cx="437112" cy="332491"/>
          </a:xfrm>
          <a:custGeom>
            <a:avLst/>
            <a:gdLst>
              <a:gd name="T0" fmla="*/ 68 w 71"/>
              <a:gd name="T1" fmla="*/ 0 h 54"/>
              <a:gd name="T2" fmla="*/ 4 w 71"/>
              <a:gd name="T3" fmla="*/ 0 h 54"/>
              <a:gd name="T4" fmla="*/ 0 w 71"/>
              <a:gd name="T5" fmla="*/ 4 h 54"/>
              <a:gd name="T6" fmla="*/ 0 w 71"/>
              <a:gd name="T7" fmla="*/ 42 h 54"/>
              <a:gd name="T8" fmla="*/ 4 w 71"/>
              <a:gd name="T9" fmla="*/ 45 h 54"/>
              <a:gd name="T10" fmla="*/ 24 w 71"/>
              <a:gd name="T11" fmla="*/ 45 h 54"/>
              <a:gd name="T12" fmla="*/ 24 w 71"/>
              <a:gd name="T13" fmla="*/ 52 h 54"/>
              <a:gd name="T14" fmla="*/ 17 w 71"/>
              <a:gd name="T15" fmla="*/ 52 h 54"/>
              <a:gd name="T16" fmla="*/ 16 w 71"/>
              <a:gd name="T17" fmla="*/ 53 h 54"/>
              <a:gd name="T18" fmla="*/ 17 w 71"/>
              <a:gd name="T19" fmla="*/ 54 h 54"/>
              <a:gd name="T20" fmla="*/ 55 w 71"/>
              <a:gd name="T21" fmla="*/ 54 h 54"/>
              <a:gd name="T22" fmla="*/ 56 w 71"/>
              <a:gd name="T23" fmla="*/ 53 h 54"/>
              <a:gd name="T24" fmla="*/ 55 w 71"/>
              <a:gd name="T25" fmla="*/ 52 h 54"/>
              <a:gd name="T26" fmla="*/ 48 w 71"/>
              <a:gd name="T27" fmla="*/ 52 h 54"/>
              <a:gd name="T28" fmla="*/ 48 w 71"/>
              <a:gd name="T29" fmla="*/ 45 h 54"/>
              <a:gd name="T30" fmla="*/ 68 w 71"/>
              <a:gd name="T31" fmla="*/ 45 h 54"/>
              <a:gd name="T32" fmla="*/ 71 w 71"/>
              <a:gd name="T33" fmla="*/ 42 h 54"/>
              <a:gd name="T34" fmla="*/ 71 w 71"/>
              <a:gd name="T35" fmla="*/ 4 h 54"/>
              <a:gd name="T36" fmla="*/ 68 w 71"/>
              <a:gd name="T37" fmla="*/ 0 h 54"/>
              <a:gd name="T38" fmla="*/ 59 w 71"/>
              <a:gd name="T39" fmla="*/ 42 h 54"/>
              <a:gd name="T40" fmla="*/ 58 w 71"/>
              <a:gd name="T41" fmla="*/ 41 h 54"/>
              <a:gd name="T42" fmla="*/ 59 w 71"/>
              <a:gd name="T43" fmla="*/ 40 h 54"/>
              <a:gd name="T44" fmla="*/ 60 w 71"/>
              <a:gd name="T45" fmla="*/ 41 h 54"/>
              <a:gd name="T46" fmla="*/ 59 w 71"/>
              <a:gd name="T47" fmla="*/ 42 h 54"/>
              <a:gd name="T48" fmla="*/ 68 w 71"/>
              <a:gd name="T49" fmla="*/ 37 h 54"/>
              <a:gd name="T50" fmla="*/ 4 w 71"/>
              <a:gd name="T51" fmla="*/ 37 h 54"/>
              <a:gd name="T52" fmla="*/ 4 w 71"/>
              <a:gd name="T53" fmla="*/ 4 h 54"/>
              <a:gd name="T54" fmla="*/ 68 w 71"/>
              <a:gd name="T55" fmla="*/ 4 h 54"/>
              <a:gd name="T56" fmla="*/ 68 w 71"/>
              <a:gd name="T57" fmla="*/ 37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54">
                <a:moveTo>
                  <a:pt x="68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44"/>
                  <a:pt x="2" y="45"/>
                  <a:pt x="4" y="45"/>
                </a:cubicBezTo>
                <a:cubicBezTo>
                  <a:pt x="24" y="45"/>
                  <a:pt x="24" y="45"/>
                  <a:pt x="24" y="45"/>
                </a:cubicBezTo>
                <a:cubicBezTo>
                  <a:pt x="24" y="52"/>
                  <a:pt x="24" y="52"/>
                  <a:pt x="24" y="52"/>
                </a:cubicBezTo>
                <a:cubicBezTo>
                  <a:pt x="17" y="52"/>
                  <a:pt x="17" y="52"/>
                  <a:pt x="17" y="52"/>
                </a:cubicBezTo>
                <a:cubicBezTo>
                  <a:pt x="16" y="52"/>
                  <a:pt x="16" y="53"/>
                  <a:pt x="16" y="53"/>
                </a:cubicBezTo>
                <a:cubicBezTo>
                  <a:pt x="16" y="54"/>
                  <a:pt x="16" y="54"/>
                  <a:pt x="17" y="54"/>
                </a:cubicBezTo>
                <a:cubicBezTo>
                  <a:pt x="55" y="54"/>
                  <a:pt x="55" y="54"/>
                  <a:pt x="55" y="54"/>
                </a:cubicBezTo>
                <a:cubicBezTo>
                  <a:pt x="56" y="54"/>
                  <a:pt x="56" y="54"/>
                  <a:pt x="56" y="53"/>
                </a:cubicBezTo>
                <a:cubicBezTo>
                  <a:pt x="56" y="53"/>
                  <a:pt x="56" y="52"/>
                  <a:pt x="55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45"/>
                  <a:pt x="48" y="45"/>
                  <a:pt x="48" y="45"/>
                </a:cubicBezTo>
                <a:cubicBezTo>
                  <a:pt x="68" y="45"/>
                  <a:pt x="68" y="45"/>
                  <a:pt x="68" y="45"/>
                </a:cubicBezTo>
                <a:cubicBezTo>
                  <a:pt x="70" y="45"/>
                  <a:pt x="71" y="44"/>
                  <a:pt x="71" y="42"/>
                </a:cubicBezTo>
                <a:cubicBezTo>
                  <a:pt x="71" y="4"/>
                  <a:pt x="71" y="4"/>
                  <a:pt x="71" y="4"/>
                </a:cubicBezTo>
                <a:cubicBezTo>
                  <a:pt x="71" y="2"/>
                  <a:pt x="70" y="0"/>
                  <a:pt x="68" y="0"/>
                </a:cubicBezTo>
                <a:close/>
                <a:moveTo>
                  <a:pt x="59" y="42"/>
                </a:moveTo>
                <a:cubicBezTo>
                  <a:pt x="58" y="42"/>
                  <a:pt x="58" y="41"/>
                  <a:pt x="58" y="41"/>
                </a:cubicBezTo>
                <a:cubicBezTo>
                  <a:pt x="58" y="41"/>
                  <a:pt x="58" y="40"/>
                  <a:pt x="59" y="40"/>
                </a:cubicBezTo>
                <a:cubicBezTo>
                  <a:pt x="59" y="40"/>
                  <a:pt x="60" y="41"/>
                  <a:pt x="60" y="41"/>
                </a:cubicBezTo>
                <a:cubicBezTo>
                  <a:pt x="60" y="41"/>
                  <a:pt x="59" y="42"/>
                  <a:pt x="59" y="42"/>
                </a:cubicBezTo>
                <a:close/>
                <a:moveTo>
                  <a:pt x="68" y="37"/>
                </a:moveTo>
                <a:cubicBezTo>
                  <a:pt x="4" y="37"/>
                  <a:pt x="4" y="37"/>
                  <a:pt x="4" y="37"/>
                </a:cubicBezTo>
                <a:cubicBezTo>
                  <a:pt x="4" y="4"/>
                  <a:pt x="4" y="4"/>
                  <a:pt x="4" y="4"/>
                </a:cubicBezTo>
                <a:cubicBezTo>
                  <a:pt x="68" y="4"/>
                  <a:pt x="68" y="4"/>
                  <a:pt x="68" y="4"/>
                </a:cubicBezTo>
                <a:lnTo>
                  <a:pt x="68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endParaRPr lang="zh-CN" altLang="en-US" sz="1600">
              <a:solidFill>
                <a:prstClr val="black"/>
              </a:solidFill>
            </a:endParaRPr>
          </a:p>
        </p:txBody>
      </p:sp>
      <p:sp>
        <p:nvSpPr>
          <p:cNvPr id="10" name="出自【趣你的PPT】(微信:qunideppt)：最优质的PPT资源库"/>
          <p:cNvSpPr txBox="1"/>
          <p:nvPr/>
        </p:nvSpPr>
        <p:spPr>
          <a:xfrm>
            <a:off x="1847528" y="418122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pic>
        <p:nvPicPr>
          <p:cNvPr id="6" name="出自【趣你的PPT】(微信:qunideppt)：最优质的PPT资源库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出自【趣你的PPT】(微信:qunideppt)：最优质的PPT资源库"/>
          <p:cNvSpPr/>
          <p:nvPr/>
        </p:nvSpPr>
        <p:spPr>
          <a:xfrm>
            <a:off x="1343472" y="0"/>
            <a:ext cx="3600400" cy="52292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13" name="出自【趣你的PPT】(微信:qunideppt)：最优质的PPT资源库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1148" y="389424"/>
            <a:ext cx="3706689" cy="433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99088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6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6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5982872"/>
      </p:ext>
    </p:extLst>
  </p:cSld>
  <p:clrMapOvr>
    <a:masterClrMapping/>
  </p:clrMapOvr>
  <p:transition spd="slow" advClick="0" advTm="3000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pic>
        <p:nvPicPr>
          <p:cNvPr id="103" name="出自【趣你的PPT】(微信:qunideppt)：最优质的PPT资源库" descr="F:\淘宝\ppt文件夹\商务图片分享@多吉格格\商务科技-7-高清@多吉搜集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33" t="24276" r="19659" b="23127"/>
          <a:stretch/>
        </p:blipFill>
        <p:spPr bwMode="auto">
          <a:xfrm>
            <a:off x="7221416" y="1262414"/>
            <a:ext cx="2232248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出自【趣你的PPT】(微信:qunideppt)：最优质的PPT资源库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7680" y="1261174"/>
            <a:ext cx="2239930" cy="1297384"/>
          </a:xfrm>
          <a:prstGeom prst="rect">
            <a:avLst/>
          </a:prstGeom>
        </p:spPr>
      </p:pic>
      <p:sp>
        <p:nvSpPr>
          <p:cNvPr id="105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7077400" y="2675569"/>
            <a:ext cx="4824536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6" name="Group 105出自【趣你的PPT】(微信:qunideppt)：最优质的PPT资源库"/>
          <p:cNvGrpSpPr/>
          <p:nvPr/>
        </p:nvGrpSpPr>
        <p:grpSpPr>
          <a:xfrm>
            <a:off x="3765032" y="3871873"/>
            <a:ext cx="1765052" cy="1500603"/>
            <a:chOff x="7741444" y="4036929"/>
            <a:chExt cx="1765052" cy="1500603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07" name="出自【趣你的PPT】(微信:qunideppt)：最优质的PPT资源库"/>
            <p:cNvSpPr/>
            <p:nvPr/>
          </p:nvSpPr>
          <p:spPr>
            <a:xfrm>
              <a:off x="7741444" y="4036929"/>
              <a:ext cx="1765052" cy="1500603"/>
            </a:xfrm>
            <a:custGeom>
              <a:avLst/>
              <a:gdLst/>
              <a:ahLst/>
              <a:cxnLst/>
              <a:rect l="l" t="t" r="r" b="b"/>
              <a:pathLst>
                <a:path w="1765052" h="1500603">
                  <a:moveTo>
                    <a:pt x="882526" y="0"/>
                  </a:moveTo>
                  <a:lnTo>
                    <a:pt x="1765052" y="1500603"/>
                  </a:lnTo>
                  <a:lnTo>
                    <a:pt x="0" y="1500603"/>
                  </a:lnTo>
                  <a:lnTo>
                    <a:pt x="375894" y="861452"/>
                  </a:lnTo>
                  <a:lnTo>
                    <a:pt x="464514" y="915388"/>
                  </a:lnTo>
                  <a:lnTo>
                    <a:pt x="392059" y="1034436"/>
                  </a:lnTo>
                  <a:lnTo>
                    <a:pt x="748236" y="924919"/>
                  </a:lnTo>
                  <a:lnTo>
                    <a:pt x="681880" y="558240"/>
                  </a:lnTo>
                  <a:lnTo>
                    <a:pt x="609424" y="677289"/>
                  </a:lnTo>
                  <a:lnTo>
                    <a:pt x="517210" y="621166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8" name="出自【趣你的PPT】(微信:qunideppt)：最优质的PPT资源库"/>
            <p:cNvSpPr txBox="1"/>
            <p:nvPr/>
          </p:nvSpPr>
          <p:spPr>
            <a:xfrm>
              <a:off x="8481095" y="4702158"/>
              <a:ext cx="418704" cy="646331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3600" b="1" dirty="0">
                  <a:solidFill>
                    <a:prstClr val="white">
                      <a:lumMod val="95000"/>
                    </a:prst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  <a:endParaRPr lang="zh-CN" altLang="en-US" sz="3600" b="1" dirty="0">
                <a:solidFill>
                  <a:prstClr val="white">
                    <a:lumMod val="95000"/>
                  </a:prst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09" name="Group 108出自【趣你的PPT】(微信:qunideppt)：最优质的PPT资源库"/>
          <p:cNvGrpSpPr/>
          <p:nvPr/>
        </p:nvGrpSpPr>
        <p:grpSpPr>
          <a:xfrm>
            <a:off x="2771257" y="2211349"/>
            <a:ext cx="1796802" cy="1469072"/>
            <a:chOff x="6747669" y="2376405"/>
            <a:chExt cx="1796802" cy="1469072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0" name="出自【趣你的PPT】(微信:qunideppt)：最优质的PPT资源库"/>
            <p:cNvSpPr/>
            <p:nvPr/>
          </p:nvSpPr>
          <p:spPr>
            <a:xfrm>
              <a:off x="6747669" y="2376405"/>
              <a:ext cx="1796802" cy="1469072"/>
            </a:xfrm>
            <a:custGeom>
              <a:avLst/>
              <a:gdLst/>
              <a:ahLst/>
              <a:cxnLst/>
              <a:rect l="l" t="t" r="r" b="b"/>
              <a:pathLst>
                <a:path w="1796802" h="1469072">
                  <a:moveTo>
                    <a:pt x="898401" y="0"/>
                  </a:moveTo>
                  <a:lnTo>
                    <a:pt x="1796802" y="1469072"/>
                  </a:lnTo>
                  <a:lnTo>
                    <a:pt x="1015417" y="1469072"/>
                  </a:lnTo>
                  <a:lnTo>
                    <a:pt x="1015417" y="1372637"/>
                  </a:lnTo>
                  <a:lnTo>
                    <a:pt x="1154781" y="1372637"/>
                  </a:lnTo>
                  <a:lnTo>
                    <a:pt x="876052" y="1125318"/>
                  </a:lnTo>
                  <a:lnTo>
                    <a:pt x="597323" y="1372637"/>
                  </a:lnTo>
                  <a:lnTo>
                    <a:pt x="736688" y="1372637"/>
                  </a:lnTo>
                  <a:lnTo>
                    <a:pt x="736688" y="1469072"/>
                  </a:lnTo>
                  <a:lnTo>
                    <a:pt x="0" y="1469072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1" name="出自【趣你的PPT】(微信:qunideppt)：最优质的PPT资源库"/>
            <p:cNvSpPr txBox="1"/>
            <p:nvPr/>
          </p:nvSpPr>
          <p:spPr>
            <a:xfrm>
              <a:off x="7417668" y="2897678"/>
              <a:ext cx="418704" cy="646331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3600" b="1" dirty="0">
                  <a:solidFill>
                    <a:prstClr val="white">
                      <a:lumMod val="95000"/>
                    </a:prst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zh-CN" altLang="en-US" sz="3600" b="1" dirty="0">
                <a:solidFill>
                  <a:prstClr val="white">
                    <a:lumMod val="95000"/>
                  </a:prst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2" name="Group 111出自【趣你的PPT】(微信:qunideppt)：最优质的PPT资源库"/>
          <p:cNvGrpSpPr/>
          <p:nvPr/>
        </p:nvGrpSpPr>
        <p:grpSpPr>
          <a:xfrm>
            <a:off x="1802882" y="3871873"/>
            <a:ext cx="1765052" cy="1500603"/>
            <a:chOff x="5779294" y="4036929"/>
            <a:chExt cx="1765052" cy="1500603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3" name="出自【趣你的PPT】(微信:qunideppt)：最优质的PPT资源库"/>
            <p:cNvSpPr/>
            <p:nvPr/>
          </p:nvSpPr>
          <p:spPr>
            <a:xfrm>
              <a:off x="5779294" y="4036929"/>
              <a:ext cx="1765052" cy="1500603"/>
            </a:xfrm>
            <a:custGeom>
              <a:avLst/>
              <a:gdLst/>
              <a:ahLst/>
              <a:cxnLst/>
              <a:rect l="l" t="t" r="r" b="b"/>
              <a:pathLst>
                <a:path w="1765052" h="1500603">
                  <a:moveTo>
                    <a:pt x="882526" y="0"/>
                  </a:moveTo>
                  <a:lnTo>
                    <a:pt x="1236032" y="601083"/>
                  </a:lnTo>
                  <a:lnTo>
                    <a:pt x="1121186" y="667974"/>
                  </a:lnTo>
                  <a:lnTo>
                    <a:pt x="1051045" y="547547"/>
                  </a:lnTo>
                  <a:lnTo>
                    <a:pt x="977616" y="912876"/>
                  </a:lnTo>
                  <a:lnTo>
                    <a:pt x="1331611" y="1029255"/>
                  </a:lnTo>
                  <a:lnTo>
                    <a:pt x="1261469" y="908828"/>
                  </a:lnTo>
                  <a:lnTo>
                    <a:pt x="1377332" y="841344"/>
                  </a:lnTo>
                  <a:lnTo>
                    <a:pt x="1765052" y="1500603"/>
                  </a:lnTo>
                  <a:lnTo>
                    <a:pt x="0" y="1500603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4" name="出自【趣你的PPT】(微信:qunideppt)：最优质的PPT资源库"/>
            <p:cNvSpPr txBox="1"/>
            <p:nvPr/>
          </p:nvSpPr>
          <p:spPr>
            <a:xfrm>
              <a:off x="6363765" y="4702158"/>
              <a:ext cx="418704" cy="646331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3600" b="1" dirty="0">
                  <a:solidFill>
                    <a:prstClr val="white">
                      <a:lumMod val="95000"/>
                    </a:prst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zh-CN" altLang="en-US" sz="3600" b="1" dirty="0">
                <a:solidFill>
                  <a:prstClr val="white">
                    <a:lumMod val="95000"/>
                  </a:prst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5" name="Group 114出自【趣你的PPT】(微信:qunideppt)：最优质的PPT资源库"/>
          <p:cNvGrpSpPr/>
          <p:nvPr/>
        </p:nvGrpSpPr>
        <p:grpSpPr>
          <a:xfrm>
            <a:off x="-1718" y="4390222"/>
            <a:ext cx="2049515" cy="1015663"/>
            <a:chOff x="3974694" y="4555278"/>
            <a:chExt cx="2049515" cy="1015663"/>
          </a:xfrm>
        </p:grpSpPr>
        <p:sp>
          <p:nvSpPr>
            <p:cNvPr id="116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 flipH="1">
              <a:off x="3974694" y="4555278"/>
              <a:ext cx="2049515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b="1" kern="0" dirty="0">
                  <a:latin typeface="微软雅黑" pitchFamily="34" charset="-122"/>
                  <a:ea typeface="微软雅黑" pitchFamily="34" charset="-122"/>
                </a:rPr>
                <a:t>点击添加标题    </a:t>
              </a:r>
              <a:endParaRPr lang="en-US" altLang="zh-CN" b="1" kern="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7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 flipH="1">
              <a:off x="4373275" y="4924610"/>
              <a:ext cx="1252352" cy="64633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该原创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模板来自公众号：趣你的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。</a:t>
              </a:r>
              <a:endParaRPr lang="en-US" altLang="zh-CN" sz="1200" kern="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19" name="Group 118出自【趣你的PPT】(微信:qunideppt)：最优质的PPT资源库"/>
          <p:cNvGrpSpPr/>
          <p:nvPr/>
        </p:nvGrpSpPr>
        <p:grpSpPr>
          <a:xfrm>
            <a:off x="5265219" y="4390222"/>
            <a:ext cx="2049515" cy="1015663"/>
            <a:chOff x="9241631" y="4555278"/>
            <a:chExt cx="2049515" cy="1015663"/>
          </a:xfrm>
        </p:grpSpPr>
        <p:sp>
          <p:nvSpPr>
            <p:cNvPr id="120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 flipH="1">
              <a:off x="9241631" y="4555278"/>
              <a:ext cx="2049515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b="1" kern="0" dirty="0">
                  <a:latin typeface="微软雅黑" pitchFamily="34" charset="-122"/>
                  <a:ea typeface="微软雅黑" pitchFamily="34" charset="-122"/>
                </a:rPr>
                <a:t>点击添加标题    </a:t>
              </a:r>
              <a:endParaRPr lang="en-US" altLang="zh-CN" b="1" kern="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1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 flipH="1">
              <a:off x="9640212" y="4924610"/>
              <a:ext cx="1252352" cy="64633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该原创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模板来自公众号：趣你的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。</a:t>
              </a:r>
              <a:endParaRPr lang="en-US" altLang="zh-CN" sz="1200" kern="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23" name="Group 122出自【趣你的PPT】(微信:qunideppt)：最优质的PPT资源库"/>
          <p:cNvGrpSpPr/>
          <p:nvPr/>
        </p:nvGrpSpPr>
        <p:grpSpPr>
          <a:xfrm>
            <a:off x="2608636" y="1273059"/>
            <a:ext cx="2049515" cy="1292465"/>
            <a:chOff x="6585048" y="1438115"/>
            <a:chExt cx="2049515" cy="1292465"/>
          </a:xfrm>
        </p:grpSpPr>
        <p:sp>
          <p:nvSpPr>
            <p:cNvPr id="124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 flipH="1">
              <a:off x="6585048" y="1438115"/>
              <a:ext cx="2049515" cy="36933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b="1" kern="0" dirty="0">
                  <a:latin typeface="微软雅黑" pitchFamily="34" charset="-122"/>
                  <a:ea typeface="微软雅黑" pitchFamily="34" charset="-122"/>
                </a:rPr>
                <a:t>点击添加标题    </a:t>
              </a:r>
              <a:endParaRPr lang="en-US" altLang="zh-CN" b="1" kern="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5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 flipH="1">
              <a:off x="6983629" y="1807447"/>
              <a:ext cx="1252352" cy="64633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该原创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模板来自公众号：趣你的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。</a:t>
              </a:r>
              <a:endParaRPr lang="en-US" altLang="zh-CN" sz="1200" kern="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6" name="出自【趣你的PPT】(微信:qunideppt)：最优质的PPT资源库"/>
            <p:cNvSpPr txBox="1">
              <a:spLocks noChangeArrowheads="1"/>
            </p:cNvSpPr>
            <p:nvPr/>
          </p:nvSpPr>
          <p:spPr bwMode="auto">
            <a:xfrm flipH="1">
              <a:off x="6983629" y="2084249"/>
              <a:ext cx="1252352" cy="64633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该原创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模板来自公众号：趣你的</a:t>
              </a:r>
              <a:r>
                <a:rPr lang="en-US" altLang="zh-CN" sz="1200" kern="0">
                  <a:latin typeface="微软雅黑" pitchFamily="34" charset="-122"/>
                  <a:ea typeface="微软雅黑" pitchFamily="34" charset="-122"/>
                </a:rPr>
                <a:t>PPT</a:t>
              </a:r>
              <a:r>
                <a:rPr lang="zh-CN" altLang="en-US" sz="1200" kern="0">
                  <a:latin typeface="微软雅黑" pitchFamily="34" charset="-122"/>
                  <a:ea typeface="微软雅黑" pitchFamily="34" charset="-122"/>
                </a:rPr>
                <a:t>。</a:t>
              </a:r>
              <a:endParaRPr lang="en-US" altLang="zh-CN" sz="1200" kern="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27" name="Group 126出自【趣你的PPT】(微信:qunideppt)：最优质的PPT资源库"/>
          <p:cNvGrpSpPr/>
          <p:nvPr/>
        </p:nvGrpSpPr>
        <p:grpSpPr>
          <a:xfrm>
            <a:off x="2736084" y="3769097"/>
            <a:ext cx="1822450" cy="1551623"/>
            <a:chOff x="6712496" y="3934153"/>
            <a:chExt cx="1822450" cy="1551623"/>
          </a:xfrm>
          <a:solidFill>
            <a:srgbClr val="0070C0"/>
          </a:solidFill>
        </p:grpSpPr>
        <p:sp>
          <p:nvSpPr>
            <p:cNvPr id="128" name="出自【趣你的PPT】(微信:qunideppt)：最优质的PPT资源库"/>
            <p:cNvSpPr/>
            <p:nvPr/>
          </p:nvSpPr>
          <p:spPr>
            <a:xfrm rot="10800000">
              <a:off x="6712496" y="3934153"/>
              <a:ext cx="1822450" cy="1551623"/>
            </a:xfrm>
            <a:prstGeom prst="triangle">
              <a:avLst/>
            </a:prstGeom>
            <a:solidFill>
              <a:srgbClr val="C00000"/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9" name="出自【趣你的PPT】(微信:qunideppt)：最优质的PPT资源库"/>
            <p:cNvSpPr/>
            <p:nvPr/>
          </p:nvSpPr>
          <p:spPr>
            <a:xfrm>
              <a:off x="7236033" y="4096659"/>
              <a:ext cx="646331" cy="64633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微软雅黑" pitchFamily="34" charset="-122"/>
                  <a:ea typeface="微软雅黑" pitchFamily="34" charset="-122"/>
                </a:rPr>
                <a:t>添加</a:t>
              </a:r>
              <a:endParaRPr lang="en-US" altLang="zh-CN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zh-CN" altLang="en-US" b="1" dirty="0"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微软雅黑" pitchFamily="34" charset="-122"/>
                  <a:ea typeface="微软雅黑" pitchFamily="34" charset="-122"/>
                </a:rPr>
                <a:t>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0460730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7" dur="5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8" dur="5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13 0.22732 L 2.70833E-6 -2.22222E-6 " pathEditMode="relative" rAng="0" ptsTypes="AA">
                                          <p:cBhvr>
                                            <p:cTn id="15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56" y="-1136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7" presetID="2" presetClass="entr" presetSubtype="1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19" dur="50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20" dur="50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2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11641 -0.12223 L 4.375E-6 3.33333E-6 " pathEditMode="relative" rAng="0" ptsTypes="AA">
                                          <p:cBhvr>
                                            <p:cTn id="27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820" y="611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9" presetID="2" presetClass="entr" presetSubtype="2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31" dur="500" fill="hold"/>
                                            <p:tgtEl>
                                              <p:spTgt spid="1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32" dur="500" fill="hold"/>
                                            <p:tgtEl>
                                              <p:spTgt spid="1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4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8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11471 -0.12223 L 1.875E-6 3.33333E-6 " pathEditMode="relative" rAng="0" ptsTypes="AA">
                                          <p:cBhvr>
                                            <p:cTn id="39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5742" y="611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0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41" presetID="2" presetClass="entr" presetSubtype="8" fill="hold" nodeType="afterEffect" p14:presetBounceEnd="5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000">
                                          <p:cBhvr additive="base">
                                            <p:cTn id="43" dur="500" fill="hold"/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000">
                                          <p:cBhvr additive="base">
                                            <p:cTn id="44" dur="500" fill="hold"/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6" presetID="8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amond(in)">
                                          <p:cBhvr>
                                            <p:cTn id="48" dur="2000"/>
                                            <p:tgtEl>
                                              <p:spTgt spid="10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8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amond(in)">
                                          <p:cBhvr>
                                            <p:cTn id="51" dur="2000"/>
                                            <p:tgtEl>
                                              <p:spTgt spid="1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2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53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wd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5" dur="250"/>
                                            <p:tgtEl>
                                              <p:spTgt spid="1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13 0.22732 L 2.70833E-6 -2.22222E-6 " pathEditMode="relative" rAng="0" ptsTypes="AA">
                                          <p:cBhvr>
                                            <p:cTn id="15" dur="500" fill="hold"/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56" y="-1136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7" presetID="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2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11641 -0.12223 L 4.375E-6 3.33333E-6 " pathEditMode="relative" rAng="0" ptsTypes="AA">
                                          <p:cBhvr>
                                            <p:cTn id="27" dur="500" fill="hold"/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820" y="611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9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1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500" fill="hold"/>
                                            <p:tgtEl>
                                              <p:spTgt spid="1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4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8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11471 -0.12223 L 1.875E-6 3.33333E-6 " pathEditMode="relative" rAng="0" ptsTypes="AA">
                                          <p:cBhvr>
                                            <p:cTn id="39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5742" y="611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0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41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500" fill="hold"/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500" fill="hold"/>
                                            <p:tgtEl>
                                              <p:spTgt spid="1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6" presetID="8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amond(in)">
                                          <p:cBhvr>
                                            <p:cTn id="48" dur="2000"/>
                                            <p:tgtEl>
                                              <p:spTgt spid="10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8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amond(in)">
                                          <p:cBhvr>
                                            <p:cTn id="51" dur="2000"/>
                                            <p:tgtEl>
                                              <p:spTgt spid="1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2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53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wd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5" dur="250"/>
                                            <p:tgtEl>
                                              <p:spTgt spid="1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5" grpId="0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1200364" y="821635"/>
            <a:ext cx="9273932" cy="4569680"/>
            <a:chOff x="949960" y="1224649"/>
            <a:chExt cx="9273932" cy="4569680"/>
          </a:xfrm>
        </p:grpSpPr>
        <p:sp>
          <p:nvSpPr>
            <p:cNvPr id="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04931" y="4621109"/>
              <a:ext cx="329790" cy="326000"/>
            </a:xfrm>
            <a:custGeom>
              <a:avLst/>
              <a:gdLst/>
              <a:ahLst/>
              <a:cxnLst>
                <a:cxn ang="0">
                  <a:pos x="53" y="137"/>
                </a:cxn>
                <a:cxn ang="0">
                  <a:pos x="60" y="133"/>
                </a:cxn>
                <a:cxn ang="0">
                  <a:pos x="66" y="141"/>
                </a:cxn>
                <a:cxn ang="0">
                  <a:pos x="80" y="141"/>
                </a:cxn>
                <a:cxn ang="0">
                  <a:pos x="87" y="134"/>
                </a:cxn>
                <a:cxn ang="0">
                  <a:pos x="87" y="59"/>
                </a:cxn>
                <a:cxn ang="0">
                  <a:pos x="99" y="55"/>
                </a:cxn>
                <a:cxn ang="0">
                  <a:pos x="99" y="16"/>
                </a:cxn>
                <a:cxn ang="0">
                  <a:pos x="109" y="15"/>
                </a:cxn>
                <a:cxn ang="0">
                  <a:pos x="122" y="11"/>
                </a:cxn>
                <a:cxn ang="0">
                  <a:pos x="128" y="16"/>
                </a:cxn>
                <a:cxn ang="0">
                  <a:pos x="136" y="11"/>
                </a:cxn>
                <a:cxn ang="0">
                  <a:pos x="144" y="9"/>
                </a:cxn>
                <a:cxn ang="0">
                  <a:pos x="143" y="6"/>
                </a:cxn>
                <a:cxn ang="0">
                  <a:pos x="119" y="8"/>
                </a:cxn>
                <a:cxn ang="0">
                  <a:pos x="102" y="9"/>
                </a:cxn>
                <a:cxn ang="0">
                  <a:pos x="77" y="9"/>
                </a:cxn>
                <a:cxn ang="0">
                  <a:pos x="73" y="5"/>
                </a:cxn>
                <a:cxn ang="0">
                  <a:pos x="34" y="5"/>
                </a:cxn>
                <a:cxn ang="0">
                  <a:pos x="24" y="3"/>
                </a:cxn>
                <a:cxn ang="0">
                  <a:pos x="13" y="2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1" y="3"/>
                </a:cxn>
                <a:cxn ang="0">
                  <a:pos x="7" y="18"/>
                </a:cxn>
                <a:cxn ang="0">
                  <a:pos x="18" y="41"/>
                </a:cxn>
                <a:cxn ang="0">
                  <a:pos x="29" y="65"/>
                </a:cxn>
                <a:cxn ang="0">
                  <a:pos x="30" y="84"/>
                </a:cxn>
                <a:cxn ang="0">
                  <a:pos x="34" y="101"/>
                </a:cxn>
                <a:cxn ang="0">
                  <a:pos x="42" y="129"/>
                </a:cxn>
                <a:cxn ang="0">
                  <a:pos x="49" y="138"/>
                </a:cxn>
                <a:cxn ang="0">
                  <a:pos x="53" y="137"/>
                </a:cxn>
              </a:cxnLst>
              <a:rect l="0" t="0" r="r" b="b"/>
              <a:pathLst>
                <a:path w="144" h="143">
                  <a:moveTo>
                    <a:pt x="53" y="137"/>
                  </a:moveTo>
                  <a:cubicBezTo>
                    <a:pt x="53" y="134"/>
                    <a:pt x="57" y="130"/>
                    <a:pt x="60" y="133"/>
                  </a:cubicBezTo>
                  <a:cubicBezTo>
                    <a:pt x="62" y="137"/>
                    <a:pt x="61" y="141"/>
                    <a:pt x="66" y="141"/>
                  </a:cubicBezTo>
                  <a:cubicBezTo>
                    <a:pt x="70" y="141"/>
                    <a:pt x="79" y="143"/>
                    <a:pt x="80" y="141"/>
                  </a:cubicBezTo>
                  <a:cubicBezTo>
                    <a:pt x="81" y="139"/>
                    <a:pt x="87" y="137"/>
                    <a:pt x="87" y="134"/>
                  </a:cubicBezTo>
                  <a:cubicBezTo>
                    <a:pt x="87" y="130"/>
                    <a:pt x="87" y="62"/>
                    <a:pt x="87" y="59"/>
                  </a:cubicBezTo>
                  <a:cubicBezTo>
                    <a:pt x="87" y="57"/>
                    <a:pt x="99" y="59"/>
                    <a:pt x="99" y="55"/>
                  </a:cubicBezTo>
                  <a:cubicBezTo>
                    <a:pt x="99" y="51"/>
                    <a:pt x="99" y="16"/>
                    <a:pt x="99" y="16"/>
                  </a:cubicBezTo>
                  <a:cubicBezTo>
                    <a:pt x="99" y="16"/>
                    <a:pt x="107" y="16"/>
                    <a:pt x="109" y="15"/>
                  </a:cubicBezTo>
                  <a:cubicBezTo>
                    <a:pt x="112" y="14"/>
                    <a:pt x="120" y="10"/>
                    <a:pt x="122" y="11"/>
                  </a:cubicBezTo>
                  <a:cubicBezTo>
                    <a:pt x="124" y="13"/>
                    <a:pt x="127" y="17"/>
                    <a:pt x="128" y="16"/>
                  </a:cubicBezTo>
                  <a:cubicBezTo>
                    <a:pt x="129" y="14"/>
                    <a:pt x="133" y="11"/>
                    <a:pt x="136" y="11"/>
                  </a:cubicBezTo>
                  <a:cubicBezTo>
                    <a:pt x="138" y="11"/>
                    <a:pt x="141" y="10"/>
                    <a:pt x="144" y="9"/>
                  </a:cubicBezTo>
                  <a:cubicBezTo>
                    <a:pt x="143" y="8"/>
                    <a:pt x="143" y="7"/>
                    <a:pt x="143" y="6"/>
                  </a:cubicBezTo>
                  <a:cubicBezTo>
                    <a:pt x="143" y="4"/>
                    <a:pt x="122" y="7"/>
                    <a:pt x="119" y="8"/>
                  </a:cubicBezTo>
                  <a:cubicBezTo>
                    <a:pt x="116" y="9"/>
                    <a:pt x="105" y="11"/>
                    <a:pt x="102" y="9"/>
                  </a:cubicBezTo>
                  <a:cubicBezTo>
                    <a:pt x="98" y="8"/>
                    <a:pt x="77" y="9"/>
                    <a:pt x="77" y="9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38" y="5"/>
                    <a:pt x="34" y="5"/>
                  </a:cubicBezTo>
                  <a:cubicBezTo>
                    <a:pt x="30" y="5"/>
                    <a:pt x="27" y="5"/>
                    <a:pt x="24" y="3"/>
                  </a:cubicBezTo>
                  <a:cubicBezTo>
                    <a:pt x="20" y="0"/>
                    <a:pt x="17" y="0"/>
                    <a:pt x="13" y="2"/>
                  </a:cubicBezTo>
                  <a:cubicBezTo>
                    <a:pt x="9" y="4"/>
                    <a:pt x="11" y="0"/>
                    <a:pt x="8" y="0"/>
                  </a:cubicBezTo>
                  <a:cubicBezTo>
                    <a:pt x="5" y="0"/>
                    <a:pt x="4" y="3"/>
                    <a:pt x="4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7"/>
                    <a:pt x="3" y="13"/>
                    <a:pt x="7" y="18"/>
                  </a:cubicBezTo>
                  <a:cubicBezTo>
                    <a:pt x="11" y="23"/>
                    <a:pt x="15" y="33"/>
                    <a:pt x="18" y="41"/>
                  </a:cubicBezTo>
                  <a:cubicBezTo>
                    <a:pt x="20" y="49"/>
                    <a:pt x="28" y="59"/>
                    <a:pt x="29" y="65"/>
                  </a:cubicBezTo>
                  <a:cubicBezTo>
                    <a:pt x="31" y="71"/>
                    <a:pt x="28" y="80"/>
                    <a:pt x="30" y="84"/>
                  </a:cubicBezTo>
                  <a:cubicBezTo>
                    <a:pt x="32" y="88"/>
                    <a:pt x="33" y="95"/>
                    <a:pt x="34" y="101"/>
                  </a:cubicBezTo>
                  <a:cubicBezTo>
                    <a:pt x="35" y="108"/>
                    <a:pt x="35" y="123"/>
                    <a:pt x="42" y="129"/>
                  </a:cubicBezTo>
                  <a:cubicBezTo>
                    <a:pt x="44" y="131"/>
                    <a:pt x="46" y="134"/>
                    <a:pt x="49" y="138"/>
                  </a:cubicBezTo>
                  <a:cubicBezTo>
                    <a:pt x="51" y="138"/>
                    <a:pt x="53" y="138"/>
                    <a:pt x="53" y="13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934722" y="4583202"/>
              <a:ext cx="204697" cy="178163"/>
            </a:xfrm>
            <a:custGeom>
              <a:avLst/>
              <a:gdLst/>
              <a:ahLst/>
              <a:cxnLst>
                <a:cxn ang="0">
                  <a:pos x="59" y="4"/>
                </a:cxn>
                <a:cxn ang="0">
                  <a:pos x="58" y="0"/>
                </a:cxn>
                <a:cxn ang="0">
                  <a:pos x="48" y="0"/>
                </a:cxn>
                <a:cxn ang="0">
                  <a:pos x="42" y="6"/>
                </a:cxn>
                <a:cxn ang="0">
                  <a:pos x="31" y="14"/>
                </a:cxn>
                <a:cxn ang="0">
                  <a:pos x="20" y="27"/>
                </a:cxn>
                <a:cxn ang="0">
                  <a:pos x="5" y="24"/>
                </a:cxn>
                <a:cxn ang="0">
                  <a:pos x="0" y="25"/>
                </a:cxn>
                <a:cxn ang="0">
                  <a:pos x="6" y="31"/>
                </a:cxn>
                <a:cxn ang="0">
                  <a:pos x="12" y="45"/>
                </a:cxn>
                <a:cxn ang="0">
                  <a:pos x="23" y="53"/>
                </a:cxn>
                <a:cxn ang="0">
                  <a:pos x="28" y="61"/>
                </a:cxn>
                <a:cxn ang="0">
                  <a:pos x="36" y="69"/>
                </a:cxn>
                <a:cxn ang="0">
                  <a:pos x="44" y="74"/>
                </a:cxn>
                <a:cxn ang="0">
                  <a:pos x="55" y="76"/>
                </a:cxn>
                <a:cxn ang="0">
                  <a:pos x="67" y="78"/>
                </a:cxn>
                <a:cxn ang="0">
                  <a:pos x="79" y="67"/>
                </a:cxn>
                <a:cxn ang="0">
                  <a:pos x="82" y="56"/>
                </a:cxn>
                <a:cxn ang="0">
                  <a:pos x="88" y="48"/>
                </a:cxn>
                <a:cxn ang="0">
                  <a:pos x="84" y="39"/>
                </a:cxn>
                <a:cxn ang="0">
                  <a:pos x="87" y="29"/>
                </a:cxn>
                <a:cxn ang="0">
                  <a:pos x="87" y="12"/>
                </a:cxn>
                <a:cxn ang="0">
                  <a:pos x="74" y="7"/>
                </a:cxn>
                <a:cxn ang="0">
                  <a:pos x="59" y="4"/>
                </a:cxn>
              </a:cxnLst>
              <a:rect l="0" t="0" r="r" b="b"/>
              <a:pathLst>
                <a:path w="90" h="78">
                  <a:moveTo>
                    <a:pt x="59" y="4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2"/>
                    <a:pt x="42" y="4"/>
                    <a:pt x="42" y="6"/>
                  </a:cubicBezTo>
                  <a:cubicBezTo>
                    <a:pt x="42" y="8"/>
                    <a:pt x="36" y="13"/>
                    <a:pt x="31" y="14"/>
                  </a:cubicBezTo>
                  <a:cubicBezTo>
                    <a:pt x="27" y="15"/>
                    <a:pt x="22" y="25"/>
                    <a:pt x="20" y="27"/>
                  </a:cubicBezTo>
                  <a:cubicBezTo>
                    <a:pt x="17" y="28"/>
                    <a:pt x="8" y="25"/>
                    <a:pt x="5" y="24"/>
                  </a:cubicBezTo>
                  <a:cubicBezTo>
                    <a:pt x="4" y="24"/>
                    <a:pt x="2" y="25"/>
                    <a:pt x="0" y="25"/>
                  </a:cubicBezTo>
                  <a:cubicBezTo>
                    <a:pt x="1" y="28"/>
                    <a:pt x="5" y="31"/>
                    <a:pt x="6" y="31"/>
                  </a:cubicBezTo>
                  <a:cubicBezTo>
                    <a:pt x="8" y="31"/>
                    <a:pt x="8" y="43"/>
                    <a:pt x="12" y="45"/>
                  </a:cubicBezTo>
                  <a:cubicBezTo>
                    <a:pt x="16" y="47"/>
                    <a:pt x="23" y="51"/>
                    <a:pt x="23" y="53"/>
                  </a:cubicBezTo>
                  <a:cubicBezTo>
                    <a:pt x="23" y="55"/>
                    <a:pt x="28" y="58"/>
                    <a:pt x="28" y="61"/>
                  </a:cubicBezTo>
                  <a:cubicBezTo>
                    <a:pt x="28" y="65"/>
                    <a:pt x="32" y="69"/>
                    <a:pt x="36" y="69"/>
                  </a:cubicBezTo>
                  <a:cubicBezTo>
                    <a:pt x="43" y="69"/>
                    <a:pt x="44" y="72"/>
                    <a:pt x="44" y="74"/>
                  </a:cubicBezTo>
                  <a:cubicBezTo>
                    <a:pt x="44" y="76"/>
                    <a:pt x="53" y="74"/>
                    <a:pt x="55" y="76"/>
                  </a:cubicBezTo>
                  <a:cubicBezTo>
                    <a:pt x="56" y="78"/>
                    <a:pt x="65" y="77"/>
                    <a:pt x="67" y="78"/>
                  </a:cubicBezTo>
                  <a:cubicBezTo>
                    <a:pt x="71" y="75"/>
                    <a:pt x="77" y="70"/>
                    <a:pt x="79" y="67"/>
                  </a:cubicBezTo>
                  <a:cubicBezTo>
                    <a:pt x="82" y="63"/>
                    <a:pt x="79" y="58"/>
                    <a:pt x="82" y="56"/>
                  </a:cubicBezTo>
                  <a:cubicBezTo>
                    <a:pt x="84" y="55"/>
                    <a:pt x="90" y="48"/>
                    <a:pt x="88" y="48"/>
                  </a:cubicBezTo>
                  <a:cubicBezTo>
                    <a:pt x="86" y="47"/>
                    <a:pt x="87" y="42"/>
                    <a:pt x="84" y="39"/>
                  </a:cubicBezTo>
                  <a:cubicBezTo>
                    <a:pt x="81" y="36"/>
                    <a:pt x="88" y="35"/>
                    <a:pt x="87" y="29"/>
                  </a:cubicBezTo>
                  <a:cubicBezTo>
                    <a:pt x="87" y="24"/>
                    <a:pt x="88" y="13"/>
                    <a:pt x="87" y="12"/>
                  </a:cubicBezTo>
                  <a:cubicBezTo>
                    <a:pt x="85" y="11"/>
                    <a:pt x="78" y="10"/>
                    <a:pt x="74" y="7"/>
                  </a:cubicBezTo>
                  <a:cubicBezTo>
                    <a:pt x="69" y="4"/>
                    <a:pt x="59" y="4"/>
                    <a:pt x="59" y="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03943" y="4641957"/>
              <a:ext cx="231232" cy="248291"/>
            </a:xfrm>
            <a:custGeom>
              <a:avLst/>
              <a:gdLst/>
              <a:ahLst/>
              <a:cxnLst>
                <a:cxn ang="0">
                  <a:pos x="93" y="44"/>
                </a:cxn>
                <a:cxn ang="0">
                  <a:pos x="85" y="36"/>
                </a:cxn>
                <a:cxn ang="0">
                  <a:pos x="80" y="28"/>
                </a:cxn>
                <a:cxn ang="0">
                  <a:pos x="69" y="20"/>
                </a:cxn>
                <a:cxn ang="0">
                  <a:pos x="63" y="6"/>
                </a:cxn>
                <a:cxn ang="0">
                  <a:pos x="57" y="0"/>
                </a:cxn>
                <a:cxn ang="0">
                  <a:pos x="49" y="2"/>
                </a:cxn>
                <a:cxn ang="0">
                  <a:pos x="41" y="7"/>
                </a:cxn>
                <a:cxn ang="0">
                  <a:pos x="35" y="2"/>
                </a:cxn>
                <a:cxn ang="0">
                  <a:pos x="22" y="6"/>
                </a:cxn>
                <a:cxn ang="0">
                  <a:pos x="12" y="7"/>
                </a:cxn>
                <a:cxn ang="0">
                  <a:pos x="12" y="46"/>
                </a:cxn>
                <a:cxn ang="0">
                  <a:pos x="0" y="50"/>
                </a:cxn>
                <a:cxn ang="0">
                  <a:pos x="0" y="83"/>
                </a:cxn>
                <a:cxn ang="0">
                  <a:pos x="6" y="87"/>
                </a:cxn>
                <a:cxn ang="0">
                  <a:pos x="9" y="100"/>
                </a:cxn>
                <a:cxn ang="0">
                  <a:pos x="7" y="102"/>
                </a:cxn>
                <a:cxn ang="0">
                  <a:pos x="9" y="107"/>
                </a:cxn>
                <a:cxn ang="0">
                  <a:pos x="20" y="107"/>
                </a:cxn>
                <a:cxn ang="0">
                  <a:pos x="31" y="95"/>
                </a:cxn>
                <a:cxn ang="0">
                  <a:pos x="38" y="89"/>
                </a:cxn>
                <a:cxn ang="0">
                  <a:pos x="52" y="93"/>
                </a:cxn>
                <a:cxn ang="0">
                  <a:pos x="62" y="88"/>
                </a:cxn>
                <a:cxn ang="0">
                  <a:pos x="67" y="80"/>
                </a:cxn>
                <a:cxn ang="0">
                  <a:pos x="76" y="73"/>
                </a:cxn>
                <a:cxn ang="0">
                  <a:pos x="81" y="65"/>
                </a:cxn>
                <a:cxn ang="0">
                  <a:pos x="90" y="59"/>
                </a:cxn>
                <a:cxn ang="0">
                  <a:pos x="97" y="55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93" y="44"/>
                </a:cxn>
              </a:cxnLst>
              <a:rect l="0" t="0" r="r" b="b"/>
              <a:pathLst>
                <a:path w="101" h="109">
                  <a:moveTo>
                    <a:pt x="93" y="44"/>
                  </a:moveTo>
                  <a:cubicBezTo>
                    <a:pt x="89" y="44"/>
                    <a:pt x="85" y="40"/>
                    <a:pt x="85" y="36"/>
                  </a:cubicBezTo>
                  <a:cubicBezTo>
                    <a:pt x="85" y="33"/>
                    <a:pt x="80" y="30"/>
                    <a:pt x="80" y="28"/>
                  </a:cubicBezTo>
                  <a:cubicBezTo>
                    <a:pt x="80" y="26"/>
                    <a:pt x="73" y="22"/>
                    <a:pt x="69" y="20"/>
                  </a:cubicBezTo>
                  <a:cubicBezTo>
                    <a:pt x="65" y="18"/>
                    <a:pt x="65" y="6"/>
                    <a:pt x="63" y="6"/>
                  </a:cubicBezTo>
                  <a:cubicBezTo>
                    <a:pt x="62" y="6"/>
                    <a:pt x="58" y="3"/>
                    <a:pt x="57" y="0"/>
                  </a:cubicBezTo>
                  <a:cubicBezTo>
                    <a:pt x="54" y="1"/>
                    <a:pt x="51" y="2"/>
                    <a:pt x="49" y="2"/>
                  </a:cubicBezTo>
                  <a:cubicBezTo>
                    <a:pt x="46" y="2"/>
                    <a:pt x="42" y="5"/>
                    <a:pt x="41" y="7"/>
                  </a:cubicBezTo>
                  <a:cubicBezTo>
                    <a:pt x="40" y="8"/>
                    <a:pt x="37" y="4"/>
                    <a:pt x="35" y="2"/>
                  </a:cubicBezTo>
                  <a:cubicBezTo>
                    <a:pt x="33" y="1"/>
                    <a:pt x="25" y="5"/>
                    <a:pt x="22" y="6"/>
                  </a:cubicBezTo>
                  <a:cubicBezTo>
                    <a:pt x="20" y="7"/>
                    <a:pt x="12" y="7"/>
                    <a:pt x="12" y="7"/>
                  </a:cubicBezTo>
                  <a:cubicBezTo>
                    <a:pt x="12" y="7"/>
                    <a:pt x="12" y="42"/>
                    <a:pt x="12" y="46"/>
                  </a:cubicBezTo>
                  <a:cubicBezTo>
                    <a:pt x="12" y="50"/>
                    <a:pt x="0" y="48"/>
                    <a:pt x="0" y="50"/>
                  </a:cubicBezTo>
                  <a:cubicBezTo>
                    <a:pt x="0" y="51"/>
                    <a:pt x="0" y="67"/>
                    <a:pt x="0" y="83"/>
                  </a:cubicBezTo>
                  <a:cubicBezTo>
                    <a:pt x="3" y="84"/>
                    <a:pt x="5" y="85"/>
                    <a:pt x="6" y="87"/>
                  </a:cubicBezTo>
                  <a:cubicBezTo>
                    <a:pt x="7" y="90"/>
                    <a:pt x="10" y="98"/>
                    <a:pt x="9" y="100"/>
                  </a:cubicBezTo>
                  <a:cubicBezTo>
                    <a:pt x="9" y="102"/>
                    <a:pt x="7" y="100"/>
                    <a:pt x="7" y="102"/>
                  </a:cubicBezTo>
                  <a:cubicBezTo>
                    <a:pt x="7" y="104"/>
                    <a:pt x="6" y="107"/>
                    <a:pt x="9" y="107"/>
                  </a:cubicBezTo>
                  <a:cubicBezTo>
                    <a:pt x="12" y="107"/>
                    <a:pt x="18" y="109"/>
                    <a:pt x="20" y="107"/>
                  </a:cubicBezTo>
                  <a:cubicBezTo>
                    <a:pt x="23" y="104"/>
                    <a:pt x="30" y="98"/>
                    <a:pt x="31" y="95"/>
                  </a:cubicBezTo>
                  <a:cubicBezTo>
                    <a:pt x="31" y="92"/>
                    <a:pt x="33" y="85"/>
                    <a:pt x="38" y="89"/>
                  </a:cubicBezTo>
                  <a:cubicBezTo>
                    <a:pt x="44" y="93"/>
                    <a:pt x="44" y="93"/>
                    <a:pt x="52" y="93"/>
                  </a:cubicBezTo>
                  <a:cubicBezTo>
                    <a:pt x="59" y="93"/>
                    <a:pt x="61" y="93"/>
                    <a:pt x="62" y="88"/>
                  </a:cubicBezTo>
                  <a:cubicBezTo>
                    <a:pt x="64" y="84"/>
                    <a:pt x="62" y="80"/>
                    <a:pt x="67" y="80"/>
                  </a:cubicBezTo>
                  <a:cubicBezTo>
                    <a:pt x="71" y="80"/>
                    <a:pt x="76" y="76"/>
                    <a:pt x="76" y="73"/>
                  </a:cubicBezTo>
                  <a:cubicBezTo>
                    <a:pt x="76" y="70"/>
                    <a:pt x="78" y="65"/>
                    <a:pt x="81" y="65"/>
                  </a:cubicBezTo>
                  <a:cubicBezTo>
                    <a:pt x="84" y="65"/>
                    <a:pt x="89" y="62"/>
                    <a:pt x="90" y="59"/>
                  </a:cubicBezTo>
                  <a:cubicBezTo>
                    <a:pt x="91" y="55"/>
                    <a:pt x="95" y="57"/>
                    <a:pt x="97" y="55"/>
                  </a:cubicBezTo>
                  <a:cubicBezTo>
                    <a:pt x="98" y="54"/>
                    <a:pt x="99" y="51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7"/>
                    <a:pt x="100" y="44"/>
                    <a:pt x="93" y="4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074977" y="4856132"/>
              <a:ext cx="36012" cy="4359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8"/>
                </a:cxn>
                <a:cxn ang="0">
                  <a:pos x="7" y="19"/>
                </a:cxn>
                <a:cxn ang="0">
                  <a:pos x="13" y="16"/>
                </a:cxn>
                <a:cxn ang="0">
                  <a:pos x="15" y="13"/>
                </a:cxn>
                <a:cxn ang="0">
                  <a:pos x="14" y="3"/>
                </a:cxn>
                <a:cxn ang="0">
                  <a:pos x="7" y="0"/>
                </a:cxn>
              </a:cxnLst>
              <a:rect l="0" t="0" r="r" b="b"/>
              <a:pathLst>
                <a:path w="15" h="19">
                  <a:moveTo>
                    <a:pt x="7" y="0"/>
                  </a:moveTo>
                  <a:cubicBezTo>
                    <a:pt x="5" y="0"/>
                    <a:pt x="0" y="7"/>
                    <a:pt x="0" y="8"/>
                  </a:cubicBezTo>
                  <a:cubicBezTo>
                    <a:pt x="0" y="10"/>
                    <a:pt x="3" y="18"/>
                    <a:pt x="7" y="19"/>
                  </a:cubicBezTo>
                  <a:cubicBezTo>
                    <a:pt x="10" y="19"/>
                    <a:pt x="13" y="19"/>
                    <a:pt x="13" y="16"/>
                  </a:cubicBezTo>
                  <a:cubicBezTo>
                    <a:pt x="13" y="15"/>
                    <a:pt x="14" y="14"/>
                    <a:pt x="15" y="13"/>
                  </a:cubicBezTo>
                  <a:cubicBezTo>
                    <a:pt x="15" y="11"/>
                    <a:pt x="14" y="6"/>
                    <a:pt x="14" y="3"/>
                  </a:cubicBezTo>
                  <a:cubicBezTo>
                    <a:pt x="12" y="2"/>
                    <a:pt x="9" y="0"/>
                    <a:pt x="7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982106" y="4928155"/>
              <a:ext cx="56860" cy="64442"/>
            </a:xfrm>
            <a:custGeom>
              <a:avLst/>
              <a:gdLst/>
              <a:ahLst/>
              <a:cxnLst>
                <a:cxn ang="0">
                  <a:pos x="18" y="3"/>
                </a:cxn>
                <a:cxn ang="0">
                  <a:pos x="7" y="8"/>
                </a:cxn>
                <a:cxn ang="0">
                  <a:pos x="0" y="18"/>
                </a:cxn>
                <a:cxn ang="0">
                  <a:pos x="7" y="27"/>
                </a:cxn>
                <a:cxn ang="0">
                  <a:pos x="11" y="28"/>
                </a:cxn>
                <a:cxn ang="0">
                  <a:pos x="14" y="22"/>
                </a:cxn>
                <a:cxn ang="0">
                  <a:pos x="21" y="20"/>
                </a:cxn>
                <a:cxn ang="0">
                  <a:pos x="25" y="12"/>
                </a:cxn>
                <a:cxn ang="0">
                  <a:pos x="18" y="3"/>
                </a:cxn>
              </a:cxnLst>
              <a:rect l="0" t="0" r="r" b="b"/>
              <a:pathLst>
                <a:path w="25" h="28">
                  <a:moveTo>
                    <a:pt x="18" y="3"/>
                  </a:moveTo>
                  <a:cubicBezTo>
                    <a:pt x="17" y="0"/>
                    <a:pt x="8" y="5"/>
                    <a:pt x="7" y="8"/>
                  </a:cubicBezTo>
                  <a:cubicBezTo>
                    <a:pt x="5" y="10"/>
                    <a:pt x="0" y="18"/>
                    <a:pt x="0" y="18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3" y="24"/>
                    <a:pt x="14" y="22"/>
                  </a:cubicBezTo>
                  <a:cubicBezTo>
                    <a:pt x="15" y="19"/>
                    <a:pt x="21" y="22"/>
                    <a:pt x="21" y="20"/>
                  </a:cubicBezTo>
                  <a:cubicBezTo>
                    <a:pt x="21" y="17"/>
                    <a:pt x="25" y="14"/>
                    <a:pt x="25" y="12"/>
                  </a:cubicBezTo>
                  <a:cubicBezTo>
                    <a:pt x="25" y="9"/>
                    <a:pt x="19" y="6"/>
                    <a:pt x="18" y="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716758" y="4751887"/>
              <a:ext cx="413186" cy="363906"/>
            </a:xfrm>
            <a:custGeom>
              <a:avLst/>
              <a:gdLst/>
              <a:ahLst/>
              <a:cxnLst>
                <a:cxn ang="0">
                  <a:pos x="172" y="59"/>
                </a:cxn>
                <a:cxn ang="0">
                  <a:pos x="172" y="58"/>
                </a:cxn>
                <a:cxn ang="0">
                  <a:pos x="170" y="61"/>
                </a:cxn>
                <a:cxn ang="0">
                  <a:pos x="164" y="64"/>
                </a:cxn>
                <a:cxn ang="0">
                  <a:pos x="157" y="53"/>
                </a:cxn>
                <a:cxn ang="0">
                  <a:pos x="164" y="45"/>
                </a:cxn>
                <a:cxn ang="0">
                  <a:pos x="171" y="48"/>
                </a:cxn>
                <a:cxn ang="0">
                  <a:pos x="171" y="46"/>
                </a:cxn>
                <a:cxn ang="0">
                  <a:pos x="170" y="26"/>
                </a:cxn>
                <a:cxn ang="0">
                  <a:pos x="163" y="5"/>
                </a:cxn>
                <a:cxn ang="0">
                  <a:pos x="150" y="2"/>
                </a:cxn>
                <a:cxn ang="0">
                  <a:pos x="139" y="0"/>
                </a:cxn>
                <a:cxn ang="0">
                  <a:pos x="135" y="6"/>
                </a:cxn>
                <a:cxn ang="0">
                  <a:pos x="128" y="10"/>
                </a:cxn>
                <a:cxn ang="0">
                  <a:pos x="119" y="16"/>
                </a:cxn>
                <a:cxn ang="0">
                  <a:pos x="114" y="24"/>
                </a:cxn>
                <a:cxn ang="0">
                  <a:pos x="105" y="31"/>
                </a:cxn>
                <a:cxn ang="0">
                  <a:pos x="100" y="39"/>
                </a:cxn>
                <a:cxn ang="0">
                  <a:pos x="90" y="44"/>
                </a:cxn>
                <a:cxn ang="0">
                  <a:pos x="76" y="40"/>
                </a:cxn>
                <a:cxn ang="0">
                  <a:pos x="69" y="46"/>
                </a:cxn>
                <a:cxn ang="0">
                  <a:pos x="58" y="58"/>
                </a:cxn>
                <a:cxn ang="0">
                  <a:pos x="47" y="58"/>
                </a:cxn>
                <a:cxn ang="0">
                  <a:pos x="45" y="53"/>
                </a:cxn>
                <a:cxn ang="0">
                  <a:pos x="47" y="51"/>
                </a:cxn>
                <a:cxn ang="0">
                  <a:pos x="44" y="38"/>
                </a:cxn>
                <a:cxn ang="0">
                  <a:pos x="38" y="34"/>
                </a:cxn>
                <a:cxn ang="0">
                  <a:pos x="38" y="76"/>
                </a:cxn>
                <a:cxn ang="0">
                  <a:pos x="31" y="83"/>
                </a:cxn>
                <a:cxn ang="0">
                  <a:pos x="17" y="83"/>
                </a:cxn>
                <a:cxn ang="0">
                  <a:pos x="11" y="75"/>
                </a:cxn>
                <a:cxn ang="0">
                  <a:pos x="4" y="79"/>
                </a:cxn>
                <a:cxn ang="0">
                  <a:pos x="0" y="80"/>
                </a:cxn>
                <a:cxn ang="0">
                  <a:pos x="8" y="98"/>
                </a:cxn>
                <a:cxn ang="0">
                  <a:pos x="19" y="120"/>
                </a:cxn>
                <a:cxn ang="0">
                  <a:pos x="19" y="131"/>
                </a:cxn>
                <a:cxn ang="0">
                  <a:pos x="19" y="140"/>
                </a:cxn>
                <a:cxn ang="0">
                  <a:pos x="23" y="149"/>
                </a:cxn>
                <a:cxn ang="0">
                  <a:pos x="27" y="152"/>
                </a:cxn>
                <a:cxn ang="0">
                  <a:pos x="33" y="157"/>
                </a:cxn>
                <a:cxn ang="0">
                  <a:pos x="41" y="157"/>
                </a:cxn>
                <a:cxn ang="0">
                  <a:pos x="54" y="153"/>
                </a:cxn>
                <a:cxn ang="0">
                  <a:pos x="64" y="149"/>
                </a:cxn>
                <a:cxn ang="0">
                  <a:pos x="82" y="149"/>
                </a:cxn>
                <a:cxn ang="0">
                  <a:pos x="93" y="147"/>
                </a:cxn>
                <a:cxn ang="0">
                  <a:pos x="100" y="146"/>
                </a:cxn>
                <a:cxn ang="0">
                  <a:pos x="109" y="143"/>
                </a:cxn>
                <a:cxn ang="0">
                  <a:pos x="132" y="128"/>
                </a:cxn>
                <a:cxn ang="0">
                  <a:pos x="159" y="95"/>
                </a:cxn>
                <a:cxn ang="0">
                  <a:pos x="175" y="77"/>
                </a:cxn>
                <a:cxn ang="0">
                  <a:pos x="181" y="59"/>
                </a:cxn>
                <a:cxn ang="0">
                  <a:pos x="172" y="59"/>
                </a:cxn>
                <a:cxn ang="0">
                  <a:pos x="137" y="97"/>
                </a:cxn>
                <a:cxn ang="0">
                  <a:pos x="130" y="99"/>
                </a:cxn>
                <a:cxn ang="0">
                  <a:pos x="127" y="105"/>
                </a:cxn>
                <a:cxn ang="0">
                  <a:pos x="123" y="104"/>
                </a:cxn>
                <a:cxn ang="0">
                  <a:pos x="116" y="95"/>
                </a:cxn>
                <a:cxn ang="0">
                  <a:pos x="123" y="85"/>
                </a:cxn>
                <a:cxn ang="0">
                  <a:pos x="134" y="80"/>
                </a:cxn>
                <a:cxn ang="0">
                  <a:pos x="141" y="89"/>
                </a:cxn>
                <a:cxn ang="0">
                  <a:pos x="137" y="97"/>
                </a:cxn>
              </a:cxnLst>
              <a:rect l="0" t="0" r="r" b="b"/>
              <a:pathLst>
                <a:path w="181" h="159">
                  <a:moveTo>
                    <a:pt x="172" y="59"/>
                  </a:moveTo>
                  <a:cubicBezTo>
                    <a:pt x="172" y="59"/>
                    <a:pt x="172" y="59"/>
                    <a:pt x="172" y="58"/>
                  </a:cubicBezTo>
                  <a:cubicBezTo>
                    <a:pt x="171" y="59"/>
                    <a:pt x="170" y="60"/>
                    <a:pt x="170" y="61"/>
                  </a:cubicBezTo>
                  <a:cubicBezTo>
                    <a:pt x="170" y="64"/>
                    <a:pt x="167" y="64"/>
                    <a:pt x="164" y="64"/>
                  </a:cubicBezTo>
                  <a:cubicBezTo>
                    <a:pt x="160" y="63"/>
                    <a:pt x="157" y="55"/>
                    <a:pt x="157" y="53"/>
                  </a:cubicBezTo>
                  <a:cubicBezTo>
                    <a:pt x="157" y="52"/>
                    <a:pt x="162" y="45"/>
                    <a:pt x="164" y="45"/>
                  </a:cubicBezTo>
                  <a:cubicBezTo>
                    <a:pt x="166" y="45"/>
                    <a:pt x="169" y="47"/>
                    <a:pt x="171" y="48"/>
                  </a:cubicBezTo>
                  <a:cubicBezTo>
                    <a:pt x="171" y="47"/>
                    <a:pt x="171" y="47"/>
                    <a:pt x="171" y="46"/>
                  </a:cubicBezTo>
                  <a:cubicBezTo>
                    <a:pt x="171" y="45"/>
                    <a:pt x="173" y="28"/>
                    <a:pt x="170" y="26"/>
                  </a:cubicBezTo>
                  <a:cubicBezTo>
                    <a:pt x="167" y="24"/>
                    <a:pt x="164" y="7"/>
                    <a:pt x="163" y="5"/>
                  </a:cubicBezTo>
                  <a:cubicBezTo>
                    <a:pt x="162" y="3"/>
                    <a:pt x="151" y="4"/>
                    <a:pt x="150" y="2"/>
                  </a:cubicBezTo>
                  <a:cubicBezTo>
                    <a:pt x="148" y="0"/>
                    <a:pt x="139" y="2"/>
                    <a:pt x="139" y="0"/>
                  </a:cubicBezTo>
                  <a:cubicBezTo>
                    <a:pt x="137" y="2"/>
                    <a:pt x="136" y="5"/>
                    <a:pt x="135" y="6"/>
                  </a:cubicBezTo>
                  <a:cubicBezTo>
                    <a:pt x="133" y="8"/>
                    <a:pt x="129" y="6"/>
                    <a:pt x="128" y="10"/>
                  </a:cubicBezTo>
                  <a:cubicBezTo>
                    <a:pt x="127" y="13"/>
                    <a:pt x="122" y="16"/>
                    <a:pt x="119" y="16"/>
                  </a:cubicBezTo>
                  <a:cubicBezTo>
                    <a:pt x="116" y="16"/>
                    <a:pt x="114" y="21"/>
                    <a:pt x="114" y="24"/>
                  </a:cubicBezTo>
                  <a:cubicBezTo>
                    <a:pt x="114" y="27"/>
                    <a:pt x="109" y="31"/>
                    <a:pt x="105" y="31"/>
                  </a:cubicBezTo>
                  <a:cubicBezTo>
                    <a:pt x="100" y="31"/>
                    <a:pt x="102" y="35"/>
                    <a:pt x="100" y="39"/>
                  </a:cubicBezTo>
                  <a:cubicBezTo>
                    <a:pt x="99" y="44"/>
                    <a:pt x="97" y="44"/>
                    <a:pt x="90" y="44"/>
                  </a:cubicBezTo>
                  <a:cubicBezTo>
                    <a:pt x="82" y="44"/>
                    <a:pt x="82" y="44"/>
                    <a:pt x="76" y="40"/>
                  </a:cubicBezTo>
                  <a:cubicBezTo>
                    <a:pt x="71" y="36"/>
                    <a:pt x="69" y="43"/>
                    <a:pt x="69" y="46"/>
                  </a:cubicBezTo>
                  <a:cubicBezTo>
                    <a:pt x="68" y="49"/>
                    <a:pt x="61" y="55"/>
                    <a:pt x="58" y="58"/>
                  </a:cubicBezTo>
                  <a:cubicBezTo>
                    <a:pt x="56" y="60"/>
                    <a:pt x="50" y="58"/>
                    <a:pt x="47" y="58"/>
                  </a:cubicBezTo>
                  <a:cubicBezTo>
                    <a:pt x="44" y="58"/>
                    <a:pt x="45" y="55"/>
                    <a:pt x="45" y="53"/>
                  </a:cubicBezTo>
                  <a:cubicBezTo>
                    <a:pt x="45" y="51"/>
                    <a:pt x="47" y="53"/>
                    <a:pt x="47" y="51"/>
                  </a:cubicBezTo>
                  <a:cubicBezTo>
                    <a:pt x="48" y="49"/>
                    <a:pt x="45" y="41"/>
                    <a:pt x="44" y="38"/>
                  </a:cubicBezTo>
                  <a:cubicBezTo>
                    <a:pt x="43" y="36"/>
                    <a:pt x="41" y="35"/>
                    <a:pt x="38" y="34"/>
                  </a:cubicBezTo>
                  <a:cubicBezTo>
                    <a:pt x="38" y="53"/>
                    <a:pt x="38" y="74"/>
                    <a:pt x="38" y="76"/>
                  </a:cubicBezTo>
                  <a:cubicBezTo>
                    <a:pt x="38" y="79"/>
                    <a:pt x="32" y="81"/>
                    <a:pt x="31" y="83"/>
                  </a:cubicBezTo>
                  <a:cubicBezTo>
                    <a:pt x="30" y="85"/>
                    <a:pt x="21" y="83"/>
                    <a:pt x="17" y="83"/>
                  </a:cubicBezTo>
                  <a:cubicBezTo>
                    <a:pt x="12" y="83"/>
                    <a:pt x="13" y="79"/>
                    <a:pt x="11" y="75"/>
                  </a:cubicBezTo>
                  <a:cubicBezTo>
                    <a:pt x="8" y="72"/>
                    <a:pt x="4" y="76"/>
                    <a:pt x="4" y="79"/>
                  </a:cubicBezTo>
                  <a:cubicBezTo>
                    <a:pt x="4" y="80"/>
                    <a:pt x="2" y="80"/>
                    <a:pt x="0" y="80"/>
                  </a:cubicBezTo>
                  <a:cubicBezTo>
                    <a:pt x="3" y="85"/>
                    <a:pt x="6" y="92"/>
                    <a:pt x="8" y="98"/>
                  </a:cubicBezTo>
                  <a:cubicBezTo>
                    <a:pt x="11" y="107"/>
                    <a:pt x="17" y="115"/>
                    <a:pt x="19" y="120"/>
                  </a:cubicBezTo>
                  <a:cubicBezTo>
                    <a:pt x="21" y="125"/>
                    <a:pt x="22" y="130"/>
                    <a:pt x="19" y="131"/>
                  </a:cubicBezTo>
                  <a:cubicBezTo>
                    <a:pt x="15" y="131"/>
                    <a:pt x="15" y="134"/>
                    <a:pt x="19" y="140"/>
                  </a:cubicBezTo>
                  <a:cubicBezTo>
                    <a:pt x="23" y="145"/>
                    <a:pt x="20" y="149"/>
                    <a:pt x="23" y="149"/>
                  </a:cubicBezTo>
                  <a:cubicBezTo>
                    <a:pt x="26" y="150"/>
                    <a:pt x="25" y="152"/>
                    <a:pt x="27" y="152"/>
                  </a:cubicBezTo>
                  <a:cubicBezTo>
                    <a:pt x="30" y="152"/>
                    <a:pt x="32" y="155"/>
                    <a:pt x="33" y="157"/>
                  </a:cubicBezTo>
                  <a:cubicBezTo>
                    <a:pt x="35" y="159"/>
                    <a:pt x="39" y="159"/>
                    <a:pt x="41" y="157"/>
                  </a:cubicBezTo>
                  <a:cubicBezTo>
                    <a:pt x="43" y="154"/>
                    <a:pt x="48" y="153"/>
                    <a:pt x="54" y="153"/>
                  </a:cubicBezTo>
                  <a:cubicBezTo>
                    <a:pt x="60" y="153"/>
                    <a:pt x="59" y="151"/>
                    <a:pt x="64" y="149"/>
                  </a:cubicBezTo>
                  <a:cubicBezTo>
                    <a:pt x="70" y="147"/>
                    <a:pt x="77" y="147"/>
                    <a:pt x="82" y="149"/>
                  </a:cubicBezTo>
                  <a:cubicBezTo>
                    <a:pt x="87" y="150"/>
                    <a:pt x="90" y="149"/>
                    <a:pt x="93" y="147"/>
                  </a:cubicBezTo>
                  <a:cubicBezTo>
                    <a:pt x="95" y="146"/>
                    <a:pt x="99" y="150"/>
                    <a:pt x="100" y="146"/>
                  </a:cubicBezTo>
                  <a:cubicBezTo>
                    <a:pt x="100" y="142"/>
                    <a:pt x="105" y="143"/>
                    <a:pt x="109" y="143"/>
                  </a:cubicBezTo>
                  <a:cubicBezTo>
                    <a:pt x="113" y="143"/>
                    <a:pt x="124" y="136"/>
                    <a:pt x="132" y="128"/>
                  </a:cubicBezTo>
                  <a:cubicBezTo>
                    <a:pt x="141" y="120"/>
                    <a:pt x="154" y="103"/>
                    <a:pt x="159" y="95"/>
                  </a:cubicBezTo>
                  <a:cubicBezTo>
                    <a:pt x="164" y="87"/>
                    <a:pt x="171" y="81"/>
                    <a:pt x="175" y="77"/>
                  </a:cubicBezTo>
                  <a:cubicBezTo>
                    <a:pt x="178" y="75"/>
                    <a:pt x="180" y="65"/>
                    <a:pt x="181" y="59"/>
                  </a:cubicBezTo>
                  <a:cubicBezTo>
                    <a:pt x="177" y="59"/>
                    <a:pt x="172" y="59"/>
                    <a:pt x="172" y="59"/>
                  </a:cubicBezTo>
                  <a:close/>
                  <a:moveTo>
                    <a:pt x="137" y="97"/>
                  </a:moveTo>
                  <a:cubicBezTo>
                    <a:pt x="137" y="99"/>
                    <a:pt x="131" y="96"/>
                    <a:pt x="130" y="99"/>
                  </a:cubicBezTo>
                  <a:cubicBezTo>
                    <a:pt x="129" y="101"/>
                    <a:pt x="127" y="105"/>
                    <a:pt x="127" y="105"/>
                  </a:cubicBezTo>
                  <a:cubicBezTo>
                    <a:pt x="123" y="104"/>
                    <a:pt x="123" y="104"/>
                    <a:pt x="123" y="104"/>
                  </a:cubicBezTo>
                  <a:cubicBezTo>
                    <a:pt x="116" y="95"/>
                    <a:pt x="116" y="95"/>
                    <a:pt x="116" y="95"/>
                  </a:cubicBezTo>
                  <a:cubicBezTo>
                    <a:pt x="116" y="95"/>
                    <a:pt x="121" y="87"/>
                    <a:pt x="123" y="85"/>
                  </a:cubicBezTo>
                  <a:cubicBezTo>
                    <a:pt x="124" y="82"/>
                    <a:pt x="133" y="77"/>
                    <a:pt x="134" y="80"/>
                  </a:cubicBezTo>
                  <a:cubicBezTo>
                    <a:pt x="135" y="83"/>
                    <a:pt x="141" y="86"/>
                    <a:pt x="141" y="89"/>
                  </a:cubicBezTo>
                  <a:cubicBezTo>
                    <a:pt x="141" y="91"/>
                    <a:pt x="137" y="94"/>
                    <a:pt x="137" y="9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04931" y="4325435"/>
              <a:ext cx="301361" cy="320314"/>
            </a:xfrm>
            <a:custGeom>
              <a:avLst/>
              <a:gdLst/>
              <a:ahLst/>
              <a:cxnLst>
                <a:cxn ang="0">
                  <a:pos x="8" y="129"/>
                </a:cxn>
                <a:cxn ang="0">
                  <a:pos x="13" y="131"/>
                </a:cxn>
                <a:cxn ang="0">
                  <a:pos x="24" y="132"/>
                </a:cxn>
                <a:cxn ang="0">
                  <a:pos x="34" y="134"/>
                </a:cxn>
                <a:cxn ang="0">
                  <a:pos x="73" y="134"/>
                </a:cxn>
                <a:cxn ang="0">
                  <a:pos x="77" y="138"/>
                </a:cxn>
                <a:cxn ang="0">
                  <a:pos x="102" y="138"/>
                </a:cxn>
                <a:cxn ang="0">
                  <a:pos x="119" y="137"/>
                </a:cxn>
                <a:cxn ang="0">
                  <a:pos x="122" y="136"/>
                </a:cxn>
                <a:cxn ang="0">
                  <a:pos x="109" y="119"/>
                </a:cxn>
                <a:cxn ang="0">
                  <a:pos x="110" y="81"/>
                </a:cxn>
                <a:cxn ang="0">
                  <a:pos x="127" y="82"/>
                </a:cxn>
                <a:cxn ang="0">
                  <a:pos x="130" y="79"/>
                </a:cxn>
                <a:cxn ang="0">
                  <a:pos x="132" y="57"/>
                </a:cxn>
                <a:cxn ang="0">
                  <a:pos x="129" y="57"/>
                </a:cxn>
                <a:cxn ang="0">
                  <a:pos x="119" y="58"/>
                </a:cxn>
                <a:cxn ang="0">
                  <a:pos x="113" y="61"/>
                </a:cxn>
                <a:cxn ang="0">
                  <a:pos x="113" y="52"/>
                </a:cxn>
                <a:cxn ang="0">
                  <a:pos x="108" y="43"/>
                </a:cxn>
                <a:cxn ang="0">
                  <a:pos x="109" y="27"/>
                </a:cxn>
                <a:cxn ang="0">
                  <a:pos x="107" y="18"/>
                </a:cxn>
                <a:cxn ang="0">
                  <a:pos x="100" y="16"/>
                </a:cxn>
                <a:cxn ang="0">
                  <a:pos x="94" y="14"/>
                </a:cxn>
                <a:cxn ang="0">
                  <a:pos x="85" y="14"/>
                </a:cxn>
                <a:cxn ang="0">
                  <a:pos x="81" y="24"/>
                </a:cxn>
                <a:cxn ang="0">
                  <a:pos x="68" y="26"/>
                </a:cxn>
                <a:cxn ang="0">
                  <a:pos x="58" y="19"/>
                </a:cxn>
                <a:cxn ang="0">
                  <a:pos x="54" y="10"/>
                </a:cxn>
                <a:cxn ang="0">
                  <a:pos x="52" y="1"/>
                </a:cxn>
                <a:cxn ang="0">
                  <a:pos x="15" y="1"/>
                </a:cxn>
                <a:cxn ang="0">
                  <a:pos x="9" y="4"/>
                </a:cxn>
                <a:cxn ang="0">
                  <a:pos x="19" y="28"/>
                </a:cxn>
                <a:cxn ang="0">
                  <a:pos x="17" y="39"/>
                </a:cxn>
                <a:cxn ang="0">
                  <a:pos x="24" y="63"/>
                </a:cxn>
                <a:cxn ang="0">
                  <a:pos x="16" y="79"/>
                </a:cxn>
                <a:cxn ang="0">
                  <a:pos x="8" y="101"/>
                </a:cxn>
                <a:cxn ang="0">
                  <a:pos x="2" y="117"/>
                </a:cxn>
                <a:cxn ang="0">
                  <a:pos x="1" y="132"/>
                </a:cxn>
                <a:cxn ang="0">
                  <a:pos x="1" y="132"/>
                </a:cxn>
                <a:cxn ang="0">
                  <a:pos x="4" y="132"/>
                </a:cxn>
                <a:cxn ang="0">
                  <a:pos x="8" y="129"/>
                </a:cxn>
              </a:cxnLst>
              <a:rect l="0" t="0" r="r" b="b"/>
              <a:pathLst>
                <a:path w="132" h="140">
                  <a:moveTo>
                    <a:pt x="8" y="129"/>
                  </a:moveTo>
                  <a:cubicBezTo>
                    <a:pt x="11" y="129"/>
                    <a:pt x="9" y="133"/>
                    <a:pt x="13" y="131"/>
                  </a:cubicBezTo>
                  <a:cubicBezTo>
                    <a:pt x="17" y="129"/>
                    <a:pt x="20" y="129"/>
                    <a:pt x="24" y="132"/>
                  </a:cubicBezTo>
                  <a:cubicBezTo>
                    <a:pt x="27" y="134"/>
                    <a:pt x="30" y="134"/>
                    <a:pt x="34" y="134"/>
                  </a:cubicBezTo>
                  <a:cubicBezTo>
                    <a:pt x="38" y="134"/>
                    <a:pt x="73" y="134"/>
                    <a:pt x="73" y="134"/>
                  </a:cubicBezTo>
                  <a:cubicBezTo>
                    <a:pt x="77" y="138"/>
                    <a:pt x="77" y="138"/>
                    <a:pt x="77" y="138"/>
                  </a:cubicBezTo>
                  <a:cubicBezTo>
                    <a:pt x="77" y="138"/>
                    <a:pt x="98" y="137"/>
                    <a:pt x="102" y="138"/>
                  </a:cubicBezTo>
                  <a:cubicBezTo>
                    <a:pt x="105" y="140"/>
                    <a:pt x="116" y="138"/>
                    <a:pt x="119" y="137"/>
                  </a:cubicBezTo>
                  <a:cubicBezTo>
                    <a:pt x="120" y="137"/>
                    <a:pt x="121" y="137"/>
                    <a:pt x="122" y="136"/>
                  </a:cubicBezTo>
                  <a:cubicBezTo>
                    <a:pt x="109" y="119"/>
                    <a:pt x="109" y="119"/>
                    <a:pt x="109" y="119"/>
                  </a:cubicBezTo>
                  <a:cubicBezTo>
                    <a:pt x="110" y="81"/>
                    <a:pt x="110" y="81"/>
                    <a:pt x="110" y="81"/>
                  </a:cubicBezTo>
                  <a:cubicBezTo>
                    <a:pt x="127" y="82"/>
                    <a:pt x="127" y="82"/>
                    <a:pt x="127" y="82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2" y="57"/>
                    <a:pt x="132" y="57"/>
                    <a:pt x="132" y="57"/>
                  </a:cubicBezTo>
                  <a:cubicBezTo>
                    <a:pt x="132" y="56"/>
                    <a:pt x="131" y="56"/>
                    <a:pt x="129" y="57"/>
                  </a:cubicBezTo>
                  <a:cubicBezTo>
                    <a:pt x="126" y="58"/>
                    <a:pt x="123" y="58"/>
                    <a:pt x="119" y="58"/>
                  </a:cubicBezTo>
                  <a:cubicBezTo>
                    <a:pt x="116" y="58"/>
                    <a:pt x="115" y="61"/>
                    <a:pt x="113" y="61"/>
                  </a:cubicBezTo>
                  <a:cubicBezTo>
                    <a:pt x="111" y="60"/>
                    <a:pt x="113" y="54"/>
                    <a:pt x="113" y="52"/>
                  </a:cubicBezTo>
                  <a:cubicBezTo>
                    <a:pt x="114" y="49"/>
                    <a:pt x="110" y="45"/>
                    <a:pt x="108" y="43"/>
                  </a:cubicBezTo>
                  <a:cubicBezTo>
                    <a:pt x="105" y="41"/>
                    <a:pt x="111" y="28"/>
                    <a:pt x="109" y="27"/>
                  </a:cubicBezTo>
                  <a:cubicBezTo>
                    <a:pt x="108" y="25"/>
                    <a:pt x="107" y="21"/>
                    <a:pt x="107" y="18"/>
                  </a:cubicBezTo>
                  <a:cubicBezTo>
                    <a:pt x="107" y="14"/>
                    <a:pt x="105" y="16"/>
                    <a:pt x="100" y="16"/>
                  </a:cubicBezTo>
                  <a:cubicBezTo>
                    <a:pt x="95" y="16"/>
                    <a:pt x="94" y="14"/>
                    <a:pt x="94" y="14"/>
                  </a:cubicBezTo>
                  <a:cubicBezTo>
                    <a:pt x="94" y="14"/>
                    <a:pt x="88" y="12"/>
                    <a:pt x="85" y="14"/>
                  </a:cubicBezTo>
                  <a:cubicBezTo>
                    <a:pt x="82" y="15"/>
                    <a:pt x="83" y="24"/>
                    <a:pt x="81" y="24"/>
                  </a:cubicBezTo>
                  <a:cubicBezTo>
                    <a:pt x="79" y="23"/>
                    <a:pt x="73" y="24"/>
                    <a:pt x="68" y="26"/>
                  </a:cubicBezTo>
                  <a:cubicBezTo>
                    <a:pt x="63" y="27"/>
                    <a:pt x="61" y="25"/>
                    <a:pt x="58" y="19"/>
                  </a:cubicBezTo>
                  <a:cubicBezTo>
                    <a:pt x="56" y="13"/>
                    <a:pt x="53" y="15"/>
                    <a:pt x="54" y="10"/>
                  </a:cubicBezTo>
                  <a:cubicBezTo>
                    <a:pt x="55" y="6"/>
                    <a:pt x="52" y="1"/>
                    <a:pt x="52" y="1"/>
                  </a:cubicBezTo>
                  <a:cubicBezTo>
                    <a:pt x="52" y="1"/>
                    <a:pt x="19" y="0"/>
                    <a:pt x="15" y="1"/>
                  </a:cubicBezTo>
                  <a:cubicBezTo>
                    <a:pt x="14" y="1"/>
                    <a:pt x="11" y="2"/>
                    <a:pt x="9" y="4"/>
                  </a:cubicBezTo>
                  <a:cubicBezTo>
                    <a:pt x="11" y="12"/>
                    <a:pt x="17" y="25"/>
                    <a:pt x="19" y="28"/>
                  </a:cubicBezTo>
                  <a:cubicBezTo>
                    <a:pt x="20" y="31"/>
                    <a:pt x="17" y="34"/>
                    <a:pt x="17" y="39"/>
                  </a:cubicBezTo>
                  <a:cubicBezTo>
                    <a:pt x="17" y="45"/>
                    <a:pt x="23" y="56"/>
                    <a:pt x="24" y="63"/>
                  </a:cubicBezTo>
                  <a:cubicBezTo>
                    <a:pt x="25" y="70"/>
                    <a:pt x="20" y="75"/>
                    <a:pt x="16" y="79"/>
                  </a:cubicBezTo>
                  <a:cubicBezTo>
                    <a:pt x="12" y="84"/>
                    <a:pt x="8" y="95"/>
                    <a:pt x="8" y="101"/>
                  </a:cubicBezTo>
                  <a:cubicBezTo>
                    <a:pt x="8" y="108"/>
                    <a:pt x="2" y="114"/>
                    <a:pt x="2" y="117"/>
                  </a:cubicBezTo>
                  <a:cubicBezTo>
                    <a:pt x="2" y="120"/>
                    <a:pt x="1" y="129"/>
                    <a:pt x="1" y="132"/>
                  </a:cubicBezTo>
                  <a:cubicBezTo>
                    <a:pt x="0" y="132"/>
                    <a:pt x="1" y="132"/>
                    <a:pt x="1" y="132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4" y="132"/>
                    <a:pt x="5" y="129"/>
                    <a:pt x="8" y="12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55117" y="4386086"/>
              <a:ext cx="295674" cy="261558"/>
            </a:xfrm>
            <a:custGeom>
              <a:avLst/>
              <a:gdLst/>
              <a:ahLst/>
              <a:cxnLst>
                <a:cxn ang="0">
                  <a:pos x="100" y="5"/>
                </a:cxn>
                <a:cxn ang="0">
                  <a:pos x="92" y="0"/>
                </a:cxn>
                <a:cxn ang="0">
                  <a:pos x="78" y="3"/>
                </a:cxn>
                <a:cxn ang="0">
                  <a:pos x="75" y="10"/>
                </a:cxn>
                <a:cxn ang="0">
                  <a:pos x="74" y="16"/>
                </a:cxn>
                <a:cxn ang="0">
                  <a:pos x="73" y="29"/>
                </a:cxn>
                <a:cxn ang="0">
                  <a:pos x="71" y="39"/>
                </a:cxn>
                <a:cxn ang="0">
                  <a:pos x="78" y="48"/>
                </a:cxn>
                <a:cxn ang="0">
                  <a:pos x="86" y="46"/>
                </a:cxn>
                <a:cxn ang="0">
                  <a:pos x="87" y="54"/>
                </a:cxn>
                <a:cxn ang="0">
                  <a:pos x="85" y="59"/>
                </a:cxn>
                <a:cxn ang="0">
                  <a:pos x="77" y="59"/>
                </a:cxn>
                <a:cxn ang="0">
                  <a:pos x="73" y="49"/>
                </a:cxn>
                <a:cxn ang="0">
                  <a:pos x="64" y="47"/>
                </a:cxn>
                <a:cxn ang="0">
                  <a:pos x="58" y="41"/>
                </a:cxn>
                <a:cxn ang="0">
                  <a:pos x="54" y="43"/>
                </a:cxn>
                <a:cxn ang="0">
                  <a:pos x="49" y="44"/>
                </a:cxn>
                <a:cxn ang="0">
                  <a:pos x="40" y="41"/>
                </a:cxn>
                <a:cxn ang="0">
                  <a:pos x="36" y="36"/>
                </a:cxn>
                <a:cxn ang="0">
                  <a:pos x="29" y="36"/>
                </a:cxn>
                <a:cxn ang="0">
                  <a:pos x="26" y="34"/>
                </a:cxn>
                <a:cxn ang="0">
                  <a:pos x="23" y="31"/>
                </a:cxn>
                <a:cxn ang="0">
                  <a:pos x="21" y="53"/>
                </a:cxn>
                <a:cxn ang="0">
                  <a:pos x="18" y="56"/>
                </a:cxn>
                <a:cxn ang="0">
                  <a:pos x="1" y="55"/>
                </a:cxn>
                <a:cxn ang="0">
                  <a:pos x="0" y="93"/>
                </a:cxn>
                <a:cxn ang="0">
                  <a:pos x="13" y="110"/>
                </a:cxn>
                <a:cxn ang="0">
                  <a:pos x="34" y="109"/>
                </a:cxn>
                <a:cxn ang="0">
                  <a:pos x="35" y="112"/>
                </a:cxn>
                <a:cxn ang="0">
                  <a:pos x="40" y="111"/>
                </a:cxn>
                <a:cxn ang="0">
                  <a:pos x="55" y="114"/>
                </a:cxn>
                <a:cxn ang="0">
                  <a:pos x="66" y="101"/>
                </a:cxn>
                <a:cxn ang="0">
                  <a:pos x="77" y="93"/>
                </a:cxn>
                <a:cxn ang="0">
                  <a:pos x="83" y="87"/>
                </a:cxn>
                <a:cxn ang="0">
                  <a:pos x="93" y="87"/>
                </a:cxn>
                <a:cxn ang="0">
                  <a:pos x="93" y="87"/>
                </a:cxn>
                <a:cxn ang="0">
                  <a:pos x="91" y="79"/>
                </a:cxn>
                <a:cxn ang="0">
                  <a:pos x="122" y="67"/>
                </a:cxn>
                <a:cxn ang="0">
                  <a:pos x="120" y="62"/>
                </a:cxn>
                <a:cxn ang="0">
                  <a:pos x="122" y="51"/>
                </a:cxn>
                <a:cxn ang="0">
                  <a:pos x="127" y="48"/>
                </a:cxn>
                <a:cxn ang="0">
                  <a:pos x="126" y="30"/>
                </a:cxn>
                <a:cxn ang="0">
                  <a:pos x="130" y="28"/>
                </a:cxn>
                <a:cxn ang="0">
                  <a:pos x="125" y="16"/>
                </a:cxn>
                <a:cxn ang="0">
                  <a:pos x="110" y="9"/>
                </a:cxn>
                <a:cxn ang="0">
                  <a:pos x="100" y="5"/>
                </a:cxn>
              </a:cxnLst>
              <a:rect l="0" t="0" r="r" b="b"/>
              <a:pathLst>
                <a:path w="130" h="115">
                  <a:moveTo>
                    <a:pt x="100" y="5"/>
                  </a:moveTo>
                  <a:cubicBezTo>
                    <a:pt x="99" y="5"/>
                    <a:pt x="95" y="3"/>
                    <a:pt x="92" y="0"/>
                  </a:cubicBezTo>
                  <a:cubicBezTo>
                    <a:pt x="90" y="3"/>
                    <a:pt x="82" y="3"/>
                    <a:pt x="78" y="3"/>
                  </a:cubicBezTo>
                  <a:cubicBezTo>
                    <a:pt x="74" y="3"/>
                    <a:pt x="78" y="8"/>
                    <a:pt x="75" y="10"/>
                  </a:cubicBezTo>
                  <a:cubicBezTo>
                    <a:pt x="73" y="12"/>
                    <a:pt x="72" y="15"/>
                    <a:pt x="74" y="16"/>
                  </a:cubicBezTo>
                  <a:cubicBezTo>
                    <a:pt x="76" y="17"/>
                    <a:pt x="73" y="26"/>
                    <a:pt x="73" y="29"/>
                  </a:cubicBezTo>
                  <a:cubicBezTo>
                    <a:pt x="73" y="32"/>
                    <a:pt x="69" y="38"/>
                    <a:pt x="71" y="39"/>
                  </a:cubicBezTo>
                  <a:cubicBezTo>
                    <a:pt x="72" y="40"/>
                    <a:pt x="75" y="47"/>
                    <a:pt x="78" y="48"/>
                  </a:cubicBezTo>
                  <a:cubicBezTo>
                    <a:pt x="82" y="49"/>
                    <a:pt x="84" y="46"/>
                    <a:pt x="86" y="46"/>
                  </a:cubicBezTo>
                  <a:cubicBezTo>
                    <a:pt x="87" y="46"/>
                    <a:pt x="87" y="50"/>
                    <a:pt x="87" y="54"/>
                  </a:cubicBezTo>
                  <a:cubicBezTo>
                    <a:pt x="87" y="57"/>
                    <a:pt x="85" y="59"/>
                    <a:pt x="85" y="59"/>
                  </a:cubicBezTo>
                  <a:cubicBezTo>
                    <a:pt x="85" y="59"/>
                    <a:pt x="80" y="61"/>
                    <a:pt x="77" y="59"/>
                  </a:cubicBezTo>
                  <a:cubicBezTo>
                    <a:pt x="75" y="57"/>
                    <a:pt x="73" y="51"/>
                    <a:pt x="73" y="49"/>
                  </a:cubicBezTo>
                  <a:cubicBezTo>
                    <a:pt x="73" y="47"/>
                    <a:pt x="67" y="47"/>
                    <a:pt x="64" y="47"/>
                  </a:cubicBezTo>
                  <a:cubicBezTo>
                    <a:pt x="62" y="47"/>
                    <a:pt x="59" y="43"/>
                    <a:pt x="58" y="41"/>
                  </a:cubicBezTo>
                  <a:cubicBezTo>
                    <a:pt x="57" y="39"/>
                    <a:pt x="54" y="41"/>
                    <a:pt x="54" y="43"/>
                  </a:cubicBezTo>
                  <a:cubicBezTo>
                    <a:pt x="54" y="44"/>
                    <a:pt x="52" y="44"/>
                    <a:pt x="49" y="44"/>
                  </a:cubicBezTo>
                  <a:cubicBezTo>
                    <a:pt x="47" y="44"/>
                    <a:pt x="42" y="40"/>
                    <a:pt x="40" y="41"/>
                  </a:cubicBezTo>
                  <a:cubicBezTo>
                    <a:pt x="38" y="42"/>
                    <a:pt x="36" y="38"/>
                    <a:pt x="36" y="36"/>
                  </a:cubicBezTo>
                  <a:cubicBezTo>
                    <a:pt x="37" y="34"/>
                    <a:pt x="31" y="35"/>
                    <a:pt x="29" y="36"/>
                  </a:cubicBezTo>
                  <a:cubicBezTo>
                    <a:pt x="27" y="37"/>
                    <a:pt x="26" y="34"/>
                    <a:pt x="26" y="34"/>
                  </a:cubicBezTo>
                  <a:cubicBezTo>
                    <a:pt x="26" y="34"/>
                    <a:pt x="25" y="32"/>
                    <a:pt x="23" y="31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20" y="109"/>
                    <a:pt x="34" y="107"/>
                    <a:pt x="34" y="109"/>
                  </a:cubicBezTo>
                  <a:cubicBezTo>
                    <a:pt x="34" y="110"/>
                    <a:pt x="34" y="111"/>
                    <a:pt x="35" y="112"/>
                  </a:cubicBezTo>
                  <a:cubicBezTo>
                    <a:pt x="37" y="112"/>
                    <a:pt x="39" y="111"/>
                    <a:pt x="40" y="111"/>
                  </a:cubicBezTo>
                  <a:cubicBezTo>
                    <a:pt x="43" y="112"/>
                    <a:pt x="52" y="115"/>
                    <a:pt x="55" y="114"/>
                  </a:cubicBezTo>
                  <a:cubicBezTo>
                    <a:pt x="57" y="112"/>
                    <a:pt x="62" y="102"/>
                    <a:pt x="66" y="101"/>
                  </a:cubicBezTo>
                  <a:cubicBezTo>
                    <a:pt x="71" y="100"/>
                    <a:pt x="77" y="95"/>
                    <a:pt x="77" y="93"/>
                  </a:cubicBezTo>
                  <a:cubicBezTo>
                    <a:pt x="77" y="91"/>
                    <a:pt x="77" y="89"/>
                    <a:pt x="83" y="87"/>
                  </a:cubicBezTo>
                  <a:cubicBezTo>
                    <a:pt x="93" y="87"/>
                    <a:pt x="93" y="87"/>
                    <a:pt x="93" y="87"/>
                  </a:cubicBezTo>
                  <a:cubicBezTo>
                    <a:pt x="93" y="87"/>
                    <a:pt x="93" y="87"/>
                    <a:pt x="93" y="87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1" y="79"/>
                    <a:pt x="121" y="67"/>
                    <a:pt x="122" y="67"/>
                  </a:cubicBezTo>
                  <a:cubicBezTo>
                    <a:pt x="121" y="65"/>
                    <a:pt x="120" y="63"/>
                    <a:pt x="120" y="62"/>
                  </a:cubicBezTo>
                  <a:cubicBezTo>
                    <a:pt x="121" y="62"/>
                    <a:pt x="122" y="54"/>
                    <a:pt x="122" y="51"/>
                  </a:cubicBezTo>
                  <a:cubicBezTo>
                    <a:pt x="122" y="49"/>
                    <a:pt x="129" y="51"/>
                    <a:pt x="127" y="48"/>
                  </a:cubicBezTo>
                  <a:cubicBezTo>
                    <a:pt x="124" y="46"/>
                    <a:pt x="125" y="33"/>
                    <a:pt x="126" y="30"/>
                  </a:cubicBezTo>
                  <a:cubicBezTo>
                    <a:pt x="127" y="27"/>
                    <a:pt x="130" y="30"/>
                    <a:pt x="130" y="28"/>
                  </a:cubicBezTo>
                  <a:cubicBezTo>
                    <a:pt x="130" y="25"/>
                    <a:pt x="127" y="18"/>
                    <a:pt x="125" y="16"/>
                  </a:cubicBezTo>
                  <a:cubicBezTo>
                    <a:pt x="124" y="14"/>
                    <a:pt x="113" y="10"/>
                    <a:pt x="110" y="9"/>
                  </a:cubicBezTo>
                  <a:cubicBezTo>
                    <a:pt x="108" y="9"/>
                    <a:pt x="103" y="5"/>
                    <a:pt x="100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029489" y="4200342"/>
              <a:ext cx="51175" cy="454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2" y="2"/>
                </a:cxn>
                <a:cxn ang="0">
                  <a:pos x="6" y="3"/>
                </a:cxn>
                <a:cxn ang="0">
                  <a:pos x="5" y="5"/>
                </a:cxn>
                <a:cxn ang="0">
                  <a:pos x="3" y="12"/>
                </a:cxn>
                <a:cxn ang="0">
                  <a:pos x="0" y="15"/>
                </a:cxn>
                <a:cxn ang="0">
                  <a:pos x="3" y="18"/>
                </a:cxn>
                <a:cxn ang="0">
                  <a:pos x="6" y="19"/>
                </a:cxn>
                <a:cxn ang="0">
                  <a:pos x="12" y="15"/>
                </a:cxn>
                <a:cxn ang="0">
                  <a:pos x="22" y="13"/>
                </a:cxn>
                <a:cxn ang="0">
                  <a:pos x="20" y="5"/>
                </a:cxn>
                <a:cxn ang="0">
                  <a:pos x="18" y="0"/>
                </a:cxn>
              </a:cxnLst>
              <a:rect l="0" t="0" r="r" b="b"/>
              <a:pathLst>
                <a:path w="22" h="20">
                  <a:moveTo>
                    <a:pt x="18" y="0"/>
                  </a:moveTo>
                  <a:cubicBezTo>
                    <a:pt x="16" y="1"/>
                    <a:pt x="13" y="2"/>
                    <a:pt x="12" y="2"/>
                  </a:cubicBezTo>
                  <a:cubicBezTo>
                    <a:pt x="11" y="3"/>
                    <a:pt x="10" y="4"/>
                    <a:pt x="6" y="3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2" y="6"/>
                    <a:pt x="3" y="12"/>
                    <a:pt x="3" y="12"/>
                  </a:cubicBezTo>
                  <a:cubicBezTo>
                    <a:pt x="3" y="12"/>
                    <a:pt x="0" y="12"/>
                    <a:pt x="0" y="15"/>
                  </a:cubicBezTo>
                  <a:cubicBezTo>
                    <a:pt x="0" y="17"/>
                    <a:pt x="2" y="18"/>
                    <a:pt x="3" y="18"/>
                  </a:cubicBezTo>
                  <a:cubicBezTo>
                    <a:pt x="4" y="18"/>
                    <a:pt x="5" y="18"/>
                    <a:pt x="6" y="19"/>
                  </a:cubicBezTo>
                  <a:cubicBezTo>
                    <a:pt x="13" y="20"/>
                    <a:pt x="12" y="15"/>
                    <a:pt x="12" y="15"/>
                  </a:cubicBezTo>
                  <a:cubicBezTo>
                    <a:pt x="12" y="15"/>
                    <a:pt x="21" y="16"/>
                    <a:pt x="22" y="13"/>
                  </a:cubicBezTo>
                  <a:cubicBezTo>
                    <a:pt x="22" y="10"/>
                    <a:pt x="20" y="5"/>
                    <a:pt x="20" y="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340326" y="3857284"/>
              <a:ext cx="267244" cy="356325"/>
            </a:xfrm>
            <a:custGeom>
              <a:avLst/>
              <a:gdLst/>
              <a:ahLst/>
              <a:cxnLst>
                <a:cxn ang="0">
                  <a:pos x="27" y="30"/>
                </a:cxn>
                <a:cxn ang="0">
                  <a:pos x="35" y="37"/>
                </a:cxn>
                <a:cxn ang="0">
                  <a:pos x="58" y="45"/>
                </a:cxn>
                <a:cxn ang="0">
                  <a:pos x="73" y="48"/>
                </a:cxn>
                <a:cxn ang="0">
                  <a:pos x="77" y="51"/>
                </a:cxn>
                <a:cxn ang="0">
                  <a:pos x="47" y="81"/>
                </a:cxn>
                <a:cxn ang="0">
                  <a:pos x="35" y="83"/>
                </a:cxn>
                <a:cxn ang="0">
                  <a:pos x="20" y="91"/>
                </a:cxn>
                <a:cxn ang="0">
                  <a:pos x="11" y="92"/>
                </a:cxn>
                <a:cxn ang="0">
                  <a:pos x="5" y="100"/>
                </a:cxn>
                <a:cxn ang="0">
                  <a:pos x="0" y="108"/>
                </a:cxn>
                <a:cxn ang="0">
                  <a:pos x="1" y="148"/>
                </a:cxn>
                <a:cxn ang="0">
                  <a:pos x="6" y="157"/>
                </a:cxn>
                <a:cxn ang="0">
                  <a:pos x="31" y="131"/>
                </a:cxn>
                <a:cxn ang="0">
                  <a:pos x="51" y="116"/>
                </a:cxn>
                <a:cxn ang="0">
                  <a:pos x="79" y="88"/>
                </a:cxn>
                <a:cxn ang="0">
                  <a:pos x="92" y="67"/>
                </a:cxn>
                <a:cxn ang="0">
                  <a:pos x="102" y="50"/>
                </a:cxn>
                <a:cxn ang="0">
                  <a:pos x="113" y="28"/>
                </a:cxn>
                <a:cxn ang="0">
                  <a:pos x="117" y="8"/>
                </a:cxn>
                <a:cxn ang="0">
                  <a:pos x="109" y="4"/>
                </a:cxn>
                <a:cxn ang="0">
                  <a:pos x="84" y="11"/>
                </a:cxn>
                <a:cxn ang="0">
                  <a:pos x="66" y="15"/>
                </a:cxn>
                <a:cxn ang="0">
                  <a:pos x="51" y="18"/>
                </a:cxn>
                <a:cxn ang="0">
                  <a:pos x="33" y="16"/>
                </a:cxn>
                <a:cxn ang="0">
                  <a:pos x="27" y="10"/>
                </a:cxn>
                <a:cxn ang="0">
                  <a:pos x="20" y="20"/>
                </a:cxn>
                <a:cxn ang="0">
                  <a:pos x="27" y="30"/>
                </a:cxn>
              </a:cxnLst>
              <a:rect l="0" t="0" r="r" b="b"/>
              <a:pathLst>
                <a:path w="117" h="157">
                  <a:moveTo>
                    <a:pt x="27" y="30"/>
                  </a:moveTo>
                  <a:cubicBezTo>
                    <a:pt x="29" y="31"/>
                    <a:pt x="33" y="36"/>
                    <a:pt x="35" y="37"/>
                  </a:cubicBezTo>
                  <a:cubicBezTo>
                    <a:pt x="37" y="37"/>
                    <a:pt x="50" y="41"/>
                    <a:pt x="58" y="45"/>
                  </a:cubicBezTo>
                  <a:cubicBezTo>
                    <a:pt x="66" y="48"/>
                    <a:pt x="71" y="48"/>
                    <a:pt x="73" y="48"/>
                  </a:cubicBezTo>
                  <a:cubicBezTo>
                    <a:pt x="76" y="48"/>
                    <a:pt x="79" y="49"/>
                    <a:pt x="77" y="51"/>
                  </a:cubicBezTo>
                  <a:cubicBezTo>
                    <a:pt x="75" y="52"/>
                    <a:pt x="50" y="77"/>
                    <a:pt x="47" y="81"/>
                  </a:cubicBezTo>
                  <a:cubicBezTo>
                    <a:pt x="44" y="84"/>
                    <a:pt x="42" y="83"/>
                    <a:pt x="35" y="83"/>
                  </a:cubicBezTo>
                  <a:cubicBezTo>
                    <a:pt x="27" y="83"/>
                    <a:pt x="22" y="91"/>
                    <a:pt x="20" y="91"/>
                  </a:cubicBezTo>
                  <a:cubicBezTo>
                    <a:pt x="19" y="90"/>
                    <a:pt x="14" y="91"/>
                    <a:pt x="11" y="92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11" y="151"/>
                    <a:pt x="23" y="140"/>
                    <a:pt x="31" y="131"/>
                  </a:cubicBezTo>
                  <a:cubicBezTo>
                    <a:pt x="41" y="121"/>
                    <a:pt x="46" y="118"/>
                    <a:pt x="51" y="116"/>
                  </a:cubicBezTo>
                  <a:cubicBezTo>
                    <a:pt x="56" y="113"/>
                    <a:pt x="70" y="100"/>
                    <a:pt x="79" y="88"/>
                  </a:cubicBezTo>
                  <a:cubicBezTo>
                    <a:pt x="85" y="81"/>
                    <a:pt x="91" y="73"/>
                    <a:pt x="92" y="67"/>
                  </a:cubicBezTo>
                  <a:cubicBezTo>
                    <a:pt x="93" y="62"/>
                    <a:pt x="98" y="55"/>
                    <a:pt x="102" y="50"/>
                  </a:cubicBezTo>
                  <a:cubicBezTo>
                    <a:pt x="106" y="45"/>
                    <a:pt x="113" y="32"/>
                    <a:pt x="113" y="28"/>
                  </a:cubicBezTo>
                  <a:cubicBezTo>
                    <a:pt x="113" y="24"/>
                    <a:pt x="116" y="15"/>
                    <a:pt x="117" y="8"/>
                  </a:cubicBezTo>
                  <a:cubicBezTo>
                    <a:pt x="117" y="1"/>
                    <a:pt x="111" y="0"/>
                    <a:pt x="109" y="4"/>
                  </a:cubicBezTo>
                  <a:cubicBezTo>
                    <a:pt x="107" y="8"/>
                    <a:pt x="93" y="11"/>
                    <a:pt x="84" y="11"/>
                  </a:cubicBezTo>
                  <a:cubicBezTo>
                    <a:pt x="75" y="11"/>
                    <a:pt x="69" y="12"/>
                    <a:pt x="66" y="15"/>
                  </a:cubicBezTo>
                  <a:cubicBezTo>
                    <a:pt x="63" y="18"/>
                    <a:pt x="54" y="14"/>
                    <a:pt x="51" y="18"/>
                  </a:cubicBezTo>
                  <a:cubicBezTo>
                    <a:pt x="48" y="21"/>
                    <a:pt x="36" y="24"/>
                    <a:pt x="33" y="16"/>
                  </a:cubicBezTo>
                  <a:cubicBezTo>
                    <a:pt x="31" y="13"/>
                    <a:pt x="29" y="11"/>
                    <a:pt x="27" y="10"/>
                  </a:cubicBezTo>
                  <a:cubicBezTo>
                    <a:pt x="24" y="13"/>
                    <a:pt x="20" y="18"/>
                    <a:pt x="20" y="20"/>
                  </a:cubicBezTo>
                  <a:cubicBezTo>
                    <a:pt x="21" y="22"/>
                    <a:pt x="25" y="29"/>
                    <a:pt x="27" y="3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966200" y="3201494"/>
              <a:ext cx="310837" cy="246395"/>
            </a:xfrm>
            <a:custGeom>
              <a:avLst/>
              <a:gdLst/>
              <a:ahLst/>
              <a:cxnLst>
                <a:cxn ang="0">
                  <a:pos x="50" y="108"/>
                </a:cxn>
                <a:cxn ang="0">
                  <a:pos x="50" y="93"/>
                </a:cxn>
                <a:cxn ang="0">
                  <a:pos x="68" y="81"/>
                </a:cxn>
                <a:cxn ang="0">
                  <a:pos x="75" y="79"/>
                </a:cxn>
                <a:cxn ang="0">
                  <a:pos x="85" y="77"/>
                </a:cxn>
                <a:cxn ang="0">
                  <a:pos x="91" y="70"/>
                </a:cxn>
                <a:cxn ang="0">
                  <a:pos x="99" y="67"/>
                </a:cxn>
                <a:cxn ang="0">
                  <a:pos x="104" y="64"/>
                </a:cxn>
                <a:cxn ang="0">
                  <a:pos x="106" y="57"/>
                </a:cxn>
                <a:cxn ang="0">
                  <a:pos x="110" y="54"/>
                </a:cxn>
                <a:cxn ang="0">
                  <a:pos x="116" y="50"/>
                </a:cxn>
                <a:cxn ang="0">
                  <a:pos x="133" y="49"/>
                </a:cxn>
                <a:cxn ang="0">
                  <a:pos x="135" y="45"/>
                </a:cxn>
                <a:cxn ang="0">
                  <a:pos x="131" y="37"/>
                </a:cxn>
                <a:cxn ang="0">
                  <a:pos x="130" y="27"/>
                </a:cxn>
                <a:cxn ang="0">
                  <a:pos x="127" y="15"/>
                </a:cxn>
                <a:cxn ang="0">
                  <a:pos x="125" y="11"/>
                </a:cxn>
                <a:cxn ang="0">
                  <a:pos x="112" y="8"/>
                </a:cxn>
                <a:cxn ang="0">
                  <a:pos x="93" y="6"/>
                </a:cxn>
                <a:cxn ang="0">
                  <a:pos x="82" y="2"/>
                </a:cxn>
                <a:cxn ang="0">
                  <a:pos x="70" y="25"/>
                </a:cxn>
                <a:cxn ang="0">
                  <a:pos x="53" y="33"/>
                </a:cxn>
                <a:cxn ang="0">
                  <a:pos x="44" y="42"/>
                </a:cxn>
                <a:cxn ang="0">
                  <a:pos x="38" y="53"/>
                </a:cxn>
                <a:cxn ang="0">
                  <a:pos x="38" y="70"/>
                </a:cxn>
                <a:cxn ang="0">
                  <a:pos x="25" y="89"/>
                </a:cxn>
                <a:cxn ang="0">
                  <a:pos x="8" y="100"/>
                </a:cxn>
                <a:cxn ang="0">
                  <a:pos x="0" y="104"/>
                </a:cxn>
                <a:cxn ang="0">
                  <a:pos x="42" y="104"/>
                </a:cxn>
                <a:cxn ang="0">
                  <a:pos x="50" y="108"/>
                </a:cxn>
              </a:cxnLst>
              <a:rect l="0" t="0" r="r" b="b"/>
              <a:pathLst>
                <a:path w="136" h="108">
                  <a:moveTo>
                    <a:pt x="50" y="108"/>
                  </a:moveTo>
                  <a:cubicBezTo>
                    <a:pt x="50" y="101"/>
                    <a:pt x="49" y="94"/>
                    <a:pt x="50" y="93"/>
                  </a:cubicBezTo>
                  <a:cubicBezTo>
                    <a:pt x="50" y="91"/>
                    <a:pt x="65" y="83"/>
                    <a:pt x="68" y="81"/>
                  </a:cubicBezTo>
                  <a:cubicBezTo>
                    <a:pt x="70" y="80"/>
                    <a:pt x="75" y="82"/>
                    <a:pt x="75" y="79"/>
                  </a:cubicBezTo>
                  <a:cubicBezTo>
                    <a:pt x="75" y="76"/>
                    <a:pt x="81" y="77"/>
                    <a:pt x="85" y="77"/>
                  </a:cubicBezTo>
                  <a:cubicBezTo>
                    <a:pt x="89" y="76"/>
                    <a:pt x="91" y="73"/>
                    <a:pt x="91" y="70"/>
                  </a:cubicBezTo>
                  <a:cubicBezTo>
                    <a:pt x="91" y="67"/>
                    <a:pt x="96" y="67"/>
                    <a:pt x="99" y="67"/>
                  </a:cubicBezTo>
                  <a:cubicBezTo>
                    <a:pt x="103" y="67"/>
                    <a:pt x="102" y="64"/>
                    <a:pt x="104" y="64"/>
                  </a:cubicBezTo>
                  <a:cubicBezTo>
                    <a:pt x="107" y="64"/>
                    <a:pt x="105" y="60"/>
                    <a:pt x="106" y="57"/>
                  </a:cubicBezTo>
                  <a:cubicBezTo>
                    <a:pt x="106" y="53"/>
                    <a:pt x="106" y="54"/>
                    <a:pt x="110" y="54"/>
                  </a:cubicBezTo>
                  <a:cubicBezTo>
                    <a:pt x="113" y="54"/>
                    <a:pt x="116" y="52"/>
                    <a:pt x="116" y="50"/>
                  </a:cubicBezTo>
                  <a:cubicBezTo>
                    <a:pt x="116" y="48"/>
                    <a:pt x="130" y="49"/>
                    <a:pt x="133" y="49"/>
                  </a:cubicBezTo>
                  <a:cubicBezTo>
                    <a:pt x="135" y="49"/>
                    <a:pt x="136" y="46"/>
                    <a:pt x="135" y="45"/>
                  </a:cubicBezTo>
                  <a:cubicBezTo>
                    <a:pt x="135" y="43"/>
                    <a:pt x="133" y="37"/>
                    <a:pt x="131" y="37"/>
                  </a:cubicBezTo>
                  <a:cubicBezTo>
                    <a:pt x="129" y="37"/>
                    <a:pt x="130" y="31"/>
                    <a:pt x="130" y="27"/>
                  </a:cubicBezTo>
                  <a:cubicBezTo>
                    <a:pt x="130" y="22"/>
                    <a:pt x="129" y="18"/>
                    <a:pt x="127" y="15"/>
                  </a:cubicBezTo>
                  <a:cubicBezTo>
                    <a:pt x="126" y="14"/>
                    <a:pt x="126" y="13"/>
                    <a:pt x="125" y="11"/>
                  </a:cubicBezTo>
                  <a:cubicBezTo>
                    <a:pt x="121" y="11"/>
                    <a:pt x="116" y="8"/>
                    <a:pt x="112" y="8"/>
                  </a:cubicBezTo>
                  <a:cubicBezTo>
                    <a:pt x="106" y="8"/>
                    <a:pt x="97" y="11"/>
                    <a:pt x="93" y="6"/>
                  </a:cubicBezTo>
                  <a:cubicBezTo>
                    <a:pt x="88" y="2"/>
                    <a:pt x="85" y="0"/>
                    <a:pt x="82" y="2"/>
                  </a:cubicBezTo>
                  <a:cubicBezTo>
                    <a:pt x="79" y="3"/>
                    <a:pt x="73" y="20"/>
                    <a:pt x="70" y="25"/>
                  </a:cubicBezTo>
                  <a:cubicBezTo>
                    <a:pt x="67" y="29"/>
                    <a:pt x="57" y="33"/>
                    <a:pt x="53" y="33"/>
                  </a:cubicBezTo>
                  <a:cubicBezTo>
                    <a:pt x="48" y="33"/>
                    <a:pt x="48" y="40"/>
                    <a:pt x="44" y="42"/>
                  </a:cubicBezTo>
                  <a:cubicBezTo>
                    <a:pt x="41" y="45"/>
                    <a:pt x="42" y="50"/>
                    <a:pt x="38" y="53"/>
                  </a:cubicBezTo>
                  <a:cubicBezTo>
                    <a:pt x="34" y="56"/>
                    <a:pt x="36" y="67"/>
                    <a:pt x="38" y="70"/>
                  </a:cubicBezTo>
                  <a:cubicBezTo>
                    <a:pt x="40" y="74"/>
                    <a:pt x="30" y="85"/>
                    <a:pt x="25" y="89"/>
                  </a:cubicBezTo>
                  <a:cubicBezTo>
                    <a:pt x="19" y="92"/>
                    <a:pt x="17" y="98"/>
                    <a:pt x="8" y="100"/>
                  </a:cubicBezTo>
                  <a:cubicBezTo>
                    <a:pt x="5" y="100"/>
                    <a:pt x="2" y="102"/>
                    <a:pt x="0" y="104"/>
                  </a:cubicBezTo>
                  <a:cubicBezTo>
                    <a:pt x="14" y="104"/>
                    <a:pt x="35" y="104"/>
                    <a:pt x="42" y="104"/>
                  </a:cubicBezTo>
                  <a:cubicBezTo>
                    <a:pt x="50" y="104"/>
                    <a:pt x="48" y="106"/>
                    <a:pt x="50" y="10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493107" y="3157902"/>
              <a:ext cx="111826" cy="208488"/>
            </a:xfrm>
            <a:custGeom>
              <a:avLst/>
              <a:gdLst/>
              <a:ahLst/>
              <a:cxnLst>
                <a:cxn ang="0">
                  <a:pos x="13" y="23"/>
                </a:cxn>
                <a:cxn ang="0">
                  <a:pos x="10" y="35"/>
                </a:cxn>
                <a:cxn ang="0">
                  <a:pos x="3" y="42"/>
                </a:cxn>
                <a:cxn ang="0">
                  <a:pos x="7" y="54"/>
                </a:cxn>
                <a:cxn ang="0">
                  <a:pos x="12" y="62"/>
                </a:cxn>
                <a:cxn ang="0">
                  <a:pos x="21" y="68"/>
                </a:cxn>
                <a:cxn ang="0">
                  <a:pos x="26" y="88"/>
                </a:cxn>
                <a:cxn ang="0">
                  <a:pos x="27" y="91"/>
                </a:cxn>
                <a:cxn ang="0">
                  <a:pos x="32" y="87"/>
                </a:cxn>
                <a:cxn ang="0">
                  <a:pos x="34" y="78"/>
                </a:cxn>
                <a:cxn ang="0">
                  <a:pos x="35" y="73"/>
                </a:cxn>
                <a:cxn ang="0">
                  <a:pos x="43" y="65"/>
                </a:cxn>
                <a:cxn ang="0">
                  <a:pos x="48" y="61"/>
                </a:cxn>
                <a:cxn ang="0">
                  <a:pos x="49" y="55"/>
                </a:cxn>
                <a:cxn ang="0">
                  <a:pos x="44" y="51"/>
                </a:cxn>
                <a:cxn ang="0">
                  <a:pos x="40" y="47"/>
                </a:cxn>
                <a:cxn ang="0">
                  <a:pos x="31" y="43"/>
                </a:cxn>
                <a:cxn ang="0">
                  <a:pos x="40" y="35"/>
                </a:cxn>
                <a:cxn ang="0">
                  <a:pos x="40" y="20"/>
                </a:cxn>
                <a:cxn ang="0">
                  <a:pos x="42" y="10"/>
                </a:cxn>
                <a:cxn ang="0">
                  <a:pos x="40" y="6"/>
                </a:cxn>
                <a:cxn ang="0">
                  <a:pos x="35" y="4"/>
                </a:cxn>
                <a:cxn ang="0">
                  <a:pos x="20" y="4"/>
                </a:cxn>
                <a:cxn ang="0">
                  <a:pos x="13" y="5"/>
                </a:cxn>
                <a:cxn ang="0">
                  <a:pos x="13" y="23"/>
                </a:cxn>
              </a:cxnLst>
              <a:rect l="0" t="0" r="r" b="b"/>
              <a:pathLst>
                <a:path w="49" h="91">
                  <a:moveTo>
                    <a:pt x="13" y="23"/>
                  </a:moveTo>
                  <a:cubicBezTo>
                    <a:pt x="16" y="27"/>
                    <a:pt x="13" y="34"/>
                    <a:pt x="10" y="35"/>
                  </a:cubicBezTo>
                  <a:cubicBezTo>
                    <a:pt x="7" y="36"/>
                    <a:pt x="5" y="42"/>
                    <a:pt x="3" y="42"/>
                  </a:cubicBezTo>
                  <a:cubicBezTo>
                    <a:pt x="0" y="42"/>
                    <a:pt x="3" y="52"/>
                    <a:pt x="7" y="54"/>
                  </a:cubicBezTo>
                  <a:cubicBezTo>
                    <a:pt x="12" y="56"/>
                    <a:pt x="12" y="60"/>
                    <a:pt x="12" y="62"/>
                  </a:cubicBezTo>
                  <a:cubicBezTo>
                    <a:pt x="12" y="64"/>
                    <a:pt x="19" y="66"/>
                    <a:pt x="21" y="68"/>
                  </a:cubicBezTo>
                  <a:cubicBezTo>
                    <a:pt x="23" y="71"/>
                    <a:pt x="26" y="84"/>
                    <a:pt x="26" y="88"/>
                  </a:cubicBezTo>
                  <a:cubicBezTo>
                    <a:pt x="26" y="89"/>
                    <a:pt x="26" y="90"/>
                    <a:pt x="27" y="91"/>
                  </a:cubicBezTo>
                  <a:cubicBezTo>
                    <a:pt x="29" y="90"/>
                    <a:pt x="31" y="89"/>
                    <a:pt x="32" y="87"/>
                  </a:cubicBezTo>
                  <a:cubicBezTo>
                    <a:pt x="33" y="84"/>
                    <a:pt x="34" y="79"/>
                    <a:pt x="34" y="78"/>
                  </a:cubicBezTo>
                  <a:cubicBezTo>
                    <a:pt x="33" y="77"/>
                    <a:pt x="33" y="74"/>
                    <a:pt x="35" y="73"/>
                  </a:cubicBezTo>
                  <a:cubicBezTo>
                    <a:pt x="36" y="72"/>
                    <a:pt x="42" y="65"/>
                    <a:pt x="43" y="65"/>
                  </a:cubicBezTo>
                  <a:cubicBezTo>
                    <a:pt x="45" y="64"/>
                    <a:pt x="48" y="65"/>
                    <a:pt x="48" y="61"/>
                  </a:cubicBezTo>
                  <a:cubicBezTo>
                    <a:pt x="48" y="60"/>
                    <a:pt x="48" y="58"/>
                    <a:pt x="49" y="55"/>
                  </a:cubicBezTo>
                  <a:cubicBezTo>
                    <a:pt x="46" y="54"/>
                    <a:pt x="44" y="52"/>
                    <a:pt x="44" y="51"/>
                  </a:cubicBezTo>
                  <a:cubicBezTo>
                    <a:pt x="44" y="49"/>
                    <a:pt x="41" y="45"/>
                    <a:pt x="40" y="47"/>
                  </a:cubicBezTo>
                  <a:cubicBezTo>
                    <a:pt x="38" y="49"/>
                    <a:pt x="32" y="47"/>
                    <a:pt x="31" y="43"/>
                  </a:cubicBezTo>
                  <a:cubicBezTo>
                    <a:pt x="30" y="39"/>
                    <a:pt x="35" y="39"/>
                    <a:pt x="40" y="35"/>
                  </a:cubicBezTo>
                  <a:cubicBezTo>
                    <a:pt x="44" y="31"/>
                    <a:pt x="45" y="24"/>
                    <a:pt x="40" y="20"/>
                  </a:cubicBezTo>
                  <a:cubicBezTo>
                    <a:pt x="35" y="16"/>
                    <a:pt x="38" y="14"/>
                    <a:pt x="42" y="10"/>
                  </a:cubicBezTo>
                  <a:cubicBezTo>
                    <a:pt x="45" y="7"/>
                    <a:pt x="42" y="5"/>
                    <a:pt x="40" y="6"/>
                  </a:cubicBezTo>
                  <a:cubicBezTo>
                    <a:pt x="39" y="8"/>
                    <a:pt x="36" y="8"/>
                    <a:pt x="35" y="4"/>
                  </a:cubicBezTo>
                  <a:cubicBezTo>
                    <a:pt x="35" y="0"/>
                    <a:pt x="24" y="0"/>
                    <a:pt x="20" y="4"/>
                  </a:cubicBezTo>
                  <a:cubicBezTo>
                    <a:pt x="18" y="5"/>
                    <a:pt x="16" y="5"/>
                    <a:pt x="13" y="5"/>
                  </a:cubicBezTo>
                  <a:cubicBezTo>
                    <a:pt x="12" y="12"/>
                    <a:pt x="12" y="20"/>
                    <a:pt x="13" y="2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078025" y="3165483"/>
              <a:ext cx="536384" cy="513639"/>
            </a:xfrm>
            <a:custGeom>
              <a:avLst/>
              <a:gdLst/>
              <a:ahLst/>
              <a:cxnLst>
                <a:cxn ang="0">
                  <a:pos x="81" y="43"/>
                </a:cxn>
                <a:cxn ang="0">
                  <a:pos x="82" y="53"/>
                </a:cxn>
                <a:cxn ang="0">
                  <a:pos x="86" y="61"/>
                </a:cxn>
                <a:cxn ang="0">
                  <a:pos x="84" y="65"/>
                </a:cxn>
                <a:cxn ang="0">
                  <a:pos x="67" y="66"/>
                </a:cxn>
                <a:cxn ang="0">
                  <a:pos x="61" y="70"/>
                </a:cxn>
                <a:cxn ang="0">
                  <a:pos x="57" y="73"/>
                </a:cxn>
                <a:cxn ang="0">
                  <a:pos x="55" y="80"/>
                </a:cxn>
                <a:cxn ang="0">
                  <a:pos x="50" y="83"/>
                </a:cxn>
                <a:cxn ang="0">
                  <a:pos x="42" y="86"/>
                </a:cxn>
                <a:cxn ang="0">
                  <a:pos x="36" y="93"/>
                </a:cxn>
                <a:cxn ang="0">
                  <a:pos x="26" y="95"/>
                </a:cxn>
                <a:cxn ang="0">
                  <a:pos x="19" y="97"/>
                </a:cxn>
                <a:cxn ang="0">
                  <a:pos x="1" y="109"/>
                </a:cxn>
                <a:cxn ang="0">
                  <a:pos x="1" y="124"/>
                </a:cxn>
                <a:cxn ang="0">
                  <a:pos x="3" y="126"/>
                </a:cxn>
                <a:cxn ang="0">
                  <a:pos x="112" y="199"/>
                </a:cxn>
                <a:cxn ang="0">
                  <a:pos x="120" y="209"/>
                </a:cxn>
                <a:cxn ang="0">
                  <a:pos x="132" y="213"/>
                </a:cxn>
                <a:cxn ang="0">
                  <a:pos x="138" y="225"/>
                </a:cxn>
                <a:cxn ang="0">
                  <a:pos x="149" y="223"/>
                </a:cxn>
                <a:cxn ang="0">
                  <a:pos x="166" y="217"/>
                </a:cxn>
                <a:cxn ang="0">
                  <a:pos x="187" y="201"/>
                </a:cxn>
                <a:cxn ang="0">
                  <a:pos x="235" y="171"/>
                </a:cxn>
                <a:cxn ang="0">
                  <a:pos x="235" y="171"/>
                </a:cxn>
                <a:cxn ang="0">
                  <a:pos x="230" y="161"/>
                </a:cxn>
                <a:cxn ang="0">
                  <a:pos x="221" y="158"/>
                </a:cxn>
                <a:cxn ang="0">
                  <a:pos x="214" y="154"/>
                </a:cxn>
                <a:cxn ang="0">
                  <a:pos x="212" y="145"/>
                </a:cxn>
                <a:cxn ang="0">
                  <a:pos x="207" y="138"/>
                </a:cxn>
                <a:cxn ang="0">
                  <a:pos x="212" y="133"/>
                </a:cxn>
                <a:cxn ang="0">
                  <a:pos x="211" y="127"/>
                </a:cxn>
                <a:cxn ang="0">
                  <a:pos x="211" y="120"/>
                </a:cxn>
                <a:cxn ang="0">
                  <a:pos x="211" y="113"/>
                </a:cxn>
                <a:cxn ang="0">
                  <a:pos x="212" y="101"/>
                </a:cxn>
                <a:cxn ang="0">
                  <a:pos x="207" y="91"/>
                </a:cxn>
                <a:cxn ang="0">
                  <a:pos x="209" y="88"/>
                </a:cxn>
                <a:cxn ang="0">
                  <a:pos x="208" y="85"/>
                </a:cxn>
                <a:cxn ang="0">
                  <a:pos x="203" y="65"/>
                </a:cxn>
                <a:cxn ang="0">
                  <a:pos x="194" y="59"/>
                </a:cxn>
                <a:cxn ang="0">
                  <a:pos x="189" y="51"/>
                </a:cxn>
                <a:cxn ang="0">
                  <a:pos x="185" y="39"/>
                </a:cxn>
                <a:cxn ang="0">
                  <a:pos x="192" y="32"/>
                </a:cxn>
                <a:cxn ang="0">
                  <a:pos x="195" y="20"/>
                </a:cxn>
                <a:cxn ang="0">
                  <a:pos x="195" y="2"/>
                </a:cxn>
                <a:cxn ang="0">
                  <a:pos x="185" y="0"/>
                </a:cxn>
                <a:cxn ang="0">
                  <a:pos x="173" y="1"/>
                </a:cxn>
                <a:cxn ang="0">
                  <a:pos x="158" y="5"/>
                </a:cxn>
                <a:cxn ang="0">
                  <a:pos x="115" y="7"/>
                </a:cxn>
                <a:cxn ang="0">
                  <a:pos x="98" y="16"/>
                </a:cxn>
                <a:cxn ang="0">
                  <a:pos x="80" y="26"/>
                </a:cxn>
                <a:cxn ang="0">
                  <a:pos x="76" y="27"/>
                </a:cxn>
                <a:cxn ang="0">
                  <a:pos x="78" y="31"/>
                </a:cxn>
                <a:cxn ang="0">
                  <a:pos x="81" y="43"/>
                </a:cxn>
              </a:cxnLst>
              <a:rect l="0" t="0" r="r" b="b"/>
              <a:pathLst>
                <a:path w="235" h="225">
                  <a:moveTo>
                    <a:pt x="81" y="43"/>
                  </a:moveTo>
                  <a:cubicBezTo>
                    <a:pt x="81" y="47"/>
                    <a:pt x="80" y="53"/>
                    <a:pt x="82" y="53"/>
                  </a:cubicBezTo>
                  <a:cubicBezTo>
                    <a:pt x="84" y="53"/>
                    <a:pt x="86" y="59"/>
                    <a:pt x="86" y="61"/>
                  </a:cubicBezTo>
                  <a:cubicBezTo>
                    <a:pt x="87" y="62"/>
                    <a:pt x="86" y="65"/>
                    <a:pt x="84" y="65"/>
                  </a:cubicBezTo>
                  <a:cubicBezTo>
                    <a:pt x="81" y="65"/>
                    <a:pt x="67" y="64"/>
                    <a:pt x="67" y="66"/>
                  </a:cubicBezTo>
                  <a:cubicBezTo>
                    <a:pt x="67" y="68"/>
                    <a:pt x="64" y="70"/>
                    <a:pt x="61" y="70"/>
                  </a:cubicBezTo>
                  <a:cubicBezTo>
                    <a:pt x="57" y="70"/>
                    <a:pt x="57" y="69"/>
                    <a:pt x="57" y="73"/>
                  </a:cubicBezTo>
                  <a:cubicBezTo>
                    <a:pt x="56" y="76"/>
                    <a:pt x="58" y="80"/>
                    <a:pt x="55" y="80"/>
                  </a:cubicBezTo>
                  <a:cubicBezTo>
                    <a:pt x="53" y="80"/>
                    <a:pt x="54" y="83"/>
                    <a:pt x="50" y="83"/>
                  </a:cubicBezTo>
                  <a:cubicBezTo>
                    <a:pt x="47" y="83"/>
                    <a:pt x="42" y="83"/>
                    <a:pt x="42" y="86"/>
                  </a:cubicBezTo>
                  <a:cubicBezTo>
                    <a:pt x="42" y="89"/>
                    <a:pt x="40" y="92"/>
                    <a:pt x="36" y="93"/>
                  </a:cubicBezTo>
                  <a:cubicBezTo>
                    <a:pt x="32" y="93"/>
                    <a:pt x="26" y="92"/>
                    <a:pt x="26" y="95"/>
                  </a:cubicBezTo>
                  <a:cubicBezTo>
                    <a:pt x="26" y="98"/>
                    <a:pt x="21" y="96"/>
                    <a:pt x="19" y="97"/>
                  </a:cubicBezTo>
                  <a:cubicBezTo>
                    <a:pt x="16" y="99"/>
                    <a:pt x="1" y="107"/>
                    <a:pt x="1" y="109"/>
                  </a:cubicBezTo>
                  <a:cubicBezTo>
                    <a:pt x="0" y="110"/>
                    <a:pt x="1" y="117"/>
                    <a:pt x="1" y="124"/>
                  </a:cubicBezTo>
                  <a:cubicBezTo>
                    <a:pt x="1" y="125"/>
                    <a:pt x="2" y="126"/>
                    <a:pt x="3" y="126"/>
                  </a:cubicBezTo>
                  <a:cubicBezTo>
                    <a:pt x="9" y="129"/>
                    <a:pt x="109" y="196"/>
                    <a:pt x="112" y="199"/>
                  </a:cubicBezTo>
                  <a:cubicBezTo>
                    <a:pt x="116" y="202"/>
                    <a:pt x="120" y="209"/>
                    <a:pt x="120" y="209"/>
                  </a:cubicBezTo>
                  <a:cubicBezTo>
                    <a:pt x="120" y="209"/>
                    <a:pt x="127" y="210"/>
                    <a:pt x="132" y="213"/>
                  </a:cubicBezTo>
                  <a:cubicBezTo>
                    <a:pt x="138" y="217"/>
                    <a:pt x="138" y="225"/>
                    <a:pt x="138" y="225"/>
                  </a:cubicBezTo>
                  <a:cubicBezTo>
                    <a:pt x="138" y="225"/>
                    <a:pt x="145" y="224"/>
                    <a:pt x="149" y="223"/>
                  </a:cubicBezTo>
                  <a:cubicBezTo>
                    <a:pt x="153" y="222"/>
                    <a:pt x="166" y="217"/>
                    <a:pt x="166" y="217"/>
                  </a:cubicBezTo>
                  <a:cubicBezTo>
                    <a:pt x="187" y="201"/>
                    <a:pt x="187" y="201"/>
                    <a:pt x="187" y="201"/>
                  </a:cubicBezTo>
                  <a:cubicBezTo>
                    <a:pt x="235" y="171"/>
                    <a:pt x="235" y="171"/>
                    <a:pt x="235" y="171"/>
                  </a:cubicBezTo>
                  <a:cubicBezTo>
                    <a:pt x="235" y="171"/>
                    <a:pt x="235" y="171"/>
                    <a:pt x="235" y="171"/>
                  </a:cubicBezTo>
                  <a:cubicBezTo>
                    <a:pt x="234" y="165"/>
                    <a:pt x="232" y="161"/>
                    <a:pt x="230" y="161"/>
                  </a:cubicBezTo>
                  <a:cubicBezTo>
                    <a:pt x="227" y="161"/>
                    <a:pt x="225" y="158"/>
                    <a:pt x="221" y="158"/>
                  </a:cubicBezTo>
                  <a:cubicBezTo>
                    <a:pt x="218" y="158"/>
                    <a:pt x="214" y="157"/>
                    <a:pt x="214" y="154"/>
                  </a:cubicBezTo>
                  <a:cubicBezTo>
                    <a:pt x="213" y="151"/>
                    <a:pt x="215" y="149"/>
                    <a:pt x="212" y="145"/>
                  </a:cubicBezTo>
                  <a:cubicBezTo>
                    <a:pt x="210" y="141"/>
                    <a:pt x="207" y="140"/>
                    <a:pt x="207" y="138"/>
                  </a:cubicBezTo>
                  <a:cubicBezTo>
                    <a:pt x="207" y="136"/>
                    <a:pt x="212" y="133"/>
                    <a:pt x="212" y="133"/>
                  </a:cubicBezTo>
                  <a:cubicBezTo>
                    <a:pt x="213" y="132"/>
                    <a:pt x="211" y="129"/>
                    <a:pt x="211" y="127"/>
                  </a:cubicBezTo>
                  <a:cubicBezTo>
                    <a:pt x="211" y="126"/>
                    <a:pt x="209" y="122"/>
                    <a:pt x="211" y="120"/>
                  </a:cubicBezTo>
                  <a:cubicBezTo>
                    <a:pt x="212" y="118"/>
                    <a:pt x="213" y="116"/>
                    <a:pt x="211" y="113"/>
                  </a:cubicBezTo>
                  <a:cubicBezTo>
                    <a:pt x="210" y="109"/>
                    <a:pt x="214" y="106"/>
                    <a:pt x="212" y="101"/>
                  </a:cubicBezTo>
                  <a:cubicBezTo>
                    <a:pt x="210" y="96"/>
                    <a:pt x="206" y="92"/>
                    <a:pt x="207" y="91"/>
                  </a:cubicBezTo>
                  <a:cubicBezTo>
                    <a:pt x="207" y="90"/>
                    <a:pt x="208" y="89"/>
                    <a:pt x="209" y="88"/>
                  </a:cubicBezTo>
                  <a:cubicBezTo>
                    <a:pt x="208" y="87"/>
                    <a:pt x="208" y="86"/>
                    <a:pt x="208" y="85"/>
                  </a:cubicBezTo>
                  <a:cubicBezTo>
                    <a:pt x="208" y="81"/>
                    <a:pt x="205" y="68"/>
                    <a:pt x="203" y="65"/>
                  </a:cubicBezTo>
                  <a:cubicBezTo>
                    <a:pt x="201" y="63"/>
                    <a:pt x="194" y="61"/>
                    <a:pt x="194" y="59"/>
                  </a:cubicBezTo>
                  <a:cubicBezTo>
                    <a:pt x="194" y="57"/>
                    <a:pt x="194" y="53"/>
                    <a:pt x="189" y="51"/>
                  </a:cubicBezTo>
                  <a:cubicBezTo>
                    <a:pt x="185" y="49"/>
                    <a:pt x="182" y="39"/>
                    <a:pt x="185" y="39"/>
                  </a:cubicBezTo>
                  <a:cubicBezTo>
                    <a:pt x="187" y="39"/>
                    <a:pt x="189" y="33"/>
                    <a:pt x="192" y="32"/>
                  </a:cubicBezTo>
                  <a:cubicBezTo>
                    <a:pt x="195" y="31"/>
                    <a:pt x="198" y="24"/>
                    <a:pt x="195" y="20"/>
                  </a:cubicBezTo>
                  <a:cubicBezTo>
                    <a:pt x="194" y="17"/>
                    <a:pt x="194" y="9"/>
                    <a:pt x="195" y="2"/>
                  </a:cubicBezTo>
                  <a:cubicBezTo>
                    <a:pt x="191" y="2"/>
                    <a:pt x="186" y="1"/>
                    <a:pt x="185" y="0"/>
                  </a:cubicBezTo>
                  <a:cubicBezTo>
                    <a:pt x="183" y="0"/>
                    <a:pt x="177" y="1"/>
                    <a:pt x="173" y="1"/>
                  </a:cubicBezTo>
                  <a:cubicBezTo>
                    <a:pt x="170" y="2"/>
                    <a:pt x="161" y="7"/>
                    <a:pt x="158" y="5"/>
                  </a:cubicBezTo>
                  <a:cubicBezTo>
                    <a:pt x="155" y="2"/>
                    <a:pt x="124" y="7"/>
                    <a:pt x="115" y="7"/>
                  </a:cubicBezTo>
                  <a:cubicBezTo>
                    <a:pt x="107" y="7"/>
                    <a:pt x="103" y="16"/>
                    <a:pt x="98" y="16"/>
                  </a:cubicBezTo>
                  <a:cubicBezTo>
                    <a:pt x="93" y="16"/>
                    <a:pt x="85" y="21"/>
                    <a:pt x="80" y="26"/>
                  </a:cubicBezTo>
                  <a:cubicBezTo>
                    <a:pt x="79" y="27"/>
                    <a:pt x="78" y="27"/>
                    <a:pt x="76" y="27"/>
                  </a:cubicBezTo>
                  <a:cubicBezTo>
                    <a:pt x="77" y="29"/>
                    <a:pt x="77" y="30"/>
                    <a:pt x="78" y="31"/>
                  </a:cubicBezTo>
                  <a:cubicBezTo>
                    <a:pt x="80" y="34"/>
                    <a:pt x="81" y="38"/>
                    <a:pt x="81" y="4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48071" y="3282995"/>
              <a:ext cx="392337" cy="377174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1" y="18"/>
                </a:cxn>
                <a:cxn ang="0">
                  <a:pos x="10" y="23"/>
                </a:cxn>
                <a:cxn ang="0">
                  <a:pos x="8" y="32"/>
                </a:cxn>
                <a:cxn ang="0">
                  <a:pos x="1" y="39"/>
                </a:cxn>
                <a:cxn ang="0">
                  <a:pos x="6" y="49"/>
                </a:cxn>
                <a:cxn ang="0">
                  <a:pos x="5" y="61"/>
                </a:cxn>
                <a:cxn ang="0">
                  <a:pos x="5" y="68"/>
                </a:cxn>
                <a:cxn ang="0">
                  <a:pos x="5" y="75"/>
                </a:cxn>
                <a:cxn ang="0">
                  <a:pos x="6" y="81"/>
                </a:cxn>
                <a:cxn ang="0">
                  <a:pos x="1" y="86"/>
                </a:cxn>
                <a:cxn ang="0">
                  <a:pos x="6" y="93"/>
                </a:cxn>
                <a:cxn ang="0">
                  <a:pos x="8" y="102"/>
                </a:cxn>
                <a:cxn ang="0">
                  <a:pos x="15" y="106"/>
                </a:cxn>
                <a:cxn ang="0">
                  <a:pos x="24" y="109"/>
                </a:cxn>
                <a:cxn ang="0">
                  <a:pos x="29" y="119"/>
                </a:cxn>
                <a:cxn ang="0">
                  <a:pos x="46" y="122"/>
                </a:cxn>
                <a:cxn ang="0">
                  <a:pos x="53" y="129"/>
                </a:cxn>
                <a:cxn ang="0">
                  <a:pos x="72" y="119"/>
                </a:cxn>
                <a:cxn ang="0">
                  <a:pos x="158" y="165"/>
                </a:cxn>
                <a:cxn ang="0">
                  <a:pos x="158" y="159"/>
                </a:cxn>
                <a:cxn ang="0">
                  <a:pos x="169" y="159"/>
                </a:cxn>
                <a:cxn ang="0">
                  <a:pos x="169" y="48"/>
                </a:cxn>
                <a:cxn ang="0">
                  <a:pos x="169" y="32"/>
                </a:cxn>
                <a:cxn ang="0">
                  <a:pos x="170" y="18"/>
                </a:cxn>
                <a:cxn ang="0">
                  <a:pos x="171" y="15"/>
                </a:cxn>
                <a:cxn ang="0">
                  <a:pos x="171" y="15"/>
                </a:cxn>
                <a:cxn ang="0">
                  <a:pos x="156" y="11"/>
                </a:cxn>
                <a:cxn ang="0">
                  <a:pos x="138" y="2"/>
                </a:cxn>
                <a:cxn ang="0">
                  <a:pos x="113" y="15"/>
                </a:cxn>
                <a:cxn ang="0">
                  <a:pos x="115" y="29"/>
                </a:cxn>
                <a:cxn ang="0">
                  <a:pos x="97" y="29"/>
                </a:cxn>
                <a:cxn ang="0">
                  <a:pos x="77" y="22"/>
                </a:cxn>
                <a:cxn ang="0">
                  <a:pos x="65" y="14"/>
                </a:cxn>
                <a:cxn ang="0">
                  <a:pos x="58" y="7"/>
                </a:cxn>
                <a:cxn ang="0">
                  <a:pos x="38" y="3"/>
                </a:cxn>
                <a:cxn ang="0">
                  <a:pos x="25" y="0"/>
                </a:cxn>
                <a:cxn ang="0">
                  <a:pos x="24" y="6"/>
                </a:cxn>
                <a:cxn ang="0">
                  <a:pos x="19" y="10"/>
                </a:cxn>
              </a:cxnLst>
              <a:rect l="0" t="0" r="r" b="b"/>
              <a:pathLst>
                <a:path w="172" h="165">
                  <a:moveTo>
                    <a:pt x="19" y="10"/>
                  </a:moveTo>
                  <a:cubicBezTo>
                    <a:pt x="18" y="10"/>
                    <a:pt x="12" y="17"/>
                    <a:pt x="11" y="18"/>
                  </a:cubicBezTo>
                  <a:cubicBezTo>
                    <a:pt x="9" y="19"/>
                    <a:pt x="9" y="22"/>
                    <a:pt x="10" y="23"/>
                  </a:cubicBezTo>
                  <a:cubicBezTo>
                    <a:pt x="10" y="24"/>
                    <a:pt x="9" y="29"/>
                    <a:pt x="8" y="32"/>
                  </a:cubicBezTo>
                  <a:cubicBezTo>
                    <a:pt x="6" y="35"/>
                    <a:pt x="1" y="37"/>
                    <a:pt x="1" y="39"/>
                  </a:cubicBezTo>
                  <a:cubicBezTo>
                    <a:pt x="0" y="40"/>
                    <a:pt x="4" y="44"/>
                    <a:pt x="6" y="49"/>
                  </a:cubicBezTo>
                  <a:cubicBezTo>
                    <a:pt x="8" y="54"/>
                    <a:pt x="4" y="57"/>
                    <a:pt x="5" y="61"/>
                  </a:cubicBezTo>
                  <a:cubicBezTo>
                    <a:pt x="7" y="64"/>
                    <a:pt x="6" y="66"/>
                    <a:pt x="5" y="68"/>
                  </a:cubicBezTo>
                  <a:cubicBezTo>
                    <a:pt x="3" y="70"/>
                    <a:pt x="5" y="74"/>
                    <a:pt x="5" y="75"/>
                  </a:cubicBezTo>
                  <a:cubicBezTo>
                    <a:pt x="5" y="77"/>
                    <a:pt x="7" y="80"/>
                    <a:pt x="6" y="81"/>
                  </a:cubicBezTo>
                  <a:cubicBezTo>
                    <a:pt x="6" y="81"/>
                    <a:pt x="1" y="84"/>
                    <a:pt x="1" y="86"/>
                  </a:cubicBezTo>
                  <a:cubicBezTo>
                    <a:pt x="1" y="88"/>
                    <a:pt x="4" y="89"/>
                    <a:pt x="6" y="93"/>
                  </a:cubicBezTo>
                  <a:cubicBezTo>
                    <a:pt x="9" y="97"/>
                    <a:pt x="7" y="99"/>
                    <a:pt x="8" y="102"/>
                  </a:cubicBezTo>
                  <a:cubicBezTo>
                    <a:pt x="8" y="105"/>
                    <a:pt x="12" y="106"/>
                    <a:pt x="15" y="106"/>
                  </a:cubicBezTo>
                  <a:cubicBezTo>
                    <a:pt x="19" y="106"/>
                    <a:pt x="21" y="109"/>
                    <a:pt x="24" y="109"/>
                  </a:cubicBezTo>
                  <a:cubicBezTo>
                    <a:pt x="26" y="109"/>
                    <a:pt x="28" y="113"/>
                    <a:pt x="29" y="119"/>
                  </a:cubicBezTo>
                  <a:cubicBezTo>
                    <a:pt x="31" y="119"/>
                    <a:pt x="41" y="119"/>
                    <a:pt x="46" y="122"/>
                  </a:cubicBezTo>
                  <a:cubicBezTo>
                    <a:pt x="51" y="125"/>
                    <a:pt x="53" y="129"/>
                    <a:pt x="53" y="129"/>
                  </a:cubicBezTo>
                  <a:cubicBezTo>
                    <a:pt x="72" y="119"/>
                    <a:pt x="72" y="119"/>
                    <a:pt x="72" y="119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58" y="159"/>
                    <a:pt x="158" y="159"/>
                    <a:pt x="158" y="159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59"/>
                    <a:pt x="169" y="56"/>
                    <a:pt x="169" y="48"/>
                  </a:cubicBezTo>
                  <a:cubicBezTo>
                    <a:pt x="169" y="41"/>
                    <a:pt x="165" y="36"/>
                    <a:pt x="169" y="32"/>
                  </a:cubicBezTo>
                  <a:cubicBezTo>
                    <a:pt x="172" y="27"/>
                    <a:pt x="167" y="25"/>
                    <a:pt x="170" y="18"/>
                  </a:cubicBezTo>
                  <a:cubicBezTo>
                    <a:pt x="170" y="17"/>
                    <a:pt x="171" y="16"/>
                    <a:pt x="171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0" y="12"/>
                    <a:pt x="165" y="12"/>
                    <a:pt x="156" y="11"/>
                  </a:cubicBezTo>
                  <a:cubicBezTo>
                    <a:pt x="146" y="9"/>
                    <a:pt x="149" y="2"/>
                    <a:pt x="138" y="2"/>
                  </a:cubicBezTo>
                  <a:cubicBezTo>
                    <a:pt x="127" y="1"/>
                    <a:pt x="113" y="10"/>
                    <a:pt x="113" y="15"/>
                  </a:cubicBezTo>
                  <a:cubicBezTo>
                    <a:pt x="113" y="19"/>
                    <a:pt x="118" y="24"/>
                    <a:pt x="115" y="29"/>
                  </a:cubicBezTo>
                  <a:cubicBezTo>
                    <a:pt x="111" y="34"/>
                    <a:pt x="103" y="35"/>
                    <a:pt x="97" y="29"/>
                  </a:cubicBezTo>
                  <a:cubicBezTo>
                    <a:pt x="92" y="24"/>
                    <a:pt x="83" y="22"/>
                    <a:pt x="77" y="22"/>
                  </a:cubicBezTo>
                  <a:cubicBezTo>
                    <a:pt x="70" y="22"/>
                    <a:pt x="65" y="18"/>
                    <a:pt x="65" y="14"/>
                  </a:cubicBezTo>
                  <a:cubicBezTo>
                    <a:pt x="66" y="10"/>
                    <a:pt x="64" y="9"/>
                    <a:pt x="58" y="7"/>
                  </a:cubicBezTo>
                  <a:cubicBezTo>
                    <a:pt x="52" y="6"/>
                    <a:pt x="48" y="2"/>
                    <a:pt x="38" y="3"/>
                  </a:cubicBezTo>
                  <a:cubicBezTo>
                    <a:pt x="32" y="4"/>
                    <a:pt x="28" y="2"/>
                    <a:pt x="25" y="0"/>
                  </a:cubicBezTo>
                  <a:cubicBezTo>
                    <a:pt x="24" y="3"/>
                    <a:pt x="24" y="5"/>
                    <a:pt x="24" y="6"/>
                  </a:cubicBezTo>
                  <a:cubicBezTo>
                    <a:pt x="24" y="10"/>
                    <a:pt x="21" y="9"/>
                    <a:pt x="19" y="1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75224" y="3808005"/>
              <a:ext cx="73919" cy="26535"/>
            </a:xfrm>
            <a:custGeom>
              <a:avLst/>
              <a:gdLst/>
              <a:ahLst/>
              <a:cxnLst>
                <a:cxn ang="0">
                  <a:pos x="16" y="7"/>
                </a:cxn>
                <a:cxn ang="0">
                  <a:pos x="25" y="10"/>
                </a:cxn>
                <a:cxn ang="0">
                  <a:pos x="32" y="8"/>
                </a:cxn>
                <a:cxn ang="0">
                  <a:pos x="26" y="7"/>
                </a:cxn>
                <a:cxn ang="0">
                  <a:pos x="15" y="2"/>
                </a:cxn>
                <a:cxn ang="0">
                  <a:pos x="1" y="5"/>
                </a:cxn>
                <a:cxn ang="0">
                  <a:pos x="0" y="11"/>
                </a:cxn>
                <a:cxn ang="0">
                  <a:pos x="3" y="11"/>
                </a:cxn>
                <a:cxn ang="0">
                  <a:pos x="16" y="7"/>
                </a:cxn>
              </a:cxnLst>
              <a:rect l="0" t="0" r="r" b="b"/>
              <a:pathLst>
                <a:path w="32" h="11">
                  <a:moveTo>
                    <a:pt x="16" y="7"/>
                  </a:moveTo>
                  <a:cubicBezTo>
                    <a:pt x="18" y="5"/>
                    <a:pt x="22" y="9"/>
                    <a:pt x="25" y="10"/>
                  </a:cubicBezTo>
                  <a:cubicBezTo>
                    <a:pt x="29" y="10"/>
                    <a:pt x="32" y="8"/>
                    <a:pt x="32" y="8"/>
                  </a:cubicBezTo>
                  <a:cubicBezTo>
                    <a:pt x="32" y="8"/>
                    <a:pt x="32" y="7"/>
                    <a:pt x="26" y="7"/>
                  </a:cubicBezTo>
                  <a:cubicBezTo>
                    <a:pt x="21" y="7"/>
                    <a:pt x="20" y="0"/>
                    <a:pt x="15" y="2"/>
                  </a:cubicBezTo>
                  <a:cubicBezTo>
                    <a:pt x="10" y="5"/>
                    <a:pt x="7" y="5"/>
                    <a:pt x="1" y="5"/>
                  </a:cubicBezTo>
                  <a:cubicBezTo>
                    <a:pt x="1" y="6"/>
                    <a:pt x="0" y="9"/>
                    <a:pt x="0" y="11"/>
                  </a:cubicBezTo>
                  <a:cubicBezTo>
                    <a:pt x="1" y="11"/>
                    <a:pt x="2" y="11"/>
                    <a:pt x="3" y="11"/>
                  </a:cubicBezTo>
                  <a:cubicBezTo>
                    <a:pt x="6" y="11"/>
                    <a:pt x="13" y="9"/>
                    <a:pt x="16" y="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60061" y="3737878"/>
              <a:ext cx="149733" cy="121302"/>
            </a:xfrm>
            <a:custGeom>
              <a:avLst/>
              <a:gdLst/>
              <a:ahLst/>
              <a:cxnLst>
                <a:cxn ang="0">
                  <a:pos x="15" y="51"/>
                </a:cxn>
                <a:cxn ang="0">
                  <a:pos x="21" y="48"/>
                </a:cxn>
                <a:cxn ang="0">
                  <a:pos x="37" y="47"/>
                </a:cxn>
                <a:cxn ang="0">
                  <a:pos x="40" y="48"/>
                </a:cxn>
                <a:cxn ang="0">
                  <a:pos x="40" y="47"/>
                </a:cxn>
                <a:cxn ang="0">
                  <a:pos x="48" y="50"/>
                </a:cxn>
                <a:cxn ang="0">
                  <a:pos x="65" y="51"/>
                </a:cxn>
                <a:cxn ang="0">
                  <a:pos x="66" y="50"/>
                </a:cxn>
                <a:cxn ang="0">
                  <a:pos x="66" y="43"/>
                </a:cxn>
                <a:cxn ang="0">
                  <a:pos x="60" y="36"/>
                </a:cxn>
                <a:cxn ang="0">
                  <a:pos x="58" y="29"/>
                </a:cxn>
                <a:cxn ang="0">
                  <a:pos x="56" y="26"/>
                </a:cxn>
                <a:cxn ang="0">
                  <a:pos x="50" y="18"/>
                </a:cxn>
                <a:cxn ang="0">
                  <a:pos x="42" y="8"/>
                </a:cxn>
                <a:cxn ang="0">
                  <a:pos x="38" y="8"/>
                </a:cxn>
                <a:cxn ang="0">
                  <a:pos x="32" y="2"/>
                </a:cxn>
                <a:cxn ang="0">
                  <a:pos x="23" y="3"/>
                </a:cxn>
                <a:cxn ang="0">
                  <a:pos x="13" y="3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3" y="18"/>
                </a:cxn>
                <a:cxn ang="0">
                  <a:pos x="7" y="34"/>
                </a:cxn>
                <a:cxn ang="0">
                  <a:pos x="8" y="36"/>
                </a:cxn>
                <a:cxn ang="0">
                  <a:pos x="22" y="33"/>
                </a:cxn>
                <a:cxn ang="0">
                  <a:pos x="33" y="38"/>
                </a:cxn>
                <a:cxn ang="0">
                  <a:pos x="39" y="39"/>
                </a:cxn>
                <a:cxn ang="0">
                  <a:pos x="32" y="41"/>
                </a:cxn>
                <a:cxn ang="0">
                  <a:pos x="23" y="38"/>
                </a:cxn>
                <a:cxn ang="0">
                  <a:pos x="10" y="42"/>
                </a:cxn>
                <a:cxn ang="0">
                  <a:pos x="7" y="42"/>
                </a:cxn>
                <a:cxn ang="0">
                  <a:pos x="8" y="48"/>
                </a:cxn>
                <a:cxn ang="0">
                  <a:pos x="9" y="49"/>
                </a:cxn>
                <a:cxn ang="0">
                  <a:pos x="15" y="51"/>
                </a:cxn>
              </a:cxnLst>
              <a:rect l="0" t="0" r="r" b="b"/>
              <a:pathLst>
                <a:path w="66" h="53">
                  <a:moveTo>
                    <a:pt x="15" y="51"/>
                  </a:moveTo>
                  <a:cubicBezTo>
                    <a:pt x="17" y="51"/>
                    <a:pt x="21" y="48"/>
                    <a:pt x="21" y="48"/>
                  </a:cubicBezTo>
                  <a:cubicBezTo>
                    <a:pt x="21" y="48"/>
                    <a:pt x="35" y="47"/>
                    <a:pt x="37" y="47"/>
                  </a:cubicBezTo>
                  <a:cubicBezTo>
                    <a:pt x="38" y="47"/>
                    <a:pt x="39" y="47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8" y="48"/>
                    <a:pt x="48" y="50"/>
                  </a:cubicBezTo>
                  <a:cubicBezTo>
                    <a:pt x="49" y="52"/>
                    <a:pt x="59" y="53"/>
                    <a:pt x="65" y="51"/>
                  </a:cubicBezTo>
                  <a:cubicBezTo>
                    <a:pt x="65" y="51"/>
                    <a:pt x="66" y="50"/>
                    <a:pt x="66" y="50"/>
                  </a:cubicBezTo>
                  <a:cubicBezTo>
                    <a:pt x="66" y="48"/>
                    <a:pt x="66" y="44"/>
                    <a:pt x="66" y="43"/>
                  </a:cubicBezTo>
                  <a:cubicBezTo>
                    <a:pt x="66" y="42"/>
                    <a:pt x="62" y="38"/>
                    <a:pt x="60" y="36"/>
                  </a:cubicBezTo>
                  <a:cubicBezTo>
                    <a:pt x="58" y="34"/>
                    <a:pt x="58" y="29"/>
                    <a:pt x="58" y="29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5" y="19"/>
                    <a:pt x="50" y="18"/>
                  </a:cubicBezTo>
                  <a:cubicBezTo>
                    <a:pt x="45" y="16"/>
                    <a:pt x="42" y="8"/>
                    <a:pt x="42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5" y="4"/>
                    <a:pt x="32" y="2"/>
                  </a:cubicBezTo>
                  <a:cubicBezTo>
                    <a:pt x="29" y="0"/>
                    <a:pt x="23" y="3"/>
                    <a:pt x="23" y="3"/>
                  </a:cubicBezTo>
                  <a:cubicBezTo>
                    <a:pt x="23" y="3"/>
                    <a:pt x="17" y="4"/>
                    <a:pt x="13" y="3"/>
                  </a:cubicBezTo>
                  <a:cubicBezTo>
                    <a:pt x="9" y="2"/>
                    <a:pt x="10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12"/>
                    <a:pt x="5" y="15"/>
                    <a:pt x="3" y="18"/>
                  </a:cubicBezTo>
                  <a:cubicBezTo>
                    <a:pt x="0" y="23"/>
                    <a:pt x="5" y="31"/>
                    <a:pt x="7" y="34"/>
                  </a:cubicBezTo>
                  <a:cubicBezTo>
                    <a:pt x="8" y="34"/>
                    <a:pt x="8" y="35"/>
                    <a:pt x="8" y="36"/>
                  </a:cubicBezTo>
                  <a:cubicBezTo>
                    <a:pt x="14" y="36"/>
                    <a:pt x="17" y="36"/>
                    <a:pt x="22" y="33"/>
                  </a:cubicBezTo>
                  <a:cubicBezTo>
                    <a:pt x="27" y="31"/>
                    <a:pt x="28" y="38"/>
                    <a:pt x="33" y="38"/>
                  </a:cubicBezTo>
                  <a:cubicBezTo>
                    <a:pt x="39" y="38"/>
                    <a:pt x="39" y="39"/>
                    <a:pt x="39" y="39"/>
                  </a:cubicBezTo>
                  <a:cubicBezTo>
                    <a:pt x="39" y="39"/>
                    <a:pt x="36" y="41"/>
                    <a:pt x="32" y="41"/>
                  </a:cubicBezTo>
                  <a:cubicBezTo>
                    <a:pt x="29" y="40"/>
                    <a:pt x="25" y="36"/>
                    <a:pt x="23" y="38"/>
                  </a:cubicBezTo>
                  <a:cubicBezTo>
                    <a:pt x="20" y="40"/>
                    <a:pt x="13" y="42"/>
                    <a:pt x="10" y="42"/>
                  </a:cubicBezTo>
                  <a:cubicBezTo>
                    <a:pt x="9" y="42"/>
                    <a:pt x="8" y="42"/>
                    <a:pt x="7" y="42"/>
                  </a:cubicBezTo>
                  <a:cubicBezTo>
                    <a:pt x="6" y="44"/>
                    <a:pt x="6" y="46"/>
                    <a:pt x="8" y="48"/>
                  </a:cubicBezTo>
                  <a:cubicBezTo>
                    <a:pt x="8" y="48"/>
                    <a:pt x="9" y="49"/>
                    <a:pt x="9" y="49"/>
                  </a:cubicBezTo>
                  <a:cubicBezTo>
                    <a:pt x="15" y="48"/>
                    <a:pt x="13" y="50"/>
                    <a:pt x="15" y="5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79014" y="3845912"/>
              <a:ext cx="72023" cy="39803"/>
            </a:xfrm>
            <a:custGeom>
              <a:avLst/>
              <a:gdLst/>
              <a:ahLst/>
              <a:cxnLst>
                <a:cxn ang="0">
                  <a:pos x="16" y="17"/>
                </a:cxn>
                <a:cxn ang="0">
                  <a:pos x="26" y="12"/>
                </a:cxn>
                <a:cxn ang="0">
                  <a:pos x="30" y="10"/>
                </a:cxn>
                <a:cxn ang="0">
                  <a:pos x="29" y="5"/>
                </a:cxn>
                <a:cxn ang="0">
                  <a:pos x="31" y="1"/>
                </a:cxn>
                <a:cxn ang="0">
                  <a:pos x="28" y="0"/>
                </a:cxn>
                <a:cxn ang="0">
                  <a:pos x="12" y="1"/>
                </a:cxn>
                <a:cxn ang="0">
                  <a:pos x="6" y="4"/>
                </a:cxn>
                <a:cxn ang="0">
                  <a:pos x="0" y="2"/>
                </a:cxn>
                <a:cxn ang="0">
                  <a:pos x="9" y="9"/>
                </a:cxn>
                <a:cxn ang="0">
                  <a:pos x="14" y="18"/>
                </a:cxn>
                <a:cxn ang="0">
                  <a:pos x="15" y="18"/>
                </a:cxn>
                <a:cxn ang="0">
                  <a:pos x="16" y="17"/>
                </a:cxn>
              </a:cxnLst>
              <a:rect l="0" t="0" r="r" b="b"/>
              <a:pathLst>
                <a:path w="31" h="18">
                  <a:moveTo>
                    <a:pt x="16" y="17"/>
                  </a:moveTo>
                  <a:cubicBezTo>
                    <a:pt x="19" y="16"/>
                    <a:pt x="24" y="11"/>
                    <a:pt x="26" y="12"/>
                  </a:cubicBezTo>
                  <a:cubicBezTo>
                    <a:pt x="27" y="13"/>
                    <a:pt x="30" y="11"/>
                    <a:pt x="30" y="10"/>
                  </a:cubicBezTo>
                  <a:cubicBezTo>
                    <a:pt x="30" y="9"/>
                    <a:pt x="26" y="6"/>
                    <a:pt x="29" y="5"/>
                  </a:cubicBezTo>
                  <a:cubicBezTo>
                    <a:pt x="31" y="4"/>
                    <a:pt x="31" y="2"/>
                    <a:pt x="31" y="1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26" y="0"/>
                    <a:pt x="12" y="1"/>
                    <a:pt x="12" y="1"/>
                  </a:cubicBezTo>
                  <a:cubicBezTo>
                    <a:pt x="12" y="1"/>
                    <a:pt x="8" y="4"/>
                    <a:pt x="6" y="4"/>
                  </a:cubicBezTo>
                  <a:cubicBezTo>
                    <a:pt x="4" y="3"/>
                    <a:pt x="6" y="1"/>
                    <a:pt x="0" y="2"/>
                  </a:cubicBezTo>
                  <a:cubicBezTo>
                    <a:pt x="3" y="6"/>
                    <a:pt x="3" y="7"/>
                    <a:pt x="9" y="9"/>
                  </a:cubicBezTo>
                  <a:cubicBezTo>
                    <a:pt x="16" y="11"/>
                    <a:pt x="9" y="14"/>
                    <a:pt x="14" y="18"/>
                  </a:cubicBezTo>
                  <a:cubicBezTo>
                    <a:pt x="14" y="18"/>
                    <a:pt x="15" y="18"/>
                    <a:pt x="15" y="18"/>
                  </a:cubicBezTo>
                  <a:cubicBezTo>
                    <a:pt x="16" y="18"/>
                    <a:pt x="16" y="17"/>
                    <a:pt x="16" y="1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76955" y="3883819"/>
              <a:ext cx="314628" cy="221756"/>
            </a:xfrm>
            <a:custGeom>
              <a:avLst/>
              <a:gdLst/>
              <a:ahLst/>
              <a:cxnLst>
                <a:cxn ang="0">
                  <a:pos x="128" y="55"/>
                </a:cxn>
                <a:cxn ang="0">
                  <a:pos x="124" y="47"/>
                </a:cxn>
                <a:cxn ang="0">
                  <a:pos x="117" y="41"/>
                </a:cxn>
                <a:cxn ang="0">
                  <a:pos x="112" y="34"/>
                </a:cxn>
                <a:cxn ang="0">
                  <a:pos x="103" y="30"/>
                </a:cxn>
                <a:cxn ang="0">
                  <a:pos x="101" y="27"/>
                </a:cxn>
                <a:cxn ang="0">
                  <a:pos x="97" y="26"/>
                </a:cxn>
                <a:cxn ang="0">
                  <a:pos x="98" y="22"/>
                </a:cxn>
                <a:cxn ang="0">
                  <a:pos x="97" y="12"/>
                </a:cxn>
                <a:cxn ang="0">
                  <a:pos x="89" y="1"/>
                </a:cxn>
                <a:cxn ang="0">
                  <a:pos x="87" y="1"/>
                </a:cxn>
                <a:cxn ang="0">
                  <a:pos x="78" y="5"/>
                </a:cxn>
                <a:cxn ang="0">
                  <a:pos x="76" y="10"/>
                </a:cxn>
                <a:cxn ang="0">
                  <a:pos x="65" y="21"/>
                </a:cxn>
                <a:cxn ang="0">
                  <a:pos x="49" y="25"/>
                </a:cxn>
                <a:cxn ang="0">
                  <a:pos x="48" y="31"/>
                </a:cxn>
                <a:cxn ang="0">
                  <a:pos x="38" y="36"/>
                </a:cxn>
                <a:cxn ang="0">
                  <a:pos x="26" y="40"/>
                </a:cxn>
                <a:cxn ang="0">
                  <a:pos x="18" y="40"/>
                </a:cxn>
                <a:cxn ang="0">
                  <a:pos x="12" y="42"/>
                </a:cxn>
                <a:cxn ang="0">
                  <a:pos x="11" y="41"/>
                </a:cxn>
                <a:cxn ang="0">
                  <a:pos x="5" y="48"/>
                </a:cxn>
                <a:cxn ang="0">
                  <a:pos x="0" y="59"/>
                </a:cxn>
                <a:cxn ang="0">
                  <a:pos x="1" y="69"/>
                </a:cxn>
                <a:cxn ang="0">
                  <a:pos x="5" y="78"/>
                </a:cxn>
                <a:cxn ang="0">
                  <a:pos x="6" y="84"/>
                </a:cxn>
                <a:cxn ang="0">
                  <a:pos x="9" y="88"/>
                </a:cxn>
                <a:cxn ang="0">
                  <a:pos x="16" y="95"/>
                </a:cxn>
                <a:cxn ang="0">
                  <a:pos x="18" y="97"/>
                </a:cxn>
                <a:cxn ang="0">
                  <a:pos x="19" y="96"/>
                </a:cxn>
                <a:cxn ang="0">
                  <a:pos x="21" y="88"/>
                </a:cxn>
                <a:cxn ang="0">
                  <a:pos x="27" y="86"/>
                </a:cxn>
                <a:cxn ang="0">
                  <a:pos x="32" y="85"/>
                </a:cxn>
                <a:cxn ang="0">
                  <a:pos x="42" y="86"/>
                </a:cxn>
                <a:cxn ang="0">
                  <a:pos x="42" y="79"/>
                </a:cxn>
                <a:cxn ang="0">
                  <a:pos x="53" y="70"/>
                </a:cxn>
                <a:cxn ang="0">
                  <a:pos x="63" y="76"/>
                </a:cxn>
                <a:cxn ang="0">
                  <a:pos x="84" y="80"/>
                </a:cxn>
                <a:cxn ang="0">
                  <a:pos x="88" y="72"/>
                </a:cxn>
                <a:cxn ang="0">
                  <a:pos x="97" y="72"/>
                </a:cxn>
                <a:cxn ang="0">
                  <a:pos x="108" y="69"/>
                </a:cxn>
                <a:cxn ang="0">
                  <a:pos x="117" y="68"/>
                </a:cxn>
                <a:cxn ang="0">
                  <a:pos x="130" y="69"/>
                </a:cxn>
                <a:cxn ang="0">
                  <a:pos x="138" y="68"/>
                </a:cxn>
                <a:cxn ang="0">
                  <a:pos x="136" y="61"/>
                </a:cxn>
                <a:cxn ang="0">
                  <a:pos x="128" y="55"/>
                </a:cxn>
              </a:cxnLst>
              <a:rect l="0" t="0" r="r" b="b"/>
              <a:pathLst>
                <a:path w="138" h="97">
                  <a:moveTo>
                    <a:pt x="128" y="55"/>
                  </a:moveTo>
                  <a:cubicBezTo>
                    <a:pt x="128" y="53"/>
                    <a:pt x="128" y="51"/>
                    <a:pt x="124" y="47"/>
                  </a:cubicBezTo>
                  <a:cubicBezTo>
                    <a:pt x="120" y="44"/>
                    <a:pt x="117" y="43"/>
                    <a:pt x="117" y="41"/>
                  </a:cubicBezTo>
                  <a:cubicBezTo>
                    <a:pt x="117" y="39"/>
                    <a:pt x="115" y="38"/>
                    <a:pt x="112" y="34"/>
                  </a:cubicBezTo>
                  <a:cubicBezTo>
                    <a:pt x="108" y="30"/>
                    <a:pt x="103" y="30"/>
                    <a:pt x="103" y="30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7" y="26"/>
                    <a:pt x="94" y="24"/>
                    <a:pt x="98" y="22"/>
                  </a:cubicBezTo>
                  <a:cubicBezTo>
                    <a:pt x="102" y="20"/>
                    <a:pt x="98" y="14"/>
                    <a:pt x="97" y="12"/>
                  </a:cubicBezTo>
                  <a:cubicBezTo>
                    <a:pt x="97" y="10"/>
                    <a:pt x="91" y="3"/>
                    <a:pt x="89" y="1"/>
                  </a:cubicBezTo>
                  <a:cubicBezTo>
                    <a:pt x="89" y="1"/>
                    <a:pt x="88" y="1"/>
                    <a:pt x="87" y="1"/>
                  </a:cubicBezTo>
                  <a:cubicBezTo>
                    <a:pt x="85" y="0"/>
                    <a:pt x="80" y="2"/>
                    <a:pt x="78" y="5"/>
                  </a:cubicBezTo>
                  <a:cubicBezTo>
                    <a:pt x="76" y="7"/>
                    <a:pt x="77" y="8"/>
                    <a:pt x="76" y="10"/>
                  </a:cubicBezTo>
                  <a:cubicBezTo>
                    <a:pt x="74" y="12"/>
                    <a:pt x="68" y="17"/>
                    <a:pt x="65" y="21"/>
                  </a:cubicBezTo>
                  <a:cubicBezTo>
                    <a:pt x="61" y="26"/>
                    <a:pt x="52" y="23"/>
                    <a:pt x="49" y="25"/>
                  </a:cubicBezTo>
                  <a:cubicBezTo>
                    <a:pt x="46" y="26"/>
                    <a:pt x="50" y="29"/>
                    <a:pt x="48" y="31"/>
                  </a:cubicBezTo>
                  <a:cubicBezTo>
                    <a:pt x="46" y="32"/>
                    <a:pt x="40" y="35"/>
                    <a:pt x="38" y="36"/>
                  </a:cubicBezTo>
                  <a:cubicBezTo>
                    <a:pt x="36" y="37"/>
                    <a:pt x="28" y="37"/>
                    <a:pt x="26" y="40"/>
                  </a:cubicBezTo>
                  <a:cubicBezTo>
                    <a:pt x="23" y="43"/>
                    <a:pt x="21" y="36"/>
                    <a:pt x="18" y="40"/>
                  </a:cubicBezTo>
                  <a:cubicBezTo>
                    <a:pt x="16" y="43"/>
                    <a:pt x="13" y="43"/>
                    <a:pt x="12" y="42"/>
                  </a:cubicBezTo>
                  <a:cubicBezTo>
                    <a:pt x="12" y="42"/>
                    <a:pt x="11" y="42"/>
                    <a:pt x="11" y="41"/>
                  </a:cubicBezTo>
                  <a:cubicBezTo>
                    <a:pt x="9" y="43"/>
                    <a:pt x="6" y="45"/>
                    <a:pt x="5" y="48"/>
                  </a:cubicBezTo>
                  <a:cubicBezTo>
                    <a:pt x="4" y="53"/>
                    <a:pt x="0" y="57"/>
                    <a:pt x="0" y="59"/>
                  </a:cubicBezTo>
                  <a:cubicBezTo>
                    <a:pt x="0" y="62"/>
                    <a:pt x="1" y="65"/>
                    <a:pt x="1" y="69"/>
                  </a:cubicBezTo>
                  <a:cubicBezTo>
                    <a:pt x="1" y="73"/>
                    <a:pt x="2" y="75"/>
                    <a:pt x="5" y="78"/>
                  </a:cubicBezTo>
                  <a:cubicBezTo>
                    <a:pt x="7" y="81"/>
                    <a:pt x="6" y="84"/>
                    <a:pt x="6" y="84"/>
                  </a:cubicBezTo>
                  <a:cubicBezTo>
                    <a:pt x="6" y="84"/>
                    <a:pt x="7" y="86"/>
                    <a:pt x="9" y="88"/>
                  </a:cubicBezTo>
                  <a:cubicBezTo>
                    <a:pt x="11" y="90"/>
                    <a:pt x="16" y="94"/>
                    <a:pt x="16" y="95"/>
                  </a:cubicBezTo>
                  <a:cubicBezTo>
                    <a:pt x="16" y="96"/>
                    <a:pt x="17" y="97"/>
                    <a:pt x="18" y="97"/>
                  </a:cubicBezTo>
                  <a:cubicBezTo>
                    <a:pt x="18" y="97"/>
                    <a:pt x="18" y="96"/>
                    <a:pt x="19" y="96"/>
                  </a:cubicBezTo>
                  <a:cubicBezTo>
                    <a:pt x="22" y="93"/>
                    <a:pt x="21" y="88"/>
                    <a:pt x="21" y="88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9" y="70"/>
                    <a:pt x="53" y="70"/>
                  </a:cubicBezTo>
                  <a:cubicBezTo>
                    <a:pt x="58" y="70"/>
                    <a:pt x="63" y="76"/>
                    <a:pt x="63" y="76"/>
                  </a:cubicBezTo>
                  <a:cubicBezTo>
                    <a:pt x="84" y="80"/>
                    <a:pt x="84" y="80"/>
                    <a:pt x="84" y="80"/>
                  </a:cubicBezTo>
                  <a:cubicBezTo>
                    <a:pt x="84" y="80"/>
                    <a:pt x="85" y="74"/>
                    <a:pt x="88" y="72"/>
                  </a:cubicBezTo>
                  <a:cubicBezTo>
                    <a:pt x="90" y="71"/>
                    <a:pt x="94" y="74"/>
                    <a:pt x="97" y="72"/>
                  </a:cubicBezTo>
                  <a:cubicBezTo>
                    <a:pt x="99" y="71"/>
                    <a:pt x="104" y="69"/>
                    <a:pt x="108" y="69"/>
                  </a:cubicBezTo>
                  <a:cubicBezTo>
                    <a:pt x="113" y="69"/>
                    <a:pt x="115" y="72"/>
                    <a:pt x="117" y="68"/>
                  </a:cubicBezTo>
                  <a:cubicBezTo>
                    <a:pt x="120" y="63"/>
                    <a:pt x="130" y="69"/>
                    <a:pt x="130" y="69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6" y="61"/>
                    <a:pt x="136" y="61"/>
                    <a:pt x="136" y="61"/>
                  </a:cubicBezTo>
                  <a:cubicBezTo>
                    <a:pt x="136" y="61"/>
                    <a:pt x="128" y="57"/>
                    <a:pt x="128" y="5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375595" y="3809901"/>
              <a:ext cx="305151" cy="253976"/>
            </a:xfrm>
            <a:custGeom>
              <a:avLst/>
              <a:gdLst/>
              <a:ahLst/>
              <a:cxnLst>
                <a:cxn ang="0">
                  <a:pos x="83" y="81"/>
                </a:cxn>
                <a:cxn ang="0">
                  <a:pos x="89" y="80"/>
                </a:cxn>
                <a:cxn ang="0">
                  <a:pos x="97" y="86"/>
                </a:cxn>
                <a:cxn ang="0">
                  <a:pos x="102" y="81"/>
                </a:cxn>
                <a:cxn ang="0">
                  <a:pos x="110" y="63"/>
                </a:cxn>
                <a:cxn ang="0">
                  <a:pos x="116" y="57"/>
                </a:cxn>
                <a:cxn ang="0">
                  <a:pos x="117" y="51"/>
                </a:cxn>
                <a:cxn ang="0">
                  <a:pos x="120" y="43"/>
                </a:cxn>
                <a:cxn ang="0">
                  <a:pos x="126" y="31"/>
                </a:cxn>
                <a:cxn ang="0">
                  <a:pos x="133" y="27"/>
                </a:cxn>
                <a:cxn ang="0">
                  <a:pos x="132" y="20"/>
                </a:cxn>
                <a:cxn ang="0">
                  <a:pos x="128" y="16"/>
                </a:cxn>
                <a:cxn ang="0">
                  <a:pos x="128" y="9"/>
                </a:cxn>
                <a:cxn ang="0">
                  <a:pos x="124" y="5"/>
                </a:cxn>
                <a:cxn ang="0">
                  <a:pos x="120" y="3"/>
                </a:cxn>
                <a:cxn ang="0">
                  <a:pos x="112" y="10"/>
                </a:cxn>
                <a:cxn ang="0">
                  <a:pos x="103" y="8"/>
                </a:cxn>
                <a:cxn ang="0">
                  <a:pos x="88" y="7"/>
                </a:cxn>
                <a:cxn ang="0">
                  <a:pos x="80" y="13"/>
                </a:cxn>
                <a:cxn ang="0">
                  <a:pos x="69" y="13"/>
                </a:cxn>
                <a:cxn ang="0">
                  <a:pos x="60" y="8"/>
                </a:cxn>
                <a:cxn ang="0">
                  <a:pos x="51" y="11"/>
                </a:cxn>
                <a:cxn ang="0">
                  <a:pos x="45" y="5"/>
                </a:cxn>
                <a:cxn ang="0">
                  <a:pos x="36" y="2"/>
                </a:cxn>
                <a:cxn ang="0">
                  <a:pos x="29" y="4"/>
                </a:cxn>
                <a:cxn ang="0">
                  <a:pos x="19" y="4"/>
                </a:cxn>
                <a:cxn ang="0">
                  <a:pos x="16" y="13"/>
                </a:cxn>
                <a:cxn ang="0">
                  <a:pos x="11" y="21"/>
                </a:cxn>
                <a:cxn ang="0">
                  <a:pos x="10" y="23"/>
                </a:cxn>
                <a:cxn ang="0">
                  <a:pos x="11" y="31"/>
                </a:cxn>
                <a:cxn ang="0">
                  <a:pos x="10" y="47"/>
                </a:cxn>
                <a:cxn ang="0">
                  <a:pos x="6" y="54"/>
                </a:cxn>
                <a:cxn ang="0">
                  <a:pos x="1" y="62"/>
                </a:cxn>
                <a:cxn ang="0">
                  <a:pos x="1" y="75"/>
                </a:cxn>
                <a:cxn ang="0">
                  <a:pos x="5" y="84"/>
                </a:cxn>
                <a:cxn ang="0">
                  <a:pos x="5" y="84"/>
                </a:cxn>
                <a:cxn ang="0">
                  <a:pos x="22" y="88"/>
                </a:cxn>
                <a:cxn ang="0">
                  <a:pos x="32" y="100"/>
                </a:cxn>
                <a:cxn ang="0">
                  <a:pos x="38" y="110"/>
                </a:cxn>
                <a:cxn ang="0">
                  <a:pos x="50" y="107"/>
                </a:cxn>
                <a:cxn ang="0">
                  <a:pos x="65" y="105"/>
                </a:cxn>
                <a:cxn ang="0">
                  <a:pos x="66" y="105"/>
                </a:cxn>
                <a:cxn ang="0">
                  <a:pos x="70" y="93"/>
                </a:cxn>
                <a:cxn ang="0">
                  <a:pos x="83" y="81"/>
                </a:cxn>
              </a:cxnLst>
              <a:rect l="0" t="0" r="r" b="b"/>
              <a:pathLst>
                <a:path w="134" h="111">
                  <a:moveTo>
                    <a:pt x="83" y="81"/>
                  </a:moveTo>
                  <a:cubicBezTo>
                    <a:pt x="84" y="81"/>
                    <a:pt x="87" y="82"/>
                    <a:pt x="89" y="80"/>
                  </a:cubicBezTo>
                  <a:cubicBezTo>
                    <a:pt x="92" y="78"/>
                    <a:pt x="97" y="82"/>
                    <a:pt x="97" y="86"/>
                  </a:cubicBezTo>
                  <a:cubicBezTo>
                    <a:pt x="98" y="89"/>
                    <a:pt x="100" y="84"/>
                    <a:pt x="102" y="81"/>
                  </a:cubicBezTo>
                  <a:cubicBezTo>
                    <a:pt x="104" y="77"/>
                    <a:pt x="110" y="66"/>
                    <a:pt x="110" y="63"/>
                  </a:cubicBezTo>
                  <a:cubicBezTo>
                    <a:pt x="110" y="61"/>
                    <a:pt x="116" y="58"/>
                    <a:pt x="116" y="57"/>
                  </a:cubicBezTo>
                  <a:cubicBezTo>
                    <a:pt x="116" y="55"/>
                    <a:pt x="115" y="51"/>
                    <a:pt x="117" y="51"/>
                  </a:cubicBezTo>
                  <a:cubicBezTo>
                    <a:pt x="119" y="50"/>
                    <a:pt x="120" y="45"/>
                    <a:pt x="120" y="43"/>
                  </a:cubicBezTo>
                  <a:cubicBezTo>
                    <a:pt x="119" y="42"/>
                    <a:pt x="125" y="32"/>
                    <a:pt x="126" y="31"/>
                  </a:cubicBezTo>
                  <a:cubicBezTo>
                    <a:pt x="127" y="30"/>
                    <a:pt x="133" y="30"/>
                    <a:pt x="133" y="27"/>
                  </a:cubicBezTo>
                  <a:cubicBezTo>
                    <a:pt x="133" y="24"/>
                    <a:pt x="134" y="21"/>
                    <a:pt x="132" y="20"/>
                  </a:cubicBezTo>
                  <a:cubicBezTo>
                    <a:pt x="130" y="20"/>
                    <a:pt x="128" y="17"/>
                    <a:pt x="128" y="16"/>
                  </a:cubicBezTo>
                  <a:cubicBezTo>
                    <a:pt x="128" y="15"/>
                    <a:pt x="128" y="12"/>
                    <a:pt x="128" y="9"/>
                  </a:cubicBezTo>
                  <a:cubicBezTo>
                    <a:pt x="126" y="9"/>
                    <a:pt x="126" y="6"/>
                    <a:pt x="124" y="5"/>
                  </a:cubicBezTo>
                  <a:cubicBezTo>
                    <a:pt x="122" y="3"/>
                    <a:pt x="122" y="2"/>
                    <a:pt x="120" y="3"/>
                  </a:cubicBezTo>
                  <a:cubicBezTo>
                    <a:pt x="118" y="3"/>
                    <a:pt x="115" y="9"/>
                    <a:pt x="112" y="10"/>
                  </a:cubicBezTo>
                  <a:cubicBezTo>
                    <a:pt x="109" y="11"/>
                    <a:pt x="105" y="9"/>
                    <a:pt x="103" y="8"/>
                  </a:cubicBezTo>
                  <a:cubicBezTo>
                    <a:pt x="101" y="7"/>
                    <a:pt x="91" y="8"/>
                    <a:pt x="88" y="7"/>
                  </a:cubicBezTo>
                  <a:cubicBezTo>
                    <a:pt x="85" y="7"/>
                    <a:pt x="82" y="11"/>
                    <a:pt x="80" y="13"/>
                  </a:cubicBezTo>
                  <a:cubicBezTo>
                    <a:pt x="78" y="14"/>
                    <a:pt x="71" y="13"/>
                    <a:pt x="69" y="13"/>
                  </a:cubicBezTo>
                  <a:cubicBezTo>
                    <a:pt x="67" y="12"/>
                    <a:pt x="62" y="8"/>
                    <a:pt x="60" y="8"/>
                  </a:cubicBezTo>
                  <a:cubicBezTo>
                    <a:pt x="58" y="8"/>
                    <a:pt x="54" y="9"/>
                    <a:pt x="51" y="11"/>
                  </a:cubicBezTo>
                  <a:cubicBezTo>
                    <a:pt x="48" y="13"/>
                    <a:pt x="47" y="7"/>
                    <a:pt x="45" y="5"/>
                  </a:cubicBezTo>
                  <a:cubicBezTo>
                    <a:pt x="43" y="2"/>
                    <a:pt x="38" y="4"/>
                    <a:pt x="36" y="2"/>
                  </a:cubicBezTo>
                  <a:cubicBezTo>
                    <a:pt x="33" y="0"/>
                    <a:pt x="31" y="5"/>
                    <a:pt x="29" y="4"/>
                  </a:cubicBezTo>
                  <a:cubicBezTo>
                    <a:pt x="27" y="4"/>
                    <a:pt x="21" y="3"/>
                    <a:pt x="19" y="4"/>
                  </a:cubicBezTo>
                  <a:cubicBezTo>
                    <a:pt x="17" y="6"/>
                    <a:pt x="17" y="12"/>
                    <a:pt x="16" y="13"/>
                  </a:cubicBezTo>
                  <a:cubicBezTo>
                    <a:pt x="15" y="14"/>
                    <a:pt x="11" y="19"/>
                    <a:pt x="11" y="21"/>
                  </a:cubicBezTo>
                  <a:cubicBezTo>
                    <a:pt x="11" y="22"/>
                    <a:pt x="11" y="23"/>
                    <a:pt x="10" y="23"/>
                  </a:cubicBezTo>
                  <a:cubicBezTo>
                    <a:pt x="10" y="26"/>
                    <a:pt x="11" y="30"/>
                    <a:pt x="11" y="31"/>
                  </a:cubicBezTo>
                  <a:cubicBezTo>
                    <a:pt x="11" y="33"/>
                    <a:pt x="12" y="45"/>
                    <a:pt x="10" y="47"/>
                  </a:cubicBezTo>
                  <a:cubicBezTo>
                    <a:pt x="7" y="50"/>
                    <a:pt x="6" y="54"/>
                    <a:pt x="6" y="54"/>
                  </a:cubicBezTo>
                  <a:cubicBezTo>
                    <a:pt x="6" y="54"/>
                    <a:pt x="2" y="56"/>
                    <a:pt x="1" y="62"/>
                  </a:cubicBezTo>
                  <a:cubicBezTo>
                    <a:pt x="0" y="67"/>
                    <a:pt x="1" y="71"/>
                    <a:pt x="1" y="75"/>
                  </a:cubicBezTo>
                  <a:cubicBezTo>
                    <a:pt x="1" y="78"/>
                    <a:pt x="3" y="80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7" y="87"/>
                    <a:pt x="16" y="87"/>
                    <a:pt x="22" y="88"/>
                  </a:cubicBezTo>
                  <a:cubicBezTo>
                    <a:pt x="27" y="90"/>
                    <a:pt x="32" y="97"/>
                    <a:pt x="32" y="100"/>
                  </a:cubicBezTo>
                  <a:cubicBezTo>
                    <a:pt x="32" y="103"/>
                    <a:pt x="36" y="108"/>
                    <a:pt x="38" y="110"/>
                  </a:cubicBezTo>
                  <a:cubicBezTo>
                    <a:pt x="41" y="111"/>
                    <a:pt x="47" y="107"/>
                    <a:pt x="50" y="107"/>
                  </a:cubicBezTo>
                  <a:cubicBezTo>
                    <a:pt x="53" y="107"/>
                    <a:pt x="63" y="107"/>
                    <a:pt x="65" y="105"/>
                  </a:cubicBezTo>
                  <a:cubicBezTo>
                    <a:pt x="65" y="105"/>
                    <a:pt x="66" y="105"/>
                    <a:pt x="66" y="105"/>
                  </a:cubicBezTo>
                  <a:cubicBezTo>
                    <a:pt x="69" y="99"/>
                    <a:pt x="70" y="93"/>
                    <a:pt x="70" y="93"/>
                  </a:cubicBezTo>
                  <a:cubicBezTo>
                    <a:pt x="70" y="93"/>
                    <a:pt x="81" y="81"/>
                    <a:pt x="83" y="8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324420" y="3849703"/>
              <a:ext cx="77710" cy="159209"/>
            </a:xfrm>
            <a:custGeom>
              <a:avLst/>
              <a:gdLst/>
              <a:ahLst/>
              <a:cxnLst>
                <a:cxn ang="0">
                  <a:pos x="23" y="45"/>
                </a:cxn>
                <a:cxn ang="0">
                  <a:pos x="28" y="37"/>
                </a:cxn>
                <a:cxn ang="0">
                  <a:pos x="32" y="30"/>
                </a:cxn>
                <a:cxn ang="0">
                  <a:pos x="33" y="14"/>
                </a:cxn>
                <a:cxn ang="0">
                  <a:pos x="32" y="6"/>
                </a:cxn>
                <a:cxn ang="0">
                  <a:pos x="28" y="6"/>
                </a:cxn>
                <a:cxn ang="0">
                  <a:pos x="25" y="1"/>
                </a:cxn>
                <a:cxn ang="0">
                  <a:pos x="21" y="6"/>
                </a:cxn>
                <a:cxn ang="0">
                  <a:pos x="18" y="11"/>
                </a:cxn>
                <a:cxn ang="0">
                  <a:pos x="8" y="13"/>
                </a:cxn>
                <a:cxn ang="0">
                  <a:pos x="2" y="17"/>
                </a:cxn>
                <a:cxn ang="0">
                  <a:pos x="0" y="17"/>
                </a:cxn>
                <a:cxn ang="0">
                  <a:pos x="6" y="28"/>
                </a:cxn>
                <a:cxn ang="0">
                  <a:pos x="9" y="36"/>
                </a:cxn>
                <a:cxn ang="0">
                  <a:pos x="10" y="49"/>
                </a:cxn>
                <a:cxn ang="0">
                  <a:pos x="11" y="70"/>
                </a:cxn>
                <a:cxn ang="0">
                  <a:pos x="19" y="69"/>
                </a:cxn>
                <a:cxn ang="0">
                  <a:pos x="27" y="67"/>
                </a:cxn>
                <a:cxn ang="0">
                  <a:pos x="23" y="58"/>
                </a:cxn>
                <a:cxn ang="0">
                  <a:pos x="23" y="45"/>
                </a:cxn>
              </a:cxnLst>
              <a:rect l="0" t="0" r="r" b="b"/>
              <a:pathLst>
                <a:path w="34" h="70">
                  <a:moveTo>
                    <a:pt x="23" y="45"/>
                  </a:moveTo>
                  <a:cubicBezTo>
                    <a:pt x="24" y="39"/>
                    <a:pt x="28" y="37"/>
                    <a:pt x="28" y="37"/>
                  </a:cubicBezTo>
                  <a:cubicBezTo>
                    <a:pt x="28" y="37"/>
                    <a:pt x="29" y="33"/>
                    <a:pt x="32" y="30"/>
                  </a:cubicBezTo>
                  <a:cubicBezTo>
                    <a:pt x="34" y="28"/>
                    <a:pt x="33" y="16"/>
                    <a:pt x="33" y="14"/>
                  </a:cubicBezTo>
                  <a:cubicBezTo>
                    <a:pt x="33" y="13"/>
                    <a:pt x="32" y="9"/>
                    <a:pt x="32" y="6"/>
                  </a:cubicBezTo>
                  <a:cubicBezTo>
                    <a:pt x="31" y="7"/>
                    <a:pt x="30" y="7"/>
                    <a:pt x="28" y="6"/>
                  </a:cubicBezTo>
                  <a:cubicBezTo>
                    <a:pt x="25" y="5"/>
                    <a:pt x="28" y="2"/>
                    <a:pt x="25" y="1"/>
                  </a:cubicBezTo>
                  <a:cubicBezTo>
                    <a:pt x="21" y="0"/>
                    <a:pt x="20" y="4"/>
                    <a:pt x="21" y="6"/>
                  </a:cubicBezTo>
                  <a:cubicBezTo>
                    <a:pt x="21" y="9"/>
                    <a:pt x="19" y="9"/>
                    <a:pt x="18" y="11"/>
                  </a:cubicBezTo>
                  <a:cubicBezTo>
                    <a:pt x="16" y="12"/>
                    <a:pt x="10" y="13"/>
                    <a:pt x="8" y="13"/>
                  </a:cubicBezTo>
                  <a:cubicBezTo>
                    <a:pt x="6" y="13"/>
                    <a:pt x="4" y="16"/>
                    <a:pt x="2" y="17"/>
                  </a:cubicBezTo>
                  <a:cubicBezTo>
                    <a:pt x="2" y="17"/>
                    <a:pt x="1" y="17"/>
                    <a:pt x="0" y="17"/>
                  </a:cubicBezTo>
                  <a:cubicBezTo>
                    <a:pt x="1" y="26"/>
                    <a:pt x="2" y="25"/>
                    <a:pt x="6" y="28"/>
                  </a:cubicBezTo>
                  <a:cubicBezTo>
                    <a:pt x="11" y="30"/>
                    <a:pt x="7" y="34"/>
                    <a:pt x="9" y="36"/>
                  </a:cubicBezTo>
                  <a:cubicBezTo>
                    <a:pt x="11" y="38"/>
                    <a:pt x="10" y="43"/>
                    <a:pt x="10" y="49"/>
                  </a:cubicBezTo>
                  <a:cubicBezTo>
                    <a:pt x="11" y="53"/>
                    <a:pt x="11" y="63"/>
                    <a:pt x="11" y="70"/>
                  </a:cubicBezTo>
                  <a:cubicBezTo>
                    <a:pt x="14" y="70"/>
                    <a:pt x="17" y="69"/>
                    <a:pt x="19" y="69"/>
                  </a:cubicBezTo>
                  <a:cubicBezTo>
                    <a:pt x="22" y="69"/>
                    <a:pt x="25" y="65"/>
                    <a:pt x="27" y="67"/>
                  </a:cubicBezTo>
                  <a:cubicBezTo>
                    <a:pt x="25" y="63"/>
                    <a:pt x="23" y="61"/>
                    <a:pt x="23" y="58"/>
                  </a:cubicBezTo>
                  <a:cubicBezTo>
                    <a:pt x="23" y="54"/>
                    <a:pt x="22" y="50"/>
                    <a:pt x="23" y="4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2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301676" y="3883819"/>
              <a:ext cx="49279" cy="134570"/>
            </a:xfrm>
            <a:custGeom>
              <a:avLst/>
              <a:gdLst/>
              <a:ahLst/>
              <a:cxnLst>
                <a:cxn ang="0">
                  <a:pos x="19" y="21"/>
                </a:cxn>
                <a:cxn ang="0">
                  <a:pos x="16" y="13"/>
                </a:cxn>
                <a:cxn ang="0">
                  <a:pos x="10" y="2"/>
                </a:cxn>
                <a:cxn ang="0">
                  <a:pos x="2" y="1"/>
                </a:cxn>
                <a:cxn ang="0">
                  <a:pos x="0" y="1"/>
                </a:cxn>
                <a:cxn ang="0">
                  <a:pos x="3" y="8"/>
                </a:cxn>
                <a:cxn ang="0">
                  <a:pos x="5" y="15"/>
                </a:cxn>
                <a:cxn ang="0">
                  <a:pos x="6" y="31"/>
                </a:cxn>
                <a:cxn ang="0">
                  <a:pos x="9" y="46"/>
                </a:cxn>
                <a:cxn ang="0">
                  <a:pos x="13" y="59"/>
                </a:cxn>
                <a:cxn ang="0">
                  <a:pos x="15" y="58"/>
                </a:cxn>
                <a:cxn ang="0">
                  <a:pos x="21" y="55"/>
                </a:cxn>
                <a:cxn ang="0">
                  <a:pos x="20" y="34"/>
                </a:cxn>
                <a:cxn ang="0">
                  <a:pos x="19" y="21"/>
                </a:cxn>
              </a:cxnLst>
              <a:rect l="0" t="0" r="r" b="b"/>
              <a:pathLst>
                <a:path w="21" h="59">
                  <a:moveTo>
                    <a:pt x="19" y="21"/>
                  </a:moveTo>
                  <a:cubicBezTo>
                    <a:pt x="17" y="19"/>
                    <a:pt x="21" y="15"/>
                    <a:pt x="16" y="13"/>
                  </a:cubicBezTo>
                  <a:cubicBezTo>
                    <a:pt x="12" y="10"/>
                    <a:pt x="11" y="11"/>
                    <a:pt x="10" y="2"/>
                  </a:cubicBezTo>
                  <a:cubicBezTo>
                    <a:pt x="8" y="2"/>
                    <a:pt x="4" y="1"/>
                    <a:pt x="2" y="1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4"/>
                    <a:pt x="2" y="7"/>
                    <a:pt x="3" y="8"/>
                  </a:cubicBezTo>
                  <a:cubicBezTo>
                    <a:pt x="4" y="9"/>
                    <a:pt x="6" y="11"/>
                    <a:pt x="5" y="15"/>
                  </a:cubicBezTo>
                  <a:cubicBezTo>
                    <a:pt x="5" y="19"/>
                    <a:pt x="4" y="27"/>
                    <a:pt x="6" y="31"/>
                  </a:cubicBezTo>
                  <a:cubicBezTo>
                    <a:pt x="7" y="34"/>
                    <a:pt x="9" y="40"/>
                    <a:pt x="9" y="46"/>
                  </a:cubicBezTo>
                  <a:cubicBezTo>
                    <a:pt x="9" y="50"/>
                    <a:pt x="11" y="55"/>
                    <a:pt x="13" y="59"/>
                  </a:cubicBezTo>
                  <a:cubicBezTo>
                    <a:pt x="14" y="59"/>
                    <a:pt x="14" y="58"/>
                    <a:pt x="15" y="58"/>
                  </a:cubicBezTo>
                  <a:cubicBezTo>
                    <a:pt x="17" y="56"/>
                    <a:pt x="19" y="55"/>
                    <a:pt x="21" y="55"/>
                  </a:cubicBezTo>
                  <a:cubicBezTo>
                    <a:pt x="21" y="48"/>
                    <a:pt x="21" y="38"/>
                    <a:pt x="20" y="34"/>
                  </a:cubicBezTo>
                  <a:cubicBezTo>
                    <a:pt x="20" y="28"/>
                    <a:pt x="21" y="23"/>
                    <a:pt x="19" y="2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25327" y="3830749"/>
              <a:ext cx="191431" cy="297570"/>
            </a:xfrm>
            <a:custGeom>
              <a:avLst/>
              <a:gdLst/>
              <a:ahLst/>
              <a:cxnLst>
                <a:cxn ang="0">
                  <a:pos x="35" y="124"/>
                </a:cxn>
                <a:cxn ang="0">
                  <a:pos x="65" y="125"/>
                </a:cxn>
                <a:cxn ang="0">
                  <a:pos x="81" y="130"/>
                </a:cxn>
                <a:cxn ang="0">
                  <a:pos x="84" y="120"/>
                </a:cxn>
                <a:cxn ang="0">
                  <a:pos x="82" y="118"/>
                </a:cxn>
                <a:cxn ang="0">
                  <a:pos x="75" y="111"/>
                </a:cxn>
                <a:cxn ang="0">
                  <a:pos x="72" y="107"/>
                </a:cxn>
                <a:cxn ang="0">
                  <a:pos x="71" y="101"/>
                </a:cxn>
                <a:cxn ang="0">
                  <a:pos x="67" y="92"/>
                </a:cxn>
                <a:cxn ang="0">
                  <a:pos x="66" y="82"/>
                </a:cxn>
                <a:cxn ang="0">
                  <a:pos x="71" y="71"/>
                </a:cxn>
                <a:cxn ang="0">
                  <a:pos x="77" y="64"/>
                </a:cxn>
                <a:cxn ang="0">
                  <a:pos x="74" y="56"/>
                </a:cxn>
                <a:cxn ang="0">
                  <a:pos x="64" y="46"/>
                </a:cxn>
                <a:cxn ang="0">
                  <a:pos x="62" y="38"/>
                </a:cxn>
                <a:cxn ang="0">
                  <a:pos x="71" y="37"/>
                </a:cxn>
                <a:cxn ang="0">
                  <a:pos x="76" y="35"/>
                </a:cxn>
                <a:cxn ang="0">
                  <a:pos x="71" y="21"/>
                </a:cxn>
                <a:cxn ang="0">
                  <a:pos x="70" y="11"/>
                </a:cxn>
                <a:cxn ang="0">
                  <a:pos x="63" y="1"/>
                </a:cxn>
                <a:cxn ang="0">
                  <a:pos x="62" y="0"/>
                </a:cxn>
                <a:cxn ang="0">
                  <a:pos x="62" y="7"/>
                </a:cxn>
                <a:cxn ang="0">
                  <a:pos x="66" y="11"/>
                </a:cxn>
                <a:cxn ang="0">
                  <a:pos x="67" y="18"/>
                </a:cxn>
                <a:cxn ang="0">
                  <a:pos x="60" y="22"/>
                </a:cxn>
                <a:cxn ang="0">
                  <a:pos x="54" y="34"/>
                </a:cxn>
                <a:cxn ang="0">
                  <a:pos x="51" y="42"/>
                </a:cxn>
                <a:cxn ang="0">
                  <a:pos x="50" y="48"/>
                </a:cxn>
                <a:cxn ang="0">
                  <a:pos x="44" y="54"/>
                </a:cxn>
                <a:cxn ang="0">
                  <a:pos x="36" y="72"/>
                </a:cxn>
                <a:cxn ang="0">
                  <a:pos x="31" y="77"/>
                </a:cxn>
                <a:cxn ang="0">
                  <a:pos x="23" y="71"/>
                </a:cxn>
                <a:cxn ang="0">
                  <a:pos x="17" y="72"/>
                </a:cxn>
                <a:cxn ang="0">
                  <a:pos x="4" y="84"/>
                </a:cxn>
                <a:cxn ang="0">
                  <a:pos x="0" y="96"/>
                </a:cxn>
                <a:cxn ang="0">
                  <a:pos x="5" y="103"/>
                </a:cxn>
                <a:cxn ang="0">
                  <a:pos x="14" y="104"/>
                </a:cxn>
                <a:cxn ang="0">
                  <a:pos x="17" y="115"/>
                </a:cxn>
                <a:cxn ang="0">
                  <a:pos x="15" y="125"/>
                </a:cxn>
                <a:cxn ang="0">
                  <a:pos x="31" y="125"/>
                </a:cxn>
                <a:cxn ang="0">
                  <a:pos x="35" y="124"/>
                </a:cxn>
              </a:cxnLst>
              <a:rect l="0" t="0" r="r" b="b"/>
              <a:pathLst>
                <a:path w="84" h="130">
                  <a:moveTo>
                    <a:pt x="35" y="124"/>
                  </a:moveTo>
                  <a:cubicBezTo>
                    <a:pt x="35" y="124"/>
                    <a:pt x="62" y="125"/>
                    <a:pt x="65" y="125"/>
                  </a:cubicBezTo>
                  <a:cubicBezTo>
                    <a:pt x="69" y="124"/>
                    <a:pt x="81" y="130"/>
                    <a:pt x="81" y="130"/>
                  </a:cubicBezTo>
                  <a:cubicBezTo>
                    <a:pt x="81" y="130"/>
                    <a:pt x="82" y="124"/>
                    <a:pt x="84" y="120"/>
                  </a:cubicBezTo>
                  <a:cubicBezTo>
                    <a:pt x="83" y="120"/>
                    <a:pt x="82" y="119"/>
                    <a:pt x="82" y="118"/>
                  </a:cubicBezTo>
                  <a:cubicBezTo>
                    <a:pt x="82" y="117"/>
                    <a:pt x="77" y="113"/>
                    <a:pt x="75" y="111"/>
                  </a:cubicBezTo>
                  <a:cubicBezTo>
                    <a:pt x="73" y="109"/>
                    <a:pt x="72" y="107"/>
                    <a:pt x="72" y="107"/>
                  </a:cubicBezTo>
                  <a:cubicBezTo>
                    <a:pt x="72" y="107"/>
                    <a:pt x="73" y="104"/>
                    <a:pt x="71" y="101"/>
                  </a:cubicBezTo>
                  <a:cubicBezTo>
                    <a:pt x="68" y="98"/>
                    <a:pt x="67" y="96"/>
                    <a:pt x="67" y="92"/>
                  </a:cubicBezTo>
                  <a:cubicBezTo>
                    <a:pt x="67" y="88"/>
                    <a:pt x="66" y="85"/>
                    <a:pt x="66" y="82"/>
                  </a:cubicBezTo>
                  <a:cubicBezTo>
                    <a:pt x="66" y="80"/>
                    <a:pt x="70" y="76"/>
                    <a:pt x="71" y="71"/>
                  </a:cubicBezTo>
                  <a:cubicBezTo>
                    <a:pt x="72" y="68"/>
                    <a:pt x="75" y="66"/>
                    <a:pt x="77" y="64"/>
                  </a:cubicBezTo>
                  <a:cubicBezTo>
                    <a:pt x="76" y="62"/>
                    <a:pt x="75" y="59"/>
                    <a:pt x="74" y="56"/>
                  </a:cubicBezTo>
                  <a:cubicBezTo>
                    <a:pt x="72" y="52"/>
                    <a:pt x="69" y="50"/>
                    <a:pt x="64" y="46"/>
                  </a:cubicBezTo>
                  <a:cubicBezTo>
                    <a:pt x="60" y="42"/>
                    <a:pt x="62" y="40"/>
                    <a:pt x="62" y="38"/>
                  </a:cubicBezTo>
                  <a:cubicBezTo>
                    <a:pt x="62" y="37"/>
                    <a:pt x="67" y="37"/>
                    <a:pt x="71" y="37"/>
                  </a:cubicBezTo>
                  <a:cubicBezTo>
                    <a:pt x="75" y="37"/>
                    <a:pt x="78" y="36"/>
                    <a:pt x="76" y="35"/>
                  </a:cubicBezTo>
                  <a:cubicBezTo>
                    <a:pt x="74" y="34"/>
                    <a:pt x="71" y="27"/>
                    <a:pt x="71" y="21"/>
                  </a:cubicBezTo>
                  <a:cubicBezTo>
                    <a:pt x="72" y="16"/>
                    <a:pt x="70" y="14"/>
                    <a:pt x="70" y="11"/>
                  </a:cubicBezTo>
                  <a:cubicBezTo>
                    <a:pt x="70" y="8"/>
                    <a:pt x="66" y="1"/>
                    <a:pt x="63" y="1"/>
                  </a:cubicBezTo>
                  <a:cubicBezTo>
                    <a:pt x="63" y="1"/>
                    <a:pt x="63" y="0"/>
                    <a:pt x="62" y="0"/>
                  </a:cubicBezTo>
                  <a:cubicBezTo>
                    <a:pt x="62" y="3"/>
                    <a:pt x="62" y="6"/>
                    <a:pt x="62" y="7"/>
                  </a:cubicBezTo>
                  <a:cubicBezTo>
                    <a:pt x="62" y="8"/>
                    <a:pt x="64" y="11"/>
                    <a:pt x="66" y="11"/>
                  </a:cubicBezTo>
                  <a:cubicBezTo>
                    <a:pt x="68" y="12"/>
                    <a:pt x="67" y="15"/>
                    <a:pt x="67" y="18"/>
                  </a:cubicBezTo>
                  <a:cubicBezTo>
                    <a:pt x="67" y="21"/>
                    <a:pt x="61" y="21"/>
                    <a:pt x="60" y="22"/>
                  </a:cubicBezTo>
                  <a:cubicBezTo>
                    <a:pt x="59" y="23"/>
                    <a:pt x="53" y="33"/>
                    <a:pt x="54" y="34"/>
                  </a:cubicBezTo>
                  <a:cubicBezTo>
                    <a:pt x="54" y="36"/>
                    <a:pt x="53" y="41"/>
                    <a:pt x="51" y="42"/>
                  </a:cubicBezTo>
                  <a:cubicBezTo>
                    <a:pt x="49" y="42"/>
                    <a:pt x="50" y="46"/>
                    <a:pt x="50" y="48"/>
                  </a:cubicBezTo>
                  <a:cubicBezTo>
                    <a:pt x="50" y="49"/>
                    <a:pt x="44" y="52"/>
                    <a:pt x="44" y="54"/>
                  </a:cubicBezTo>
                  <a:cubicBezTo>
                    <a:pt x="44" y="57"/>
                    <a:pt x="38" y="68"/>
                    <a:pt x="36" y="72"/>
                  </a:cubicBezTo>
                  <a:cubicBezTo>
                    <a:pt x="34" y="75"/>
                    <a:pt x="32" y="80"/>
                    <a:pt x="31" y="77"/>
                  </a:cubicBezTo>
                  <a:cubicBezTo>
                    <a:pt x="31" y="73"/>
                    <a:pt x="26" y="69"/>
                    <a:pt x="23" y="71"/>
                  </a:cubicBezTo>
                  <a:cubicBezTo>
                    <a:pt x="21" y="73"/>
                    <a:pt x="18" y="72"/>
                    <a:pt x="17" y="72"/>
                  </a:cubicBezTo>
                  <a:cubicBezTo>
                    <a:pt x="15" y="72"/>
                    <a:pt x="4" y="84"/>
                    <a:pt x="4" y="84"/>
                  </a:cubicBezTo>
                  <a:cubicBezTo>
                    <a:pt x="4" y="84"/>
                    <a:pt x="3" y="90"/>
                    <a:pt x="0" y="96"/>
                  </a:cubicBezTo>
                  <a:cubicBezTo>
                    <a:pt x="2" y="97"/>
                    <a:pt x="4" y="100"/>
                    <a:pt x="5" y="103"/>
                  </a:cubicBezTo>
                  <a:cubicBezTo>
                    <a:pt x="8" y="106"/>
                    <a:pt x="12" y="103"/>
                    <a:pt x="14" y="104"/>
                  </a:cubicBezTo>
                  <a:cubicBezTo>
                    <a:pt x="16" y="105"/>
                    <a:pt x="18" y="113"/>
                    <a:pt x="17" y="115"/>
                  </a:cubicBezTo>
                  <a:cubicBezTo>
                    <a:pt x="16" y="117"/>
                    <a:pt x="14" y="123"/>
                    <a:pt x="15" y="125"/>
                  </a:cubicBezTo>
                  <a:cubicBezTo>
                    <a:pt x="31" y="125"/>
                    <a:pt x="31" y="125"/>
                    <a:pt x="31" y="125"/>
                  </a:cubicBezTo>
                  <a:lnTo>
                    <a:pt x="35" y="124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083712" y="3895191"/>
              <a:ext cx="157314" cy="161105"/>
            </a:xfrm>
            <a:custGeom>
              <a:avLst/>
              <a:gdLst/>
              <a:ahLst/>
              <a:cxnLst>
                <a:cxn ang="0">
                  <a:pos x="66" y="60"/>
                </a:cxn>
                <a:cxn ang="0">
                  <a:pos x="61" y="47"/>
                </a:cxn>
                <a:cxn ang="0">
                  <a:pos x="65" y="36"/>
                </a:cxn>
                <a:cxn ang="0">
                  <a:pos x="69" y="29"/>
                </a:cxn>
                <a:cxn ang="0">
                  <a:pos x="65" y="11"/>
                </a:cxn>
                <a:cxn ang="0">
                  <a:pos x="63" y="10"/>
                </a:cxn>
                <a:cxn ang="0">
                  <a:pos x="50" y="12"/>
                </a:cxn>
                <a:cxn ang="0">
                  <a:pos x="40" y="7"/>
                </a:cxn>
                <a:cxn ang="0">
                  <a:pos x="31" y="4"/>
                </a:cxn>
                <a:cxn ang="0">
                  <a:pos x="27" y="3"/>
                </a:cxn>
                <a:cxn ang="0">
                  <a:pos x="22" y="4"/>
                </a:cxn>
                <a:cxn ang="0">
                  <a:pos x="15" y="7"/>
                </a:cxn>
                <a:cxn ang="0">
                  <a:pos x="10" y="5"/>
                </a:cxn>
                <a:cxn ang="0">
                  <a:pos x="6" y="6"/>
                </a:cxn>
                <a:cxn ang="0">
                  <a:pos x="6" y="15"/>
                </a:cxn>
                <a:cxn ang="0">
                  <a:pos x="8" y="20"/>
                </a:cxn>
                <a:cxn ang="0">
                  <a:pos x="10" y="27"/>
                </a:cxn>
                <a:cxn ang="0">
                  <a:pos x="5" y="28"/>
                </a:cxn>
                <a:cxn ang="0">
                  <a:pos x="6" y="35"/>
                </a:cxn>
                <a:cxn ang="0">
                  <a:pos x="2" y="41"/>
                </a:cxn>
                <a:cxn ang="0">
                  <a:pos x="1" y="49"/>
                </a:cxn>
                <a:cxn ang="0">
                  <a:pos x="5" y="52"/>
                </a:cxn>
                <a:cxn ang="0">
                  <a:pos x="14" y="61"/>
                </a:cxn>
                <a:cxn ang="0">
                  <a:pos x="10" y="71"/>
                </a:cxn>
                <a:cxn ang="0">
                  <a:pos x="44" y="64"/>
                </a:cxn>
                <a:cxn ang="0">
                  <a:pos x="65" y="65"/>
                </a:cxn>
                <a:cxn ang="0">
                  <a:pos x="66" y="60"/>
                </a:cxn>
              </a:cxnLst>
              <a:rect l="0" t="0" r="r" b="b"/>
              <a:pathLst>
                <a:path w="69" h="71">
                  <a:moveTo>
                    <a:pt x="66" y="60"/>
                  </a:moveTo>
                  <a:cubicBezTo>
                    <a:pt x="64" y="58"/>
                    <a:pt x="61" y="49"/>
                    <a:pt x="61" y="47"/>
                  </a:cubicBezTo>
                  <a:cubicBezTo>
                    <a:pt x="61" y="45"/>
                    <a:pt x="65" y="39"/>
                    <a:pt x="65" y="36"/>
                  </a:cubicBezTo>
                  <a:cubicBezTo>
                    <a:pt x="65" y="33"/>
                    <a:pt x="69" y="31"/>
                    <a:pt x="69" y="29"/>
                  </a:cubicBezTo>
                  <a:cubicBezTo>
                    <a:pt x="69" y="27"/>
                    <a:pt x="68" y="17"/>
                    <a:pt x="65" y="11"/>
                  </a:cubicBezTo>
                  <a:cubicBezTo>
                    <a:pt x="65" y="11"/>
                    <a:pt x="64" y="11"/>
                    <a:pt x="63" y="10"/>
                  </a:cubicBezTo>
                  <a:cubicBezTo>
                    <a:pt x="61" y="8"/>
                    <a:pt x="53" y="9"/>
                    <a:pt x="50" y="12"/>
                  </a:cubicBezTo>
                  <a:cubicBezTo>
                    <a:pt x="47" y="15"/>
                    <a:pt x="41" y="9"/>
                    <a:pt x="40" y="7"/>
                  </a:cubicBezTo>
                  <a:cubicBezTo>
                    <a:pt x="39" y="6"/>
                    <a:pt x="35" y="2"/>
                    <a:pt x="31" y="4"/>
                  </a:cubicBezTo>
                  <a:cubicBezTo>
                    <a:pt x="28" y="7"/>
                    <a:pt x="27" y="6"/>
                    <a:pt x="27" y="3"/>
                  </a:cubicBezTo>
                  <a:cubicBezTo>
                    <a:pt x="28" y="0"/>
                    <a:pt x="22" y="1"/>
                    <a:pt x="22" y="4"/>
                  </a:cubicBezTo>
                  <a:cubicBezTo>
                    <a:pt x="21" y="6"/>
                    <a:pt x="17" y="9"/>
                    <a:pt x="15" y="7"/>
                  </a:cubicBezTo>
                  <a:cubicBezTo>
                    <a:pt x="14" y="5"/>
                    <a:pt x="11" y="2"/>
                    <a:pt x="10" y="5"/>
                  </a:cubicBezTo>
                  <a:cubicBezTo>
                    <a:pt x="9" y="7"/>
                    <a:pt x="7" y="7"/>
                    <a:pt x="6" y="6"/>
                  </a:cubicBezTo>
                  <a:cubicBezTo>
                    <a:pt x="5" y="9"/>
                    <a:pt x="4" y="14"/>
                    <a:pt x="6" y="15"/>
                  </a:cubicBezTo>
                  <a:cubicBezTo>
                    <a:pt x="8" y="16"/>
                    <a:pt x="8" y="19"/>
                    <a:pt x="8" y="20"/>
                  </a:cubicBezTo>
                  <a:cubicBezTo>
                    <a:pt x="7" y="22"/>
                    <a:pt x="12" y="25"/>
                    <a:pt x="10" y="27"/>
                  </a:cubicBezTo>
                  <a:cubicBezTo>
                    <a:pt x="8" y="29"/>
                    <a:pt x="6" y="25"/>
                    <a:pt x="5" y="28"/>
                  </a:cubicBezTo>
                  <a:cubicBezTo>
                    <a:pt x="3" y="30"/>
                    <a:pt x="7" y="33"/>
                    <a:pt x="6" y="35"/>
                  </a:cubicBezTo>
                  <a:cubicBezTo>
                    <a:pt x="4" y="37"/>
                    <a:pt x="2" y="37"/>
                    <a:pt x="2" y="41"/>
                  </a:cubicBezTo>
                  <a:cubicBezTo>
                    <a:pt x="3" y="45"/>
                    <a:pt x="3" y="48"/>
                    <a:pt x="1" y="49"/>
                  </a:cubicBezTo>
                  <a:cubicBezTo>
                    <a:pt x="0" y="50"/>
                    <a:pt x="1" y="50"/>
                    <a:pt x="5" y="52"/>
                  </a:cubicBezTo>
                  <a:cubicBezTo>
                    <a:pt x="8" y="55"/>
                    <a:pt x="14" y="57"/>
                    <a:pt x="14" y="61"/>
                  </a:cubicBezTo>
                  <a:cubicBezTo>
                    <a:pt x="13" y="64"/>
                    <a:pt x="12" y="65"/>
                    <a:pt x="10" y="71"/>
                  </a:cubicBezTo>
                  <a:cubicBezTo>
                    <a:pt x="17" y="71"/>
                    <a:pt x="29" y="66"/>
                    <a:pt x="44" y="64"/>
                  </a:cubicBezTo>
                  <a:cubicBezTo>
                    <a:pt x="52" y="62"/>
                    <a:pt x="60" y="64"/>
                    <a:pt x="65" y="65"/>
                  </a:cubicBezTo>
                  <a:cubicBezTo>
                    <a:pt x="66" y="63"/>
                    <a:pt x="66" y="61"/>
                    <a:pt x="66" y="6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222071" y="3885715"/>
              <a:ext cx="109930" cy="166790"/>
            </a:xfrm>
            <a:custGeom>
              <a:avLst/>
              <a:gdLst/>
              <a:ahLst/>
              <a:cxnLst>
                <a:cxn ang="0">
                  <a:pos x="41" y="30"/>
                </a:cxn>
                <a:cxn ang="0">
                  <a:pos x="40" y="14"/>
                </a:cxn>
                <a:cxn ang="0">
                  <a:pos x="38" y="7"/>
                </a:cxn>
                <a:cxn ang="0">
                  <a:pos x="35" y="0"/>
                </a:cxn>
                <a:cxn ang="0">
                  <a:pos x="32" y="3"/>
                </a:cxn>
                <a:cxn ang="0">
                  <a:pos x="4" y="2"/>
                </a:cxn>
                <a:cxn ang="0">
                  <a:pos x="6" y="13"/>
                </a:cxn>
                <a:cxn ang="0">
                  <a:pos x="4" y="15"/>
                </a:cxn>
                <a:cxn ang="0">
                  <a:pos x="8" y="33"/>
                </a:cxn>
                <a:cxn ang="0">
                  <a:pos x="4" y="40"/>
                </a:cxn>
                <a:cxn ang="0">
                  <a:pos x="0" y="51"/>
                </a:cxn>
                <a:cxn ang="0">
                  <a:pos x="5" y="64"/>
                </a:cxn>
                <a:cxn ang="0">
                  <a:pos x="4" y="69"/>
                </a:cxn>
                <a:cxn ang="0">
                  <a:pos x="13" y="72"/>
                </a:cxn>
                <a:cxn ang="0">
                  <a:pos x="35" y="64"/>
                </a:cxn>
                <a:cxn ang="0">
                  <a:pos x="48" y="58"/>
                </a:cxn>
                <a:cxn ang="0">
                  <a:pos x="44" y="45"/>
                </a:cxn>
                <a:cxn ang="0">
                  <a:pos x="41" y="30"/>
                </a:cxn>
              </a:cxnLst>
              <a:rect l="0" t="0" r="r" b="b"/>
              <a:pathLst>
                <a:path w="48" h="73">
                  <a:moveTo>
                    <a:pt x="41" y="30"/>
                  </a:moveTo>
                  <a:cubicBezTo>
                    <a:pt x="39" y="26"/>
                    <a:pt x="40" y="18"/>
                    <a:pt x="40" y="14"/>
                  </a:cubicBezTo>
                  <a:cubicBezTo>
                    <a:pt x="41" y="10"/>
                    <a:pt x="39" y="8"/>
                    <a:pt x="38" y="7"/>
                  </a:cubicBezTo>
                  <a:cubicBezTo>
                    <a:pt x="37" y="6"/>
                    <a:pt x="36" y="3"/>
                    <a:pt x="35" y="0"/>
                  </a:cubicBezTo>
                  <a:cubicBezTo>
                    <a:pt x="33" y="1"/>
                    <a:pt x="33" y="4"/>
                    <a:pt x="32" y="3"/>
                  </a:cubicBezTo>
                  <a:cubicBezTo>
                    <a:pt x="31" y="1"/>
                    <a:pt x="5" y="0"/>
                    <a:pt x="4" y="2"/>
                  </a:cubicBezTo>
                  <a:cubicBezTo>
                    <a:pt x="3" y="4"/>
                    <a:pt x="6" y="11"/>
                    <a:pt x="6" y="13"/>
                  </a:cubicBezTo>
                  <a:cubicBezTo>
                    <a:pt x="6" y="14"/>
                    <a:pt x="5" y="15"/>
                    <a:pt x="4" y="15"/>
                  </a:cubicBezTo>
                  <a:cubicBezTo>
                    <a:pt x="7" y="21"/>
                    <a:pt x="8" y="31"/>
                    <a:pt x="8" y="33"/>
                  </a:cubicBezTo>
                  <a:cubicBezTo>
                    <a:pt x="8" y="35"/>
                    <a:pt x="4" y="37"/>
                    <a:pt x="4" y="40"/>
                  </a:cubicBezTo>
                  <a:cubicBezTo>
                    <a:pt x="4" y="43"/>
                    <a:pt x="0" y="49"/>
                    <a:pt x="0" y="51"/>
                  </a:cubicBezTo>
                  <a:cubicBezTo>
                    <a:pt x="0" y="53"/>
                    <a:pt x="3" y="62"/>
                    <a:pt x="5" y="64"/>
                  </a:cubicBezTo>
                  <a:cubicBezTo>
                    <a:pt x="5" y="65"/>
                    <a:pt x="5" y="67"/>
                    <a:pt x="4" y="69"/>
                  </a:cubicBezTo>
                  <a:cubicBezTo>
                    <a:pt x="9" y="71"/>
                    <a:pt x="12" y="72"/>
                    <a:pt x="13" y="72"/>
                  </a:cubicBezTo>
                  <a:cubicBezTo>
                    <a:pt x="15" y="73"/>
                    <a:pt x="29" y="66"/>
                    <a:pt x="35" y="64"/>
                  </a:cubicBezTo>
                  <a:cubicBezTo>
                    <a:pt x="39" y="61"/>
                    <a:pt x="44" y="60"/>
                    <a:pt x="48" y="58"/>
                  </a:cubicBezTo>
                  <a:cubicBezTo>
                    <a:pt x="46" y="54"/>
                    <a:pt x="44" y="49"/>
                    <a:pt x="44" y="45"/>
                  </a:cubicBezTo>
                  <a:cubicBezTo>
                    <a:pt x="44" y="39"/>
                    <a:pt x="42" y="33"/>
                    <a:pt x="41" y="3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913131" y="3845912"/>
              <a:ext cx="197116" cy="145942"/>
            </a:xfrm>
            <a:custGeom>
              <a:avLst/>
              <a:gdLst/>
              <a:ahLst/>
              <a:cxnLst>
                <a:cxn ang="0">
                  <a:pos x="29" y="34"/>
                </a:cxn>
                <a:cxn ang="0">
                  <a:pos x="34" y="33"/>
                </a:cxn>
                <a:cxn ang="0">
                  <a:pos x="42" y="31"/>
                </a:cxn>
                <a:cxn ang="0">
                  <a:pos x="51" y="42"/>
                </a:cxn>
                <a:cxn ang="0">
                  <a:pos x="53" y="49"/>
                </a:cxn>
                <a:cxn ang="0">
                  <a:pos x="53" y="50"/>
                </a:cxn>
                <a:cxn ang="0">
                  <a:pos x="61" y="48"/>
                </a:cxn>
                <a:cxn ang="0">
                  <a:pos x="65" y="58"/>
                </a:cxn>
                <a:cxn ang="0">
                  <a:pos x="70" y="62"/>
                </a:cxn>
                <a:cxn ang="0">
                  <a:pos x="74" y="58"/>
                </a:cxn>
                <a:cxn ang="0">
                  <a:pos x="77" y="60"/>
                </a:cxn>
                <a:cxn ang="0">
                  <a:pos x="80" y="57"/>
                </a:cxn>
                <a:cxn ang="0">
                  <a:pos x="79" y="50"/>
                </a:cxn>
                <a:cxn ang="0">
                  <a:pos x="84" y="49"/>
                </a:cxn>
                <a:cxn ang="0">
                  <a:pos x="82" y="42"/>
                </a:cxn>
                <a:cxn ang="0">
                  <a:pos x="80" y="37"/>
                </a:cxn>
                <a:cxn ang="0">
                  <a:pos x="80" y="28"/>
                </a:cxn>
                <a:cxn ang="0">
                  <a:pos x="78" y="26"/>
                </a:cxn>
                <a:cxn ang="0">
                  <a:pos x="76" y="20"/>
                </a:cxn>
                <a:cxn ang="0">
                  <a:pos x="76" y="16"/>
                </a:cxn>
                <a:cxn ang="0">
                  <a:pos x="72" y="11"/>
                </a:cxn>
                <a:cxn ang="0">
                  <a:pos x="67" y="2"/>
                </a:cxn>
                <a:cxn ang="0">
                  <a:pos x="59" y="8"/>
                </a:cxn>
                <a:cxn ang="0">
                  <a:pos x="52" y="7"/>
                </a:cxn>
                <a:cxn ang="0">
                  <a:pos x="45" y="8"/>
                </a:cxn>
                <a:cxn ang="0">
                  <a:pos x="42" y="5"/>
                </a:cxn>
                <a:cxn ang="0">
                  <a:pos x="42" y="3"/>
                </a:cxn>
                <a:cxn ang="0">
                  <a:pos x="41" y="4"/>
                </a:cxn>
                <a:cxn ang="0">
                  <a:pos x="24" y="3"/>
                </a:cxn>
                <a:cxn ang="0">
                  <a:pos x="16" y="0"/>
                </a:cxn>
                <a:cxn ang="0">
                  <a:pos x="14" y="5"/>
                </a:cxn>
                <a:cxn ang="0">
                  <a:pos x="15" y="10"/>
                </a:cxn>
                <a:cxn ang="0">
                  <a:pos x="11" y="12"/>
                </a:cxn>
                <a:cxn ang="0">
                  <a:pos x="1" y="17"/>
                </a:cxn>
                <a:cxn ang="0">
                  <a:pos x="0" y="18"/>
                </a:cxn>
                <a:cxn ang="0">
                  <a:pos x="8" y="28"/>
                </a:cxn>
                <a:cxn ang="0">
                  <a:pos x="21" y="42"/>
                </a:cxn>
                <a:cxn ang="0">
                  <a:pos x="29" y="34"/>
                </a:cxn>
              </a:cxnLst>
              <a:rect l="0" t="0" r="r" b="b"/>
              <a:pathLst>
                <a:path w="86" h="64">
                  <a:moveTo>
                    <a:pt x="29" y="34"/>
                  </a:moveTo>
                  <a:cubicBezTo>
                    <a:pt x="29" y="31"/>
                    <a:pt x="31" y="32"/>
                    <a:pt x="34" y="33"/>
                  </a:cubicBezTo>
                  <a:cubicBezTo>
                    <a:pt x="37" y="33"/>
                    <a:pt x="40" y="31"/>
                    <a:pt x="42" y="31"/>
                  </a:cubicBezTo>
                  <a:cubicBezTo>
                    <a:pt x="45" y="31"/>
                    <a:pt x="51" y="40"/>
                    <a:pt x="51" y="42"/>
                  </a:cubicBezTo>
                  <a:cubicBezTo>
                    <a:pt x="51" y="45"/>
                    <a:pt x="52" y="47"/>
                    <a:pt x="53" y="49"/>
                  </a:cubicBezTo>
                  <a:cubicBezTo>
                    <a:pt x="53" y="49"/>
                    <a:pt x="53" y="49"/>
                    <a:pt x="53" y="50"/>
                  </a:cubicBezTo>
                  <a:cubicBezTo>
                    <a:pt x="57" y="49"/>
                    <a:pt x="61" y="48"/>
                    <a:pt x="61" y="48"/>
                  </a:cubicBezTo>
                  <a:cubicBezTo>
                    <a:pt x="63" y="48"/>
                    <a:pt x="65" y="54"/>
                    <a:pt x="65" y="58"/>
                  </a:cubicBezTo>
                  <a:cubicBezTo>
                    <a:pt x="64" y="61"/>
                    <a:pt x="68" y="64"/>
                    <a:pt x="70" y="62"/>
                  </a:cubicBezTo>
                  <a:cubicBezTo>
                    <a:pt x="72" y="59"/>
                    <a:pt x="74" y="56"/>
                    <a:pt x="74" y="58"/>
                  </a:cubicBezTo>
                  <a:cubicBezTo>
                    <a:pt x="75" y="59"/>
                    <a:pt x="75" y="59"/>
                    <a:pt x="77" y="60"/>
                  </a:cubicBezTo>
                  <a:cubicBezTo>
                    <a:pt x="77" y="58"/>
                    <a:pt x="79" y="58"/>
                    <a:pt x="80" y="57"/>
                  </a:cubicBezTo>
                  <a:cubicBezTo>
                    <a:pt x="81" y="55"/>
                    <a:pt x="77" y="52"/>
                    <a:pt x="79" y="50"/>
                  </a:cubicBezTo>
                  <a:cubicBezTo>
                    <a:pt x="80" y="47"/>
                    <a:pt x="82" y="51"/>
                    <a:pt x="84" y="49"/>
                  </a:cubicBezTo>
                  <a:cubicBezTo>
                    <a:pt x="86" y="47"/>
                    <a:pt x="81" y="44"/>
                    <a:pt x="82" y="42"/>
                  </a:cubicBezTo>
                  <a:cubicBezTo>
                    <a:pt x="82" y="41"/>
                    <a:pt x="82" y="38"/>
                    <a:pt x="80" y="37"/>
                  </a:cubicBezTo>
                  <a:cubicBezTo>
                    <a:pt x="78" y="36"/>
                    <a:pt x="79" y="31"/>
                    <a:pt x="80" y="28"/>
                  </a:cubicBezTo>
                  <a:cubicBezTo>
                    <a:pt x="79" y="27"/>
                    <a:pt x="79" y="27"/>
                    <a:pt x="78" y="26"/>
                  </a:cubicBezTo>
                  <a:cubicBezTo>
                    <a:pt x="77" y="24"/>
                    <a:pt x="78" y="20"/>
                    <a:pt x="76" y="20"/>
                  </a:cubicBezTo>
                  <a:cubicBezTo>
                    <a:pt x="73" y="20"/>
                    <a:pt x="74" y="17"/>
                    <a:pt x="76" y="16"/>
                  </a:cubicBezTo>
                  <a:cubicBezTo>
                    <a:pt x="78" y="15"/>
                    <a:pt x="72" y="13"/>
                    <a:pt x="72" y="11"/>
                  </a:cubicBezTo>
                  <a:cubicBezTo>
                    <a:pt x="72" y="8"/>
                    <a:pt x="69" y="3"/>
                    <a:pt x="67" y="2"/>
                  </a:cubicBezTo>
                  <a:cubicBezTo>
                    <a:pt x="66" y="2"/>
                    <a:pt x="61" y="8"/>
                    <a:pt x="59" y="8"/>
                  </a:cubicBezTo>
                  <a:cubicBezTo>
                    <a:pt x="57" y="8"/>
                    <a:pt x="53" y="4"/>
                    <a:pt x="52" y="7"/>
                  </a:cubicBezTo>
                  <a:cubicBezTo>
                    <a:pt x="50" y="11"/>
                    <a:pt x="47" y="6"/>
                    <a:pt x="45" y="8"/>
                  </a:cubicBezTo>
                  <a:cubicBezTo>
                    <a:pt x="43" y="11"/>
                    <a:pt x="42" y="5"/>
                    <a:pt x="42" y="5"/>
                  </a:cubicBezTo>
                  <a:cubicBezTo>
                    <a:pt x="42" y="5"/>
                    <a:pt x="42" y="4"/>
                    <a:pt x="42" y="3"/>
                  </a:cubicBezTo>
                  <a:cubicBezTo>
                    <a:pt x="42" y="3"/>
                    <a:pt x="41" y="4"/>
                    <a:pt x="41" y="4"/>
                  </a:cubicBezTo>
                  <a:cubicBezTo>
                    <a:pt x="35" y="6"/>
                    <a:pt x="25" y="5"/>
                    <a:pt x="24" y="3"/>
                  </a:cubicBezTo>
                  <a:cubicBezTo>
                    <a:pt x="24" y="1"/>
                    <a:pt x="16" y="0"/>
                    <a:pt x="16" y="0"/>
                  </a:cubicBezTo>
                  <a:cubicBezTo>
                    <a:pt x="16" y="0"/>
                    <a:pt x="17" y="4"/>
                    <a:pt x="14" y="5"/>
                  </a:cubicBezTo>
                  <a:cubicBezTo>
                    <a:pt x="11" y="6"/>
                    <a:pt x="15" y="9"/>
                    <a:pt x="15" y="10"/>
                  </a:cubicBezTo>
                  <a:cubicBezTo>
                    <a:pt x="15" y="11"/>
                    <a:pt x="12" y="13"/>
                    <a:pt x="11" y="12"/>
                  </a:cubicBezTo>
                  <a:cubicBezTo>
                    <a:pt x="9" y="11"/>
                    <a:pt x="4" y="16"/>
                    <a:pt x="1" y="17"/>
                  </a:cubicBezTo>
                  <a:cubicBezTo>
                    <a:pt x="1" y="17"/>
                    <a:pt x="1" y="18"/>
                    <a:pt x="0" y="18"/>
                  </a:cubicBezTo>
                  <a:cubicBezTo>
                    <a:pt x="4" y="22"/>
                    <a:pt x="4" y="25"/>
                    <a:pt x="8" y="28"/>
                  </a:cubicBezTo>
                  <a:cubicBezTo>
                    <a:pt x="12" y="31"/>
                    <a:pt x="18" y="36"/>
                    <a:pt x="21" y="42"/>
                  </a:cubicBezTo>
                  <a:cubicBezTo>
                    <a:pt x="24" y="39"/>
                    <a:pt x="28" y="36"/>
                    <a:pt x="29" y="3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007898" y="3953947"/>
              <a:ext cx="106139" cy="102349"/>
            </a:xfrm>
            <a:custGeom>
              <a:avLst/>
              <a:gdLst/>
              <a:ahLst/>
              <a:cxnLst>
                <a:cxn ang="0">
                  <a:pos x="38" y="26"/>
                </a:cxn>
                <a:cxn ang="0">
                  <a:pos x="34" y="23"/>
                </a:cxn>
                <a:cxn ang="0">
                  <a:pos x="35" y="15"/>
                </a:cxn>
                <a:cxn ang="0">
                  <a:pos x="36" y="12"/>
                </a:cxn>
                <a:cxn ang="0">
                  <a:pos x="33" y="10"/>
                </a:cxn>
                <a:cxn ang="0">
                  <a:pos x="29" y="14"/>
                </a:cxn>
                <a:cxn ang="0">
                  <a:pos x="24" y="1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11" y="7"/>
                </a:cxn>
                <a:cxn ang="0">
                  <a:pos x="2" y="15"/>
                </a:cxn>
                <a:cxn ang="0">
                  <a:pos x="0" y="19"/>
                </a:cxn>
                <a:cxn ang="0">
                  <a:pos x="14" y="28"/>
                </a:cxn>
                <a:cxn ang="0">
                  <a:pos x="41" y="45"/>
                </a:cxn>
                <a:cxn ang="0">
                  <a:pos x="43" y="45"/>
                </a:cxn>
                <a:cxn ang="0">
                  <a:pos x="47" y="35"/>
                </a:cxn>
                <a:cxn ang="0">
                  <a:pos x="38" y="26"/>
                </a:cxn>
              </a:cxnLst>
              <a:rect l="0" t="0" r="r" b="b"/>
              <a:pathLst>
                <a:path w="47" h="45">
                  <a:moveTo>
                    <a:pt x="38" y="26"/>
                  </a:moveTo>
                  <a:cubicBezTo>
                    <a:pt x="34" y="24"/>
                    <a:pt x="33" y="24"/>
                    <a:pt x="34" y="23"/>
                  </a:cubicBezTo>
                  <a:cubicBezTo>
                    <a:pt x="36" y="22"/>
                    <a:pt x="36" y="19"/>
                    <a:pt x="35" y="15"/>
                  </a:cubicBezTo>
                  <a:cubicBezTo>
                    <a:pt x="35" y="13"/>
                    <a:pt x="35" y="13"/>
                    <a:pt x="36" y="12"/>
                  </a:cubicBezTo>
                  <a:cubicBezTo>
                    <a:pt x="34" y="11"/>
                    <a:pt x="34" y="11"/>
                    <a:pt x="33" y="10"/>
                  </a:cubicBezTo>
                  <a:cubicBezTo>
                    <a:pt x="33" y="8"/>
                    <a:pt x="31" y="11"/>
                    <a:pt x="29" y="14"/>
                  </a:cubicBezTo>
                  <a:cubicBezTo>
                    <a:pt x="27" y="16"/>
                    <a:pt x="23" y="13"/>
                    <a:pt x="24" y="10"/>
                  </a:cubicBezTo>
                  <a:cubicBezTo>
                    <a:pt x="24" y="6"/>
                    <a:pt x="22" y="0"/>
                    <a:pt x="20" y="0"/>
                  </a:cubicBezTo>
                  <a:cubicBezTo>
                    <a:pt x="20" y="0"/>
                    <a:pt x="16" y="1"/>
                    <a:pt x="12" y="2"/>
                  </a:cubicBezTo>
                  <a:cubicBezTo>
                    <a:pt x="13" y="3"/>
                    <a:pt x="12" y="5"/>
                    <a:pt x="11" y="7"/>
                  </a:cubicBezTo>
                  <a:cubicBezTo>
                    <a:pt x="11" y="10"/>
                    <a:pt x="5" y="13"/>
                    <a:pt x="2" y="15"/>
                  </a:cubicBezTo>
                  <a:cubicBezTo>
                    <a:pt x="1" y="15"/>
                    <a:pt x="0" y="17"/>
                    <a:pt x="0" y="19"/>
                  </a:cubicBezTo>
                  <a:cubicBezTo>
                    <a:pt x="4" y="22"/>
                    <a:pt x="10" y="25"/>
                    <a:pt x="14" y="28"/>
                  </a:cubicBezTo>
                  <a:cubicBezTo>
                    <a:pt x="22" y="35"/>
                    <a:pt x="35" y="43"/>
                    <a:pt x="41" y="45"/>
                  </a:cubicBezTo>
                  <a:cubicBezTo>
                    <a:pt x="41" y="45"/>
                    <a:pt x="42" y="45"/>
                    <a:pt x="43" y="45"/>
                  </a:cubicBezTo>
                  <a:cubicBezTo>
                    <a:pt x="45" y="39"/>
                    <a:pt x="46" y="38"/>
                    <a:pt x="47" y="35"/>
                  </a:cubicBezTo>
                  <a:cubicBezTo>
                    <a:pt x="47" y="31"/>
                    <a:pt x="41" y="29"/>
                    <a:pt x="38" y="2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962410" y="3916040"/>
              <a:ext cx="75814" cy="81500"/>
            </a:xfrm>
            <a:custGeom>
              <a:avLst/>
              <a:gdLst/>
              <a:ahLst/>
              <a:cxnLst>
                <a:cxn ang="0">
                  <a:pos x="31" y="24"/>
                </a:cxn>
                <a:cxn ang="0">
                  <a:pos x="32" y="18"/>
                </a:cxn>
                <a:cxn ang="0">
                  <a:pos x="30" y="11"/>
                </a:cxn>
                <a:cxn ang="0">
                  <a:pos x="21" y="0"/>
                </a:cxn>
                <a:cxn ang="0">
                  <a:pos x="13" y="2"/>
                </a:cxn>
                <a:cxn ang="0">
                  <a:pos x="8" y="3"/>
                </a:cxn>
                <a:cxn ang="0">
                  <a:pos x="0" y="11"/>
                </a:cxn>
                <a:cxn ang="0">
                  <a:pos x="2" y="15"/>
                </a:cxn>
                <a:cxn ang="0">
                  <a:pos x="11" y="30"/>
                </a:cxn>
                <a:cxn ang="0">
                  <a:pos x="20" y="36"/>
                </a:cxn>
                <a:cxn ang="0">
                  <a:pos x="22" y="32"/>
                </a:cxn>
                <a:cxn ang="0">
                  <a:pos x="31" y="24"/>
                </a:cxn>
              </a:cxnLst>
              <a:rect l="0" t="0" r="r" b="b"/>
              <a:pathLst>
                <a:path w="33" h="36">
                  <a:moveTo>
                    <a:pt x="31" y="24"/>
                  </a:moveTo>
                  <a:cubicBezTo>
                    <a:pt x="32" y="22"/>
                    <a:pt x="33" y="20"/>
                    <a:pt x="32" y="18"/>
                  </a:cubicBezTo>
                  <a:cubicBezTo>
                    <a:pt x="31" y="16"/>
                    <a:pt x="30" y="14"/>
                    <a:pt x="30" y="11"/>
                  </a:cubicBezTo>
                  <a:cubicBezTo>
                    <a:pt x="30" y="9"/>
                    <a:pt x="24" y="0"/>
                    <a:pt x="21" y="0"/>
                  </a:cubicBezTo>
                  <a:cubicBezTo>
                    <a:pt x="19" y="0"/>
                    <a:pt x="16" y="2"/>
                    <a:pt x="13" y="2"/>
                  </a:cubicBezTo>
                  <a:cubicBezTo>
                    <a:pt x="10" y="1"/>
                    <a:pt x="8" y="0"/>
                    <a:pt x="8" y="3"/>
                  </a:cubicBezTo>
                  <a:cubicBezTo>
                    <a:pt x="7" y="5"/>
                    <a:pt x="3" y="8"/>
                    <a:pt x="0" y="11"/>
                  </a:cubicBezTo>
                  <a:cubicBezTo>
                    <a:pt x="1" y="12"/>
                    <a:pt x="1" y="14"/>
                    <a:pt x="2" y="15"/>
                  </a:cubicBezTo>
                  <a:cubicBezTo>
                    <a:pt x="4" y="25"/>
                    <a:pt x="7" y="26"/>
                    <a:pt x="11" y="30"/>
                  </a:cubicBezTo>
                  <a:cubicBezTo>
                    <a:pt x="12" y="31"/>
                    <a:pt x="16" y="33"/>
                    <a:pt x="20" y="36"/>
                  </a:cubicBezTo>
                  <a:cubicBezTo>
                    <a:pt x="20" y="34"/>
                    <a:pt x="21" y="32"/>
                    <a:pt x="22" y="32"/>
                  </a:cubicBezTo>
                  <a:cubicBezTo>
                    <a:pt x="25" y="30"/>
                    <a:pt x="31" y="27"/>
                    <a:pt x="31" y="2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65746" y="3438413"/>
              <a:ext cx="214175" cy="176268"/>
            </a:xfrm>
            <a:custGeom>
              <a:avLst/>
              <a:gdLst/>
              <a:ahLst/>
              <a:cxnLst>
                <a:cxn ang="0">
                  <a:pos x="44" y="59"/>
                </a:cxn>
                <a:cxn ang="0">
                  <a:pos x="56" y="51"/>
                </a:cxn>
                <a:cxn ang="0">
                  <a:pos x="56" y="20"/>
                </a:cxn>
                <a:cxn ang="0">
                  <a:pos x="94" y="20"/>
                </a:cxn>
                <a:cxn ang="0">
                  <a:pos x="94" y="4"/>
                </a:cxn>
                <a:cxn ang="0">
                  <a:pos x="86" y="0"/>
                </a:cxn>
                <a:cxn ang="0">
                  <a:pos x="44" y="0"/>
                </a:cxn>
                <a:cxn ang="0">
                  <a:pos x="38" y="10"/>
                </a:cxn>
                <a:cxn ang="0">
                  <a:pos x="23" y="31"/>
                </a:cxn>
                <a:cxn ang="0">
                  <a:pos x="3" y="66"/>
                </a:cxn>
                <a:cxn ang="0">
                  <a:pos x="0" y="77"/>
                </a:cxn>
                <a:cxn ang="0">
                  <a:pos x="44" y="77"/>
                </a:cxn>
                <a:cxn ang="0">
                  <a:pos x="44" y="59"/>
                </a:cxn>
              </a:cxnLst>
              <a:rect l="0" t="0" r="r" b="b"/>
              <a:pathLst>
                <a:path w="94" h="77">
                  <a:moveTo>
                    <a:pt x="44" y="59"/>
                  </a:moveTo>
                  <a:cubicBezTo>
                    <a:pt x="44" y="56"/>
                    <a:pt x="56" y="53"/>
                    <a:pt x="56" y="51"/>
                  </a:cubicBezTo>
                  <a:cubicBezTo>
                    <a:pt x="56" y="48"/>
                    <a:pt x="56" y="20"/>
                    <a:pt x="56" y="20"/>
                  </a:cubicBezTo>
                  <a:cubicBezTo>
                    <a:pt x="56" y="20"/>
                    <a:pt x="93" y="21"/>
                    <a:pt x="94" y="20"/>
                  </a:cubicBezTo>
                  <a:cubicBezTo>
                    <a:pt x="94" y="20"/>
                    <a:pt x="94" y="12"/>
                    <a:pt x="94" y="4"/>
                  </a:cubicBezTo>
                  <a:cubicBezTo>
                    <a:pt x="92" y="2"/>
                    <a:pt x="94" y="0"/>
                    <a:pt x="86" y="0"/>
                  </a:cubicBezTo>
                  <a:cubicBezTo>
                    <a:pt x="79" y="0"/>
                    <a:pt x="58" y="0"/>
                    <a:pt x="44" y="0"/>
                  </a:cubicBezTo>
                  <a:cubicBezTo>
                    <a:pt x="41" y="3"/>
                    <a:pt x="39" y="7"/>
                    <a:pt x="38" y="10"/>
                  </a:cubicBezTo>
                  <a:cubicBezTo>
                    <a:pt x="36" y="16"/>
                    <a:pt x="23" y="23"/>
                    <a:pt x="23" y="31"/>
                  </a:cubicBezTo>
                  <a:cubicBezTo>
                    <a:pt x="22" y="38"/>
                    <a:pt x="11" y="50"/>
                    <a:pt x="3" y="66"/>
                  </a:cubicBezTo>
                  <a:cubicBezTo>
                    <a:pt x="1" y="70"/>
                    <a:pt x="0" y="74"/>
                    <a:pt x="0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62"/>
                    <a:pt x="44" y="5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863852" y="3447889"/>
              <a:ext cx="312733" cy="343058"/>
            </a:xfrm>
            <a:custGeom>
              <a:avLst/>
              <a:gdLst/>
              <a:ahLst/>
              <a:cxnLst>
                <a:cxn ang="0">
                  <a:pos x="11" y="130"/>
                </a:cxn>
                <a:cxn ang="0">
                  <a:pos x="21" y="130"/>
                </a:cxn>
                <a:cxn ang="0">
                  <a:pos x="30" y="129"/>
                </a:cxn>
                <a:cxn ang="0">
                  <a:pos x="36" y="135"/>
                </a:cxn>
                <a:cxn ang="0">
                  <a:pos x="40" y="135"/>
                </a:cxn>
                <a:cxn ang="0">
                  <a:pos x="48" y="145"/>
                </a:cxn>
                <a:cxn ang="0">
                  <a:pos x="53" y="150"/>
                </a:cxn>
                <a:cxn ang="0">
                  <a:pos x="59" y="147"/>
                </a:cxn>
                <a:cxn ang="0">
                  <a:pos x="66" y="144"/>
                </a:cxn>
                <a:cxn ang="0">
                  <a:pos x="72" y="143"/>
                </a:cxn>
                <a:cxn ang="0">
                  <a:pos x="80" y="144"/>
                </a:cxn>
                <a:cxn ang="0">
                  <a:pos x="87" y="141"/>
                </a:cxn>
                <a:cxn ang="0">
                  <a:pos x="131" y="141"/>
                </a:cxn>
                <a:cxn ang="0">
                  <a:pos x="132" y="131"/>
                </a:cxn>
                <a:cxn ang="0">
                  <a:pos x="129" y="128"/>
                </a:cxn>
                <a:cxn ang="0">
                  <a:pos x="118" y="28"/>
                </a:cxn>
                <a:cxn ang="0">
                  <a:pos x="137" y="28"/>
                </a:cxn>
                <a:cxn ang="0">
                  <a:pos x="97" y="2"/>
                </a:cxn>
                <a:cxn ang="0">
                  <a:pos x="95" y="0"/>
                </a:cxn>
                <a:cxn ang="0">
                  <a:pos x="95" y="16"/>
                </a:cxn>
                <a:cxn ang="0">
                  <a:pos x="57" y="16"/>
                </a:cxn>
                <a:cxn ang="0">
                  <a:pos x="57" y="47"/>
                </a:cxn>
                <a:cxn ang="0">
                  <a:pos x="45" y="55"/>
                </a:cxn>
                <a:cxn ang="0">
                  <a:pos x="45" y="73"/>
                </a:cxn>
                <a:cxn ang="0">
                  <a:pos x="1" y="73"/>
                </a:cxn>
                <a:cxn ang="0">
                  <a:pos x="7" y="85"/>
                </a:cxn>
                <a:cxn ang="0">
                  <a:pos x="9" y="104"/>
                </a:cxn>
                <a:cxn ang="0">
                  <a:pos x="6" y="126"/>
                </a:cxn>
                <a:cxn ang="0">
                  <a:pos x="4" y="135"/>
                </a:cxn>
                <a:cxn ang="0">
                  <a:pos x="4" y="135"/>
                </a:cxn>
                <a:cxn ang="0">
                  <a:pos x="11" y="130"/>
                </a:cxn>
              </a:cxnLst>
              <a:rect l="0" t="0" r="r" b="b"/>
              <a:pathLst>
                <a:path w="137" h="150">
                  <a:moveTo>
                    <a:pt x="11" y="130"/>
                  </a:moveTo>
                  <a:cubicBezTo>
                    <a:pt x="15" y="131"/>
                    <a:pt x="21" y="130"/>
                    <a:pt x="21" y="130"/>
                  </a:cubicBezTo>
                  <a:cubicBezTo>
                    <a:pt x="21" y="130"/>
                    <a:pt x="27" y="127"/>
                    <a:pt x="30" y="129"/>
                  </a:cubicBezTo>
                  <a:cubicBezTo>
                    <a:pt x="33" y="131"/>
                    <a:pt x="36" y="135"/>
                    <a:pt x="36" y="135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40" y="135"/>
                    <a:pt x="43" y="143"/>
                    <a:pt x="48" y="145"/>
                  </a:cubicBezTo>
                  <a:cubicBezTo>
                    <a:pt x="51" y="146"/>
                    <a:pt x="52" y="148"/>
                    <a:pt x="53" y="150"/>
                  </a:cubicBezTo>
                  <a:cubicBezTo>
                    <a:pt x="57" y="150"/>
                    <a:pt x="59" y="149"/>
                    <a:pt x="59" y="147"/>
                  </a:cubicBezTo>
                  <a:cubicBezTo>
                    <a:pt x="59" y="144"/>
                    <a:pt x="61" y="139"/>
                    <a:pt x="66" y="144"/>
                  </a:cubicBezTo>
                  <a:cubicBezTo>
                    <a:pt x="71" y="149"/>
                    <a:pt x="71" y="145"/>
                    <a:pt x="72" y="143"/>
                  </a:cubicBezTo>
                  <a:cubicBezTo>
                    <a:pt x="73" y="141"/>
                    <a:pt x="76" y="144"/>
                    <a:pt x="80" y="144"/>
                  </a:cubicBezTo>
                  <a:cubicBezTo>
                    <a:pt x="83" y="144"/>
                    <a:pt x="87" y="141"/>
                    <a:pt x="87" y="141"/>
                  </a:cubicBezTo>
                  <a:cubicBezTo>
                    <a:pt x="87" y="141"/>
                    <a:pt x="129" y="142"/>
                    <a:pt x="131" y="141"/>
                  </a:cubicBezTo>
                  <a:cubicBezTo>
                    <a:pt x="133" y="140"/>
                    <a:pt x="132" y="131"/>
                    <a:pt x="132" y="131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17" y="15"/>
                    <a:pt x="99" y="3"/>
                    <a:pt x="97" y="2"/>
                  </a:cubicBezTo>
                  <a:cubicBezTo>
                    <a:pt x="96" y="2"/>
                    <a:pt x="95" y="1"/>
                    <a:pt x="95" y="0"/>
                  </a:cubicBezTo>
                  <a:cubicBezTo>
                    <a:pt x="95" y="8"/>
                    <a:pt x="95" y="16"/>
                    <a:pt x="95" y="16"/>
                  </a:cubicBezTo>
                  <a:cubicBezTo>
                    <a:pt x="94" y="17"/>
                    <a:pt x="57" y="16"/>
                    <a:pt x="57" y="16"/>
                  </a:cubicBezTo>
                  <a:cubicBezTo>
                    <a:pt x="57" y="16"/>
                    <a:pt x="57" y="44"/>
                    <a:pt x="57" y="47"/>
                  </a:cubicBezTo>
                  <a:cubicBezTo>
                    <a:pt x="57" y="49"/>
                    <a:pt x="45" y="52"/>
                    <a:pt x="45" y="55"/>
                  </a:cubicBezTo>
                  <a:cubicBezTo>
                    <a:pt x="45" y="58"/>
                    <a:pt x="45" y="73"/>
                    <a:pt x="45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0" y="80"/>
                    <a:pt x="4" y="82"/>
                    <a:pt x="7" y="85"/>
                  </a:cubicBezTo>
                  <a:cubicBezTo>
                    <a:pt x="10" y="89"/>
                    <a:pt x="4" y="96"/>
                    <a:pt x="9" y="104"/>
                  </a:cubicBezTo>
                  <a:cubicBezTo>
                    <a:pt x="15" y="111"/>
                    <a:pt x="8" y="122"/>
                    <a:pt x="6" y="126"/>
                  </a:cubicBezTo>
                  <a:cubicBezTo>
                    <a:pt x="4" y="128"/>
                    <a:pt x="4" y="132"/>
                    <a:pt x="4" y="135"/>
                  </a:cubicBezTo>
                  <a:cubicBezTo>
                    <a:pt x="4" y="135"/>
                    <a:pt x="4" y="135"/>
                    <a:pt x="4" y="135"/>
                  </a:cubicBezTo>
                  <a:cubicBezTo>
                    <a:pt x="8" y="135"/>
                    <a:pt x="7" y="129"/>
                    <a:pt x="11" y="13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985154" y="3512331"/>
              <a:ext cx="430244" cy="403709"/>
            </a:xfrm>
            <a:custGeom>
              <a:avLst/>
              <a:gdLst/>
              <a:ahLst/>
              <a:cxnLst>
                <a:cxn ang="0">
                  <a:pos x="179" y="73"/>
                </a:cxn>
                <a:cxn ang="0">
                  <a:pos x="173" y="61"/>
                </a:cxn>
                <a:cxn ang="0">
                  <a:pos x="161" y="57"/>
                </a:cxn>
                <a:cxn ang="0">
                  <a:pos x="153" y="47"/>
                </a:cxn>
                <a:cxn ang="0">
                  <a:pos x="84" y="0"/>
                </a:cxn>
                <a:cxn ang="0">
                  <a:pos x="65" y="0"/>
                </a:cxn>
                <a:cxn ang="0">
                  <a:pos x="76" y="100"/>
                </a:cxn>
                <a:cxn ang="0">
                  <a:pos x="79" y="103"/>
                </a:cxn>
                <a:cxn ang="0">
                  <a:pos x="78" y="113"/>
                </a:cxn>
                <a:cxn ang="0">
                  <a:pos x="34" y="113"/>
                </a:cxn>
                <a:cxn ang="0">
                  <a:pos x="27" y="116"/>
                </a:cxn>
                <a:cxn ang="0">
                  <a:pos x="19" y="115"/>
                </a:cxn>
                <a:cxn ang="0">
                  <a:pos x="13" y="116"/>
                </a:cxn>
                <a:cxn ang="0">
                  <a:pos x="6" y="119"/>
                </a:cxn>
                <a:cxn ang="0">
                  <a:pos x="0" y="122"/>
                </a:cxn>
                <a:cxn ang="0">
                  <a:pos x="1" y="125"/>
                </a:cxn>
                <a:cxn ang="0">
                  <a:pos x="3" y="128"/>
                </a:cxn>
                <a:cxn ang="0">
                  <a:pos x="5" y="135"/>
                </a:cxn>
                <a:cxn ang="0">
                  <a:pos x="11" y="142"/>
                </a:cxn>
                <a:cxn ang="0">
                  <a:pos x="11" y="151"/>
                </a:cxn>
                <a:cxn ang="0">
                  <a:pos x="14" y="154"/>
                </a:cxn>
                <a:cxn ang="0">
                  <a:pos x="21" y="153"/>
                </a:cxn>
                <a:cxn ang="0">
                  <a:pos x="28" y="154"/>
                </a:cxn>
                <a:cxn ang="0">
                  <a:pos x="36" y="148"/>
                </a:cxn>
                <a:cxn ang="0">
                  <a:pos x="41" y="157"/>
                </a:cxn>
                <a:cxn ang="0">
                  <a:pos x="45" y="162"/>
                </a:cxn>
                <a:cxn ang="0">
                  <a:pos x="45" y="166"/>
                </a:cxn>
                <a:cxn ang="0">
                  <a:pos x="47" y="172"/>
                </a:cxn>
                <a:cxn ang="0">
                  <a:pos x="53" y="173"/>
                </a:cxn>
                <a:cxn ang="0">
                  <a:pos x="58" y="175"/>
                </a:cxn>
                <a:cxn ang="0">
                  <a:pos x="65" y="172"/>
                </a:cxn>
                <a:cxn ang="0">
                  <a:pos x="70" y="171"/>
                </a:cxn>
                <a:cxn ang="0">
                  <a:pos x="74" y="172"/>
                </a:cxn>
                <a:cxn ang="0">
                  <a:pos x="78" y="172"/>
                </a:cxn>
                <a:cxn ang="0">
                  <a:pos x="81" y="163"/>
                </a:cxn>
                <a:cxn ang="0">
                  <a:pos x="80" y="156"/>
                </a:cxn>
                <a:cxn ang="0">
                  <a:pos x="89" y="152"/>
                </a:cxn>
                <a:cxn ang="0">
                  <a:pos x="93" y="145"/>
                </a:cxn>
                <a:cxn ang="0">
                  <a:pos x="96" y="136"/>
                </a:cxn>
                <a:cxn ang="0">
                  <a:pos x="103" y="137"/>
                </a:cxn>
                <a:cxn ang="0">
                  <a:pos x="108" y="131"/>
                </a:cxn>
                <a:cxn ang="0">
                  <a:pos x="114" y="129"/>
                </a:cxn>
                <a:cxn ang="0">
                  <a:pos x="118" y="126"/>
                </a:cxn>
                <a:cxn ang="0">
                  <a:pos x="128" y="122"/>
                </a:cxn>
                <a:cxn ang="0">
                  <a:pos x="136" y="119"/>
                </a:cxn>
                <a:cxn ang="0">
                  <a:pos x="150" y="119"/>
                </a:cxn>
                <a:cxn ang="0">
                  <a:pos x="159" y="116"/>
                </a:cxn>
                <a:cxn ang="0">
                  <a:pos x="177" y="115"/>
                </a:cxn>
                <a:cxn ang="0">
                  <a:pos x="184" y="110"/>
                </a:cxn>
                <a:cxn ang="0">
                  <a:pos x="188" y="101"/>
                </a:cxn>
                <a:cxn ang="0">
                  <a:pos x="188" y="71"/>
                </a:cxn>
                <a:cxn ang="0">
                  <a:pos x="179" y="73"/>
                </a:cxn>
              </a:cxnLst>
              <a:rect l="0" t="0" r="r" b="b"/>
              <a:pathLst>
                <a:path w="189" h="177">
                  <a:moveTo>
                    <a:pt x="179" y="73"/>
                  </a:moveTo>
                  <a:cubicBezTo>
                    <a:pt x="179" y="73"/>
                    <a:pt x="179" y="65"/>
                    <a:pt x="173" y="61"/>
                  </a:cubicBezTo>
                  <a:cubicBezTo>
                    <a:pt x="168" y="58"/>
                    <a:pt x="161" y="57"/>
                    <a:pt x="161" y="57"/>
                  </a:cubicBezTo>
                  <a:cubicBezTo>
                    <a:pt x="161" y="57"/>
                    <a:pt x="157" y="50"/>
                    <a:pt x="153" y="47"/>
                  </a:cubicBezTo>
                  <a:cubicBezTo>
                    <a:pt x="152" y="45"/>
                    <a:pt x="114" y="20"/>
                    <a:pt x="84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9" y="103"/>
                    <a:pt x="80" y="112"/>
                    <a:pt x="78" y="113"/>
                  </a:cubicBezTo>
                  <a:cubicBezTo>
                    <a:pt x="76" y="114"/>
                    <a:pt x="34" y="113"/>
                    <a:pt x="34" y="113"/>
                  </a:cubicBezTo>
                  <a:cubicBezTo>
                    <a:pt x="34" y="113"/>
                    <a:pt x="30" y="116"/>
                    <a:pt x="27" y="116"/>
                  </a:cubicBezTo>
                  <a:cubicBezTo>
                    <a:pt x="23" y="116"/>
                    <a:pt x="20" y="113"/>
                    <a:pt x="19" y="115"/>
                  </a:cubicBezTo>
                  <a:cubicBezTo>
                    <a:pt x="18" y="117"/>
                    <a:pt x="18" y="121"/>
                    <a:pt x="13" y="116"/>
                  </a:cubicBezTo>
                  <a:cubicBezTo>
                    <a:pt x="8" y="111"/>
                    <a:pt x="6" y="116"/>
                    <a:pt x="6" y="119"/>
                  </a:cubicBezTo>
                  <a:cubicBezTo>
                    <a:pt x="6" y="121"/>
                    <a:pt x="4" y="122"/>
                    <a:pt x="0" y="122"/>
                  </a:cubicBezTo>
                  <a:cubicBezTo>
                    <a:pt x="1" y="124"/>
                    <a:pt x="1" y="125"/>
                    <a:pt x="1" y="125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3" y="128"/>
                    <a:pt x="3" y="133"/>
                    <a:pt x="5" y="135"/>
                  </a:cubicBezTo>
                  <a:cubicBezTo>
                    <a:pt x="7" y="137"/>
                    <a:pt x="11" y="141"/>
                    <a:pt x="11" y="142"/>
                  </a:cubicBezTo>
                  <a:cubicBezTo>
                    <a:pt x="11" y="144"/>
                    <a:pt x="11" y="151"/>
                    <a:pt x="11" y="151"/>
                  </a:cubicBezTo>
                  <a:cubicBezTo>
                    <a:pt x="11" y="151"/>
                    <a:pt x="12" y="157"/>
                    <a:pt x="14" y="154"/>
                  </a:cubicBezTo>
                  <a:cubicBezTo>
                    <a:pt x="16" y="152"/>
                    <a:pt x="19" y="157"/>
                    <a:pt x="21" y="153"/>
                  </a:cubicBezTo>
                  <a:cubicBezTo>
                    <a:pt x="22" y="150"/>
                    <a:pt x="26" y="154"/>
                    <a:pt x="28" y="154"/>
                  </a:cubicBezTo>
                  <a:cubicBezTo>
                    <a:pt x="30" y="154"/>
                    <a:pt x="35" y="148"/>
                    <a:pt x="36" y="148"/>
                  </a:cubicBezTo>
                  <a:cubicBezTo>
                    <a:pt x="38" y="149"/>
                    <a:pt x="41" y="154"/>
                    <a:pt x="41" y="157"/>
                  </a:cubicBezTo>
                  <a:cubicBezTo>
                    <a:pt x="41" y="159"/>
                    <a:pt x="47" y="161"/>
                    <a:pt x="45" y="162"/>
                  </a:cubicBezTo>
                  <a:cubicBezTo>
                    <a:pt x="43" y="163"/>
                    <a:pt x="42" y="166"/>
                    <a:pt x="45" y="166"/>
                  </a:cubicBezTo>
                  <a:cubicBezTo>
                    <a:pt x="47" y="166"/>
                    <a:pt x="46" y="170"/>
                    <a:pt x="47" y="172"/>
                  </a:cubicBezTo>
                  <a:cubicBezTo>
                    <a:pt x="49" y="174"/>
                    <a:pt x="51" y="176"/>
                    <a:pt x="53" y="173"/>
                  </a:cubicBezTo>
                  <a:cubicBezTo>
                    <a:pt x="54" y="170"/>
                    <a:pt x="57" y="173"/>
                    <a:pt x="58" y="175"/>
                  </a:cubicBezTo>
                  <a:cubicBezTo>
                    <a:pt x="60" y="177"/>
                    <a:pt x="64" y="174"/>
                    <a:pt x="65" y="172"/>
                  </a:cubicBezTo>
                  <a:cubicBezTo>
                    <a:pt x="65" y="169"/>
                    <a:pt x="71" y="168"/>
                    <a:pt x="70" y="171"/>
                  </a:cubicBezTo>
                  <a:cubicBezTo>
                    <a:pt x="70" y="174"/>
                    <a:pt x="71" y="175"/>
                    <a:pt x="74" y="172"/>
                  </a:cubicBezTo>
                  <a:cubicBezTo>
                    <a:pt x="75" y="171"/>
                    <a:pt x="76" y="171"/>
                    <a:pt x="78" y="172"/>
                  </a:cubicBezTo>
                  <a:cubicBezTo>
                    <a:pt x="79" y="168"/>
                    <a:pt x="80" y="164"/>
                    <a:pt x="81" y="163"/>
                  </a:cubicBezTo>
                  <a:cubicBezTo>
                    <a:pt x="82" y="161"/>
                    <a:pt x="78" y="156"/>
                    <a:pt x="80" y="156"/>
                  </a:cubicBezTo>
                  <a:cubicBezTo>
                    <a:pt x="82" y="155"/>
                    <a:pt x="87" y="156"/>
                    <a:pt x="89" y="152"/>
                  </a:cubicBezTo>
                  <a:cubicBezTo>
                    <a:pt x="91" y="147"/>
                    <a:pt x="93" y="145"/>
                    <a:pt x="93" y="145"/>
                  </a:cubicBezTo>
                  <a:cubicBezTo>
                    <a:pt x="93" y="145"/>
                    <a:pt x="93" y="135"/>
                    <a:pt x="96" y="136"/>
                  </a:cubicBezTo>
                  <a:cubicBezTo>
                    <a:pt x="99" y="138"/>
                    <a:pt x="103" y="141"/>
                    <a:pt x="103" y="137"/>
                  </a:cubicBezTo>
                  <a:cubicBezTo>
                    <a:pt x="104" y="133"/>
                    <a:pt x="107" y="135"/>
                    <a:pt x="108" y="131"/>
                  </a:cubicBezTo>
                  <a:cubicBezTo>
                    <a:pt x="109" y="128"/>
                    <a:pt x="111" y="128"/>
                    <a:pt x="114" y="129"/>
                  </a:cubicBezTo>
                  <a:cubicBezTo>
                    <a:pt x="116" y="129"/>
                    <a:pt x="118" y="128"/>
                    <a:pt x="118" y="126"/>
                  </a:cubicBezTo>
                  <a:cubicBezTo>
                    <a:pt x="118" y="124"/>
                    <a:pt x="123" y="125"/>
                    <a:pt x="128" y="122"/>
                  </a:cubicBezTo>
                  <a:cubicBezTo>
                    <a:pt x="132" y="119"/>
                    <a:pt x="134" y="117"/>
                    <a:pt x="136" y="119"/>
                  </a:cubicBezTo>
                  <a:cubicBezTo>
                    <a:pt x="138" y="120"/>
                    <a:pt x="149" y="120"/>
                    <a:pt x="150" y="119"/>
                  </a:cubicBezTo>
                  <a:cubicBezTo>
                    <a:pt x="152" y="119"/>
                    <a:pt x="155" y="116"/>
                    <a:pt x="159" y="116"/>
                  </a:cubicBezTo>
                  <a:cubicBezTo>
                    <a:pt x="163" y="117"/>
                    <a:pt x="173" y="115"/>
                    <a:pt x="177" y="115"/>
                  </a:cubicBezTo>
                  <a:cubicBezTo>
                    <a:pt x="181" y="115"/>
                    <a:pt x="183" y="111"/>
                    <a:pt x="184" y="110"/>
                  </a:cubicBezTo>
                  <a:cubicBezTo>
                    <a:pt x="185" y="108"/>
                    <a:pt x="186" y="102"/>
                    <a:pt x="188" y="101"/>
                  </a:cubicBezTo>
                  <a:cubicBezTo>
                    <a:pt x="189" y="100"/>
                    <a:pt x="189" y="79"/>
                    <a:pt x="188" y="71"/>
                  </a:cubicBezTo>
                  <a:cubicBezTo>
                    <a:pt x="184" y="72"/>
                    <a:pt x="179" y="73"/>
                    <a:pt x="179" y="7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3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163316" y="3779576"/>
              <a:ext cx="210384" cy="149733"/>
            </a:xfrm>
            <a:custGeom>
              <a:avLst/>
              <a:gdLst/>
              <a:ahLst/>
              <a:cxnLst>
                <a:cxn ang="0">
                  <a:pos x="92" y="37"/>
                </a:cxn>
                <a:cxn ang="0">
                  <a:pos x="87" y="35"/>
                </a:cxn>
                <a:cxn ang="0">
                  <a:pos x="86" y="29"/>
                </a:cxn>
                <a:cxn ang="0">
                  <a:pos x="81" y="30"/>
                </a:cxn>
                <a:cxn ang="0">
                  <a:pos x="76" y="26"/>
                </a:cxn>
                <a:cxn ang="0">
                  <a:pos x="74" y="21"/>
                </a:cxn>
                <a:cxn ang="0">
                  <a:pos x="69" y="15"/>
                </a:cxn>
                <a:cxn ang="0">
                  <a:pos x="65" y="9"/>
                </a:cxn>
                <a:cxn ang="0">
                  <a:pos x="65" y="3"/>
                </a:cxn>
                <a:cxn ang="0">
                  <a:pos x="58" y="2"/>
                </a:cxn>
                <a:cxn ang="0">
                  <a:pos x="50" y="5"/>
                </a:cxn>
                <a:cxn ang="0">
                  <a:pos x="40" y="9"/>
                </a:cxn>
                <a:cxn ang="0">
                  <a:pos x="36" y="12"/>
                </a:cxn>
                <a:cxn ang="0">
                  <a:pos x="30" y="14"/>
                </a:cxn>
                <a:cxn ang="0">
                  <a:pos x="25" y="20"/>
                </a:cxn>
                <a:cxn ang="0">
                  <a:pos x="18" y="19"/>
                </a:cxn>
                <a:cxn ang="0">
                  <a:pos x="15" y="28"/>
                </a:cxn>
                <a:cxn ang="0">
                  <a:pos x="11" y="35"/>
                </a:cxn>
                <a:cxn ang="0">
                  <a:pos x="2" y="39"/>
                </a:cxn>
                <a:cxn ang="0">
                  <a:pos x="3" y="46"/>
                </a:cxn>
                <a:cxn ang="0">
                  <a:pos x="0" y="55"/>
                </a:cxn>
                <a:cxn ang="0">
                  <a:pos x="5" y="58"/>
                </a:cxn>
                <a:cxn ang="0">
                  <a:pos x="15" y="63"/>
                </a:cxn>
                <a:cxn ang="0">
                  <a:pos x="28" y="61"/>
                </a:cxn>
                <a:cxn ang="0">
                  <a:pos x="32" y="60"/>
                </a:cxn>
                <a:cxn ang="0">
                  <a:pos x="30" y="49"/>
                </a:cxn>
                <a:cxn ang="0">
                  <a:pos x="58" y="50"/>
                </a:cxn>
                <a:cxn ang="0">
                  <a:pos x="63" y="47"/>
                </a:cxn>
                <a:cxn ang="0">
                  <a:pos x="73" y="48"/>
                </a:cxn>
                <a:cxn ang="0">
                  <a:pos x="79" y="44"/>
                </a:cxn>
                <a:cxn ang="0">
                  <a:pos x="89" y="42"/>
                </a:cxn>
                <a:cxn ang="0">
                  <a:pos x="92" y="37"/>
                </a:cxn>
                <a:cxn ang="0">
                  <a:pos x="92" y="37"/>
                </a:cxn>
              </a:cxnLst>
              <a:rect l="0" t="0" r="r" b="b"/>
              <a:pathLst>
                <a:path w="92" h="66">
                  <a:moveTo>
                    <a:pt x="92" y="37"/>
                  </a:moveTo>
                  <a:cubicBezTo>
                    <a:pt x="90" y="35"/>
                    <a:pt x="88" y="35"/>
                    <a:pt x="87" y="35"/>
                  </a:cubicBezTo>
                  <a:cubicBezTo>
                    <a:pt x="86" y="35"/>
                    <a:pt x="87" y="30"/>
                    <a:pt x="86" y="29"/>
                  </a:cubicBezTo>
                  <a:cubicBezTo>
                    <a:pt x="86" y="28"/>
                    <a:pt x="83" y="30"/>
                    <a:pt x="81" y="30"/>
                  </a:cubicBezTo>
                  <a:cubicBezTo>
                    <a:pt x="79" y="29"/>
                    <a:pt x="78" y="26"/>
                    <a:pt x="76" y="26"/>
                  </a:cubicBezTo>
                  <a:cubicBezTo>
                    <a:pt x="74" y="26"/>
                    <a:pt x="74" y="24"/>
                    <a:pt x="74" y="21"/>
                  </a:cubicBezTo>
                  <a:cubicBezTo>
                    <a:pt x="74" y="19"/>
                    <a:pt x="71" y="17"/>
                    <a:pt x="69" y="15"/>
                  </a:cubicBezTo>
                  <a:cubicBezTo>
                    <a:pt x="67" y="14"/>
                    <a:pt x="66" y="10"/>
                    <a:pt x="65" y="9"/>
                  </a:cubicBezTo>
                  <a:cubicBezTo>
                    <a:pt x="64" y="8"/>
                    <a:pt x="65" y="5"/>
                    <a:pt x="65" y="3"/>
                  </a:cubicBezTo>
                  <a:cubicBezTo>
                    <a:pt x="62" y="3"/>
                    <a:pt x="59" y="2"/>
                    <a:pt x="58" y="2"/>
                  </a:cubicBezTo>
                  <a:cubicBezTo>
                    <a:pt x="56" y="0"/>
                    <a:pt x="54" y="2"/>
                    <a:pt x="50" y="5"/>
                  </a:cubicBezTo>
                  <a:cubicBezTo>
                    <a:pt x="45" y="8"/>
                    <a:pt x="40" y="7"/>
                    <a:pt x="40" y="9"/>
                  </a:cubicBezTo>
                  <a:cubicBezTo>
                    <a:pt x="40" y="11"/>
                    <a:pt x="38" y="12"/>
                    <a:pt x="36" y="12"/>
                  </a:cubicBezTo>
                  <a:cubicBezTo>
                    <a:pt x="33" y="11"/>
                    <a:pt x="31" y="11"/>
                    <a:pt x="30" y="14"/>
                  </a:cubicBezTo>
                  <a:cubicBezTo>
                    <a:pt x="29" y="18"/>
                    <a:pt x="26" y="16"/>
                    <a:pt x="25" y="20"/>
                  </a:cubicBezTo>
                  <a:cubicBezTo>
                    <a:pt x="25" y="24"/>
                    <a:pt x="21" y="21"/>
                    <a:pt x="18" y="19"/>
                  </a:cubicBezTo>
                  <a:cubicBezTo>
                    <a:pt x="15" y="18"/>
                    <a:pt x="15" y="28"/>
                    <a:pt x="15" y="28"/>
                  </a:cubicBezTo>
                  <a:cubicBezTo>
                    <a:pt x="15" y="28"/>
                    <a:pt x="13" y="30"/>
                    <a:pt x="11" y="35"/>
                  </a:cubicBezTo>
                  <a:cubicBezTo>
                    <a:pt x="9" y="39"/>
                    <a:pt x="4" y="38"/>
                    <a:pt x="2" y="39"/>
                  </a:cubicBezTo>
                  <a:cubicBezTo>
                    <a:pt x="0" y="39"/>
                    <a:pt x="4" y="44"/>
                    <a:pt x="3" y="46"/>
                  </a:cubicBezTo>
                  <a:cubicBezTo>
                    <a:pt x="2" y="47"/>
                    <a:pt x="1" y="51"/>
                    <a:pt x="0" y="55"/>
                  </a:cubicBezTo>
                  <a:cubicBezTo>
                    <a:pt x="2" y="55"/>
                    <a:pt x="4" y="57"/>
                    <a:pt x="5" y="58"/>
                  </a:cubicBezTo>
                  <a:cubicBezTo>
                    <a:pt x="6" y="60"/>
                    <a:pt x="12" y="66"/>
                    <a:pt x="15" y="63"/>
                  </a:cubicBezTo>
                  <a:cubicBezTo>
                    <a:pt x="18" y="60"/>
                    <a:pt x="26" y="59"/>
                    <a:pt x="28" y="61"/>
                  </a:cubicBezTo>
                  <a:cubicBezTo>
                    <a:pt x="30" y="63"/>
                    <a:pt x="32" y="62"/>
                    <a:pt x="32" y="60"/>
                  </a:cubicBezTo>
                  <a:cubicBezTo>
                    <a:pt x="32" y="58"/>
                    <a:pt x="29" y="51"/>
                    <a:pt x="30" y="49"/>
                  </a:cubicBezTo>
                  <a:cubicBezTo>
                    <a:pt x="31" y="47"/>
                    <a:pt x="57" y="48"/>
                    <a:pt x="58" y="50"/>
                  </a:cubicBezTo>
                  <a:cubicBezTo>
                    <a:pt x="59" y="51"/>
                    <a:pt x="59" y="46"/>
                    <a:pt x="63" y="47"/>
                  </a:cubicBezTo>
                  <a:cubicBezTo>
                    <a:pt x="66" y="47"/>
                    <a:pt x="71" y="49"/>
                    <a:pt x="73" y="48"/>
                  </a:cubicBezTo>
                  <a:cubicBezTo>
                    <a:pt x="75" y="47"/>
                    <a:pt x="77" y="44"/>
                    <a:pt x="79" y="44"/>
                  </a:cubicBezTo>
                  <a:cubicBezTo>
                    <a:pt x="81" y="44"/>
                    <a:pt x="87" y="43"/>
                    <a:pt x="89" y="42"/>
                  </a:cubicBezTo>
                  <a:cubicBezTo>
                    <a:pt x="90" y="40"/>
                    <a:pt x="92" y="40"/>
                    <a:pt x="92" y="37"/>
                  </a:cubicBezTo>
                  <a:cubicBezTo>
                    <a:pt x="92" y="37"/>
                    <a:pt x="92" y="37"/>
                    <a:pt x="92" y="3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309257" y="3555925"/>
              <a:ext cx="401814" cy="312733"/>
            </a:xfrm>
            <a:custGeom>
              <a:avLst/>
              <a:gdLst/>
              <a:ahLst/>
              <a:cxnLst>
                <a:cxn ang="0">
                  <a:pos x="168" y="20"/>
                </a:cxn>
                <a:cxn ang="0">
                  <a:pos x="167" y="5"/>
                </a:cxn>
                <a:cxn ang="0">
                  <a:pos x="158" y="10"/>
                </a:cxn>
                <a:cxn ang="0">
                  <a:pos x="151" y="3"/>
                </a:cxn>
                <a:cxn ang="0">
                  <a:pos x="134" y="0"/>
                </a:cxn>
                <a:cxn ang="0">
                  <a:pos x="86" y="30"/>
                </a:cxn>
                <a:cxn ang="0">
                  <a:pos x="65" y="46"/>
                </a:cxn>
                <a:cxn ang="0">
                  <a:pos x="48" y="52"/>
                </a:cxn>
                <a:cxn ang="0">
                  <a:pos x="46" y="52"/>
                </a:cxn>
                <a:cxn ang="0">
                  <a:pos x="46" y="82"/>
                </a:cxn>
                <a:cxn ang="0">
                  <a:pos x="42" y="91"/>
                </a:cxn>
                <a:cxn ang="0">
                  <a:pos x="35" y="96"/>
                </a:cxn>
                <a:cxn ang="0">
                  <a:pos x="17" y="97"/>
                </a:cxn>
                <a:cxn ang="0">
                  <a:pos x="8" y="100"/>
                </a:cxn>
                <a:cxn ang="0">
                  <a:pos x="1" y="101"/>
                </a:cxn>
                <a:cxn ang="0">
                  <a:pos x="1" y="107"/>
                </a:cxn>
                <a:cxn ang="0">
                  <a:pos x="5" y="113"/>
                </a:cxn>
                <a:cxn ang="0">
                  <a:pos x="10" y="119"/>
                </a:cxn>
                <a:cxn ang="0">
                  <a:pos x="12" y="124"/>
                </a:cxn>
                <a:cxn ang="0">
                  <a:pos x="17" y="128"/>
                </a:cxn>
                <a:cxn ang="0">
                  <a:pos x="22" y="127"/>
                </a:cxn>
                <a:cxn ang="0">
                  <a:pos x="23" y="133"/>
                </a:cxn>
                <a:cxn ang="0">
                  <a:pos x="28" y="135"/>
                </a:cxn>
                <a:cxn ang="0">
                  <a:pos x="32" y="130"/>
                </a:cxn>
                <a:cxn ang="0">
                  <a:pos x="35" y="135"/>
                </a:cxn>
                <a:cxn ang="0">
                  <a:pos x="40" y="133"/>
                </a:cxn>
                <a:cxn ang="0">
                  <a:pos x="45" y="125"/>
                </a:cxn>
                <a:cxn ang="0">
                  <a:pos x="48" y="116"/>
                </a:cxn>
                <a:cxn ang="0">
                  <a:pos x="58" y="116"/>
                </a:cxn>
                <a:cxn ang="0">
                  <a:pos x="65" y="114"/>
                </a:cxn>
                <a:cxn ang="0">
                  <a:pos x="74" y="117"/>
                </a:cxn>
                <a:cxn ang="0">
                  <a:pos x="80" y="123"/>
                </a:cxn>
                <a:cxn ang="0">
                  <a:pos x="89" y="120"/>
                </a:cxn>
                <a:cxn ang="0">
                  <a:pos x="98" y="125"/>
                </a:cxn>
                <a:cxn ang="0">
                  <a:pos x="109" y="125"/>
                </a:cxn>
                <a:cxn ang="0">
                  <a:pos x="117" y="119"/>
                </a:cxn>
                <a:cxn ang="0">
                  <a:pos x="132" y="120"/>
                </a:cxn>
                <a:cxn ang="0">
                  <a:pos x="141" y="122"/>
                </a:cxn>
                <a:cxn ang="0">
                  <a:pos x="149" y="115"/>
                </a:cxn>
                <a:cxn ang="0">
                  <a:pos x="151" y="114"/>
                </a:cxn>
                <a:cxn ang="0">
                  <a:pos x="151" y="111"/>
                </a:cxn>
                <a:cxn ang="0">
                  <a:pos x="153" y="101"/>
                </a:cxn>
                <a:cxn ang="0">
                  <a:pos x="171" y="79"/>
                </a:cxn>
                <a:cxn ang="0">
                  <a:pos x="172" y="51"/>
                </a:cxn>
                <a:cxn ang="0">
                  <a:pos x="174" y="39"/>
                </a:cxn>
                <a:cxn ang="0">
                  <a:pos x="172" y="30"/>
                </a:cxn>
                <a:cxn ang="0">
                  <a:pos x="168" y="20"/>
                </a:cxn>
              </a:cxnLst>
              <a:rect l="0" t="0" r="r" b="b"/>
              <a:pathLst>
                <a:path w="176" h="137">
                  <a:moveTo>
                    <a:pt x="168" y="20"/>
                  </a:moveTo>
                  <a:cubicBezTo>
                    <a:pt x="168" y="18"/>
                    <a:pt x="167" y="11"/>
                    <a:pt x="167" y="5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0"/>
                    <a:pt x="156" y="6"/>
                    <a:pt x="151" y="3"/>
                  </a:cubicBezTo>
                  <a:cubicBezTo>
                    <a:pt x="146" y="0"/>
                    <a:pt x="134" y="0"/>
                    <a:pt x="134" y="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52" y="51"/>
                    <a:pt x="48" y="52"/>
                  </a:cubicBezTo>
                  <a:cubicBezTo>
                    <a:pt x="47" y="52"/>
                    <a:pt x="47" y="52"/>
                    <a:pt x="46" y="52"/>
                  </a:cubicBezTo>
                  <a:cubicBezTo>
                    <a:pt x="47" y="60"/>
                    <a:pt x="47" y="81"/>
                    <a:pt x="46" y="82"/>
                  </a:cubicBezTo>
                  <a:cubicBezTo>
                    <a:pt x="44" y="83"/>
                    <a:pt x="43" y="89"/>
                    <a:pt x="42" y="91"/>
                  </a:cubicBezTo>
                  <a:cubicBezTo>
                    <a:pt x="41" y="92"/>
                    <a:pt x="39" y="96"/>
                    <a:pt x="35" y="96"/>
                  </a:cubicBezTo>
                  <a:cubicBezTo>
                    <a:pt x="31" y="96"/>
                    <a:pt x="21" y="98"/>
                    <a:pt x="17" y="97"/>
                  </a:cubicBezTo>
                  <a:cubicBezTo>
                    <a:pt x="13" y="97"/>
                    <a:pt x="10" y="100"/>
                    <a:pt x="8" y="100"/>
                  </a:cubicBezTo>
                  <a:cubicBezTo>
                    <a:pt x="8" y="101"/>
                    <a:pt x="4" y="101"/>
                    <a:pt x="1" y="101"/>
                  </a:cubicBezTo>
                  <a:cubicBezTo>
                    <a:pt x="1" y="103"/>
                    <a:pt x="0" y="106"/>
                    <a:pt x="1" y="107"/>
                  </a:cubicBezTo>
                  <a:cubicBezTo>
                    <a:pt x="2" y="108"/>
                    <a:pt x="3" y="112"/>
                    <a:pt x="5" y="113"/>
                  </a:cubicBezTo>
                  <a:cubicBezTo>
                    <a:pt x="7" y="115"/>
                    <a:pt x="10" y="117"/>
                    <a:pt x="10" y="119"/>
                  </a:cubicBezTo>
                  <a:cubicBezTo>
                    <a:pt x="10" y="122"/>
                    <a:pt x="10" y="124"/>
                    <a:pt x="12" y="124"/>
                  </a:cubicBezTo>
                  <a:cubicBezTo>
                    <a:pt x="14" y="124"/>
                    <a:pt x="15" y="127"/>
                    <a:pt x="17" y="128"/>
                  </a:cubicBezTo>
                  <a:cubicBezTo>
                    <a:pt x="19" y="128"/>
                    <a:pt x="22" y="126"/>
                    <a:pt x="22" y="127"/>
                  </a:cubicBezTo>
                  <a:cubicBezTo>
                    <a:pt x="23" y="128"/>
                    <a:pt x="22" y="133"/>
                    <a:pt x="23" y="133"/>
                  </a:cubicBezTo>
                  <a:cubicBezTo>
                    <a:pt x="24" y="133"/>
                    <a:pt x="26" y="133"/>
                    <a:pt x="28" y="135"/>
                  </a:cubicBezTo>
                  <a:cubicBezTo>
                    <a:pt x="27" y="132"/>
                    <a:pt x="28" y="129"/>
                    <a:pt x="32" y="130"/>
                  </a:cubicBezTo>
                  <a:cubicBezTo>
                    <a:pt x="35" y="131"/>
                    <a:pt x="32" y="134"/>
                    <a:pt x="35" y="135"/>
                  </a:cubicBezTo>
                  <a:cubicBezTo>
                    <a:pt x="38" y="137"/>
                    <a:pt x="40" y="136"/>
                    <a:pt x="40" y="133"/>
                  </a:cubicBezTo>
                  <a:cubicBezTo>
                    <a:pt x="40" y="131"/>
                    <a:pt x="44" y="126"/>
                    <a:pt x="45" y="125"/>
                  </a:cubicBezTo>
                  <a:cubicBezTo>
                    <a:pt x="46" y="124"/>
                    <a:pt x="46" y="118"/>
                    <a:pt x="48" y="116"/>
                  </a:cubicBezTo>
                  <a:cubicBezTo>
                    <a:pt x="50" y="115"/>
                    <a:pt x="56" y="116"/>
                    <a:pt x="58" y="116"/>
                  </a:cubicBezTo>
                  <a:cubicBezTo>
                    <a:pt x="60" y="117"/>
                    <a:pt x="62" y="112"/>
                    <a:pt x="65" y="114"/>
                  </a:cubicBezTo>
                  <a:cubicBezTo>
                    <a:pt x="67" y="116"/>
                    <a:pt x="72" y="114"/>
                    <a:pt x="74" y="117"/>
                  </a:cubicBezTo>
                  <a:cubicBezTo>
                    <a:pt x="76" y="119"/>
                    <a:pt x="77" y="125"/>
                    <a:pt x="80" y="123"/>
                  </a:cubicBezTo>
                  <a:cubicBezTo>
                    <a:pt x="83" y="121"/>
                    <a:pt x="87" y="120"/>
                    <a:pt x="89" y="120"/>
                  </a:cubicBezTo>
                  <a:cubicBezTo>
                    <a:pt x="91" y="120"/>
                    <a:pt x="96" y="124"/>
                    <a:pt x="98" y="125"/>
                  </a:cubicBezTo>
                  <a:cubicBezTo>
                    <a:pt x="100" y="125"/>
                    <a:pt x="107" y="126"/>
                    <a:pt x="109" y="125"/>
                  </a:cubicBezTo>
                  <a:cubicBezTo>
                    <a:pt x="111" y="123"/>
                    <a:pt x="114" y="119"/>
                    <a:pt x="117" y="119"/>
                  </a:cubicBezTo>
                  <a:cubicBezTo>
                    <a:pt x="120" y="120"/>
                    <a:pt x="130" y="119"/>
                    <a:pt x="132" y="120"/>
                  </a:cubicBezTo>
                  <a:cubicBezTo>
                    <a:pt x="134" y="121"/>
                    <a:pt x="138" y="123"/>
                    <a:pt x="141" y="122"/>
                  </a:cubicBezTo>
                  <a:cubicBezTo>
                    <a:pt x="144" y="121"/>
                    <a:pt x="147" y="115"/>
                    <a:pt x="149" y="115"/>
                  </a:cubicBezTo>
                  <a:cubicBezTo>
                    <a:pt x="150" y="114"/>
                    <a:pt x="150" y="114"/>
                    <a:pt x="151" y="114"/>
                  </a:cubicBezTo>
                  <a:cubicBezTo>
                    <a:pt x="151" y="113"/>
                    <a:pt x="151" y="112"/>
                    <a:pt x="151" y="111"/>
                  </a:cubicBezTo>
                  <a:cubicBezTo>
                    <a:pt x="151" y="105"/>
                    <a:pt x="152" y="107"/>
                    <a:pt x="153" y="101"/>
                  </a:cubicBezTo>
                  <a:cubicBezTo>
                    <a:pt x="154" y="95"/>
                    <a:pt x="170" y="80"/>
                    <a:pt x="171" y="79"/>
                  </a:cubicBezTo>
                  <a:cubicBezTo>
                    <a:pt x="172" y="78"/>
                    <a:pt x="172" y="54"/>
                    <a:pt x="172" y="51"/>
                  </a:cubicBezTo>
                  <a:cubicBezTo>
                    <a:pt x="172" y="47"/>
                    <a:pt x="173" y="43"/>
                    <a:pt x="174" y="39"/>
                  </a:cubicBezTo>
                  <a:cubicBezTo>
                    <a:pt x="176" y="34"/>
                    <a:pt x="172" y="34"/>
                    <a:pt x="172" y="30"/>
                  </a:cubicBezTo>
                  <a:cubicBezTo>
                    <a:pt x="173" y="26"/>
                    <a:pt x="168" y="22"/>
                    <a:pt x="168" y="2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54211" y="3555925"/>
              <a:ext cx="257767" cy="426453"/>
            </a:xfrm>
            <a:custGeom>
              <a:avLst/>
              <a:gdLst/>
              <a:ahLst/>
              <a:cxnLst>
                <a:cxn ang="0">
                  <a:pos x="112" y="46"/>
                </a:cxn>
                <a:cxn ang="0">
                  <a:pos x="26" y="0"/>
                </a:cxn>
                <a:cxn ang="0">
                  <a:pos x="16" y="5"/>
                </a:cxn>
                <a:cxn ang="0">
                  <a:pos x="17" y="20"/>
                </a:cxn>
                <a:cxn ang="0">
                  <a:pos x="21" y="30"/>
                </a:cxn>
                <a:cxn ang="0">
                  <a:pos x="23" y="39"/>
                </a:cxn>
                <a:cxn ang="0">
                  <a:pos x="21" y="51"/>
                </a:cxn>
                <a:cxn ang="0">
                  <a:pos x="20" y="79"/>
                </a:cxn>
                <a:cxn ang="0">
                  <a:pos x="2" y="101"/>
                </a:cxn>
                <a:cxn ang="0">
                  <a:pos x="0" y="111"/>
                </a:cxn>
                <a:cxn ang="0">
                  <a:pos x="0" y="114"/>
                </a:cxn>
                <a:cxn ang="0">
                  <a:pos x="2" y="117"/>
                </a:cxn>
                <a:cxn ang="0">
                  <a:pos x="7" y="122"/>
                </a:cxn>
                <a:cxn ang="0">
                  <a:pos x="14" y="132"/>
                </a:cxn>
                <a:cxn ang="0">
                  <a:pos x="15" y="142"/>
                </a:cxn>
                <a:cxn ang="0">
                  <a:pos x="20" y="156"/>
                </a:cxn>
                <a:cxn ang="0">
                  <a:pos x="15" y="158"/>
                </a:cxn>
                <a:cxn ang="0">
                  <a:pos x="6" y="159"/>
                </a:cxn>
                <a:cxn ang="0">
                  <a:pos x="8" y="167"/>
                </a:cxn>
                <a:cxn ang="0">
                  <a:pos x="18" y="177"/>
                </a:cxn>
                <a:cxn ang="0">
                  <a:pos x="22" y="186"/>
                </a:cxn>
                <a:cxn ang="0">
                  <a:pos x="28" y="184"/>
                </a:cxn>
                <a:cxn ang="0">
                  <a:pos x="36" y="184"/>
                </a:cxn>
                <a:cxn ang="0">
                  <a:pos x="48" y="180"/>
                </a:cxn>
                <a:cxn ang="0">
                  <a:pos x="58" y="175"/>
                </a:cxn>
                <a:cxn ang="0">
                  <a:pos x="59" y="169"/>
                </a:cxn>
                <a:cxn ang="0">
                  <a:pos x="75" y="165"/>
                </a:cxn>
                <a:cxn ang="0">
                  <a:pos x="86" y="154"/>
                </a:cxn>
                <a:cxn ang="0">
                  <a:pos x="88" y="149"/>
                </a:cxn>
                <a:cxn ang="0">
                  <a:pos x="97" y="145"/>
                </a:cxn>
                <a:cxn ang="0">
                  <a:pos x="99" y="145"/>
                </a:cxn>
                <a:cxn ang="0">
                  <a:pos x="99" y="145"/>
                </a:cxn>
                <a:cxn ang="0">
                  <a:pos x="100" y="140"/>
                </a:cxn>
                <a:cxn ang="0">
                  <a:pos x="95" y="133"/>
                </a:cxn>
                <a:cxn ang="0">
                  <a:pos x="93" y="125"/>
                </a:cxn>
                <a:cxn ang="0">
                  <a:pos x="91" y="118"/>
                </a:cxn>
                <a:cxn ang="0">
                  <a:pos x="92" y="110"/>
                </a:cxn>
                <a:cxn ang="0">
                  <a:pos x="97" y="102"/>
                </a:cxn>
                <a:cxn ang="0">
                  <a:pos x="101" y="95"/>
                </a:cxn>
                <a:cxn ang="0">
                  <a:pos x="111" y="89"/>
                </a:cxn>
                <a:cxn ang="0">
                  <a:pos x="112" y="77"/>
                </a:cxn>
                <a:cxn ang="0">
                  <a:pos x="112" y="46"/>
                </a:cxn>
              </a:cxnLst>
              <a:rect l="0" t="0" r="r" b="b"/>
              <a:pathLst>
                <a:path w="113" h="187">
                  <a:moveTo>
                    <a:pt x="112" y="46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11"/>
                    <a:pt x="17" y="18"/>
                    <a:pt x="17" y="20"/>
                  </a:cubicBezTo>
                  <a:cubicBezTo>
                    <a:pt x="17" y="22"/>
                    <a:pt x="22" y="26"/>
                    <a:pt x="21" y="30"/>
                  </a:cubicBezTo>
                  <a:cubicBezTo>
                    <a:pt x="21" y="34"/>
                    <a:pt x="25" y="34"/>
                    <a:pt x="23" y="39"/>
                  </a:cubicBezTo>
                  <a:cubicBezTo>
                    <a:pt x="22" y="43"/>
                    <a:pt x="21" y="47"/>
                    <a:pt x="21" y="51"/>
                  </a:cubicBezTo>
                  <a:cubicBezTo>
                    <a:pt x="21" y="54"/>
                    <a:pt x="21" y="78"/>
                    <a:pt x="20" y="79"/>
                  </a:cubicBezTo>
                  <a:cubicBezTo>
                    <a:pt x="19" y="80"/>
                    <a:pt x="3" y="95"/>
                    <a:pt x="2" y="101"/>
                  </a:cubicBezTo>
                  <a:cubicBezTo>
                    <a:pt x="1" y="107"/>
                    <a:pt x="0" y="105"/>
                    <a:pt x="0" y="111"/>
                  </a:cubicBezTo>
                  <a:cubicBezTo>
                    <a:pt x="0" y="112"/>
                    <a:pt x="0" y="113"/>
                    <a:pt x="0" y="114"/>
                  </a:cubicBezTo>
                  <a:cubicBezTo>
                    <a:pt x="0" y="115"/>
                    <a:pt x="1" y="116"/>
                    <a:pt x="2" y="117"/>
                  </a:cubicBezTo>
                  <a:cubicBezTo>
                    <a:pt x="4" y="119"/>
                    <a:pt x="4" y="122"/>
                    <a:pt x="7" y="122"/>
                  </a:cubicBezTo>
                  <a:cubicBezTo>
                    <a:pt x="10" y="122"/>
                    <a:pt x="14" y="129"/>
                    <a:pt x="14" y="132"/>
                  </a:cubicBezTo>
                  <a:cubicBezTo>
                    <a:pt x="14" y="135"/>
                    <a:pt x="16" y="137"/>
                    <a:pt x="15" y="142"/>
                  </a:cubicBezTo>
                  <a:cubicBezTo>
                    <a:pt x="15" y="148"/>
                    <a:pt x="18" y="155"/>
                    <a:pt x="20" y="156"/>
                  </a:cubicBezTo>
                  <a:cubicBezTo>
                    <a:pt x="22" y="157"/>
                    <a:pt x="19" y="158"/>
                    <a:pt x="15" y="158"/>
                  </a:cubicBezTo>
                  <a:cubicBezTo>
                    <a:pt x="11" y="158"/>
                    <a:pt x="6" y="158"/>
                    <a:pt x="6" y="159"/>
                  </a:cubicBezTo>
                  <a:cubicBezTo>
                    <a:pt x="6" y="161"/>
                    <a:pt x="4" y="163"/>
                    <a:pt x="8" y="167"/>
                  </a:cubicBezTo>
                  <a:cubicBezTo>
                    <a:pt x="13" y="171"/>
                    <a:pt x="16" y="173"/>
                    <a:pt x="18" y="177"/>
                  </a:cubicBezTo>
                  <a:cubicBezTo>
                    <a:pt x="19" y="181"/>
                    <a:pt x="21" y="185"/>
                    <a:pt x="22" y="186"/>
                  </a:cubicBezTo>
                  <a:cubicBezTo>
                    <a:pt x="23" y="187"/>
                    <a:pt x="26" y="187"/>
                    <a:pt x="28" y="184"/>
                  </a:cubicBezTo>
                  <a:cubicBezTo>
                    <a:pt x="31" y="180"/>
                    <a:pt x="33" y="187"/>
                    <a:pt x="36" y="184"/>
                  </a:cubicBezTo>
                  <a:cubicBezTo>
                    <a:pt x="38" y="181"/>
                    <a:pt x="46" y="181"/>
                    <a:pt x="48" y="180"/>
                  </a:cubicBezTo>
                  <a:cubicBezTo>
                    <a:pt x="50" y="179"/>
                    <a:pt x="56" y="176"/>
                    <a:pt x="58" y="175"/>
                  </a:cubicBezTo>
                  <a:cubicBezTo>
                    <a:pt x="60" y="173"/>
                    <a:pt x="56" y="170"/>
                    <a:pt x="59" y="169"/>
                  </a:cubicBezTo>
                  <a:cubicBezTo>
                    <a:pt x="62" y="167"/>
                    <a:pt x="71" y="170"/>
                    <a:pt x="75" y="165"/>
                  </a:cubicBezTo>
                  <a:cubicBezTo>
                    <a:pt x="78" y="161"/>
                    <a:pt x="84" y="156"/>
                    <a:pt x="86" y="154"/>
                  </a:cubicBezTo>
                  <a:cubicBezTo>
                    <a:pt x="87" y="152"/>
                    <a:pt x="86" y="151"/>
                    <a:pt x="88" y="149"/>
                  </a:cubicBezTo>
                  <a:cubicBezTo>
                    <a:pt x="90" y="146"/>
                    <a:pt x="95" y="144"/>
                    <a:pt x="97" y="145"/>
                  </a:cubicBezTo>
                  <a:cubicBezTo>
                    <a:pt x="98" y="145"/>
                    <a:pt x="99" y="145"/>
                    <a:pt x="99" y="145"/>
                  </a:cubicBezTo>
                  <a:cubicBezTo>
                    <a:pt x="99" y="145"/>
                    <a:pt x="99" y="145"/>
                    <a:pt x="99" y="145"/>
                  </a:cubicBezTo>
                  <a:cubicBezTo>
                    <a:pt x="100" y="140"/>
                    <a:pt x="100" y="140"/>
                    <a:pt x="100" y="140"/>
                  </a:cubicBezTo>
                  <a:cubicBezTo>
                    <a:pt x="100" y="140"/>
                    <a:pt x="95" y="137"/>
                    <a:pt x="95" y="133"/>
                  </a:cubicBezTo>
                  <a:cubicBezTo>
                    <a:pt x="95" y="129"/>
                    <a:pt x="96" y="125"/>
                    <a:pt x="93" y="125"/>
                  </a:cubicBezTo>
                  <a:cubicBezTo>
                    <a:pt x="89" y="125"/>
                    <a:pt x="89" y="121"/>
                    <a:pt x="91" y="118"/>
                  </a:cubicBezTo>
                  <a:cubicBezTo>
                    <a:pt x="94" y="116"/>
                    <a:pt x="87" y="110"/>
                    <a:pt x="92" y="110"/>
                  </a:cubicBezTo>
                  <a:cubicBezTo>
                    <a:pt x="97" y="110"/>
                    <a:pt x="93" y="102"/>
                    <a:pt x="97" y="102"/>
                  </a:cubicBezTo>
                  <a:cubicBezTo>
                    <a:pt x="100" y="101"/>
                    <a:pt x="101" y="98"/>
                    <a:pt x="101" y="95"/>
                  </a:cubicBezTo>
                  <a:cubicBezTo>
                    <a:pt x="101" y="91"/>
                    <a:pt x="109" y="89"/>
                    <a:pt x="111" y="89"/>
                  </a:cubicBezTo>
                  <a:cubicBezTo>
                    <a:pt x="113" y="88"/>
                    <a:pt x="112" y="77"/>
                    <a:pt x="112" y="77"/>
                  </a:cubicBezTo>
                  <a:lnTo>
                    <a:pt x="112" y="46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925246" y="3319006"/>
              <a:ext cx="282407" cy="280511"/>
            </a:xfrm>
            <a:custGeom>
              <a:avLst/>
              <a:gdLst/>
              <a:ahLst/>
              <a:cxnLst>
                <a:cxn ang="0">
                  <a:pos x="115" y="27"/>
                </a:cxn>
                <a:cxn ang="0">
                  <a:pos x="107" y="7"/>
                </a:cxn>
                <a:cxn ang="0">
                  <a:pos x="106" y="9"/>
                </a:cxn>
                <a:cxn ang="0">
                  <a:pos x="94" y="8"/>
                </a:cxn>
                <a:cxn ang="0">
                  <a:pos x="80" y="5"/>
                </a:cxn>
                <a:cxn ang="0">
                  <a:pos x="56" y="9"/>
                </a:cxn>
                <a:cxn ang="0">
                  <a:pos x="44" y="10"/>
                </a:cxn>
                <a:cxn ang="0">
                  <a:pos x="23" y="4"/>
                </a:cxn>
                <a:cxn ang="0">
                  <a:pos x="6" y="0"/>
                </a:cxn>
                <a:cxn ang="0">
                  <a:pos x="5" y="3"/>
                </a:cxn>
                <a:cxn ang="0">
                  <a:pos x="4" y="17"/>
                </a:cxn>
                <a:cxn ang="0">
                  <a:pos x="4" y="33"/>
                </a:cxn>
                <a:cxn ang="0">
                  <a:pos x="4" y="120"/>
                </a:cxn>
                <a:cxn ang="0">
                  <a:pos x="72" y="120"/>
                </a:cxn>
                <a:cxn ang="0">
                  <a:pos x="76" y="118"/>
                </a:cxn>
                <a:cxn ang="0">
                  <a:pos x="82" y="120"/>
                </a:cxn>
                <a:cxn ang="0">
                  <a:pos x="96" y="120"/>
                </a:cxn>
                <a:cxn ang="0">
                  <a:pos x="102" y="123"/>
                </a:cxn>
                <a:cxn ang="0">
                  <a:pos x="109" y="118"/>
                </a:cxn>
                <a:cxn ang="0">
                  <a:pos x="116" y="110"/>
                </a:cxn>
                <a:cxn ang="0">
                  <a:pos x="122" y="106"/>
                </a:cxn>
                <a:cxn ang="0">
                  <a:pos x="123" y="105"/>
                </a:cxn>
                <a:cxn ang="0">
                  <a:pos x="123" y="101"/>
                </a:cxn>
                <a:cxn ang="0">
                  <a:pos x="118" y="88"/>
                </a:cxn>
                <a:cxn ang="0">
                  <a:pos x="106" y="65"/>
                </a:cxn>
                <a:cxn ang="0">
                  <a:pos x="100" y="54"/>
                </a:cxn>
                <a:cxn ang="0">
                  <a:pos x="93" y="41"/>
                </a:cxn>
                <a:cxn ang="0">
                  <a:pos x="87" y="20"/>
                </a:cxn>
                <a:cxn ang="0">
                  <a:pos x="95" y="35"/>
                </a:cxn>
                <a:cxn ang="0">
                  <a:pos x="106" y="50"/>
                </a:cxn>
                <a:cxn ang="0">
                  <a:pos x="113" y="34"/>
                </a:cxn>
                <a:cxn ang="0">
                  <a:pos x="113" y="34"/>
                </a:cxn>
                <a:cxn ang="0">
                  <a:pos x="114" y="31"/>
                </a:cxn>
                <a:cxn ang="0">
                  <a:pos x="115" y="27"/>
                </a:cxn>
              </a:cxnLst>
              <a:rect l="0" t="0" r="r" b="b"/>
              <a:pathLst>
                <a:path w="124" h="123">
                  <a:moveTo>
                    <a:pt x="115" y="27"/>
                  </a:moveTo>
                  <a:cubicBezTo>
                    <a:pt x="107" y="7"/>
                    <a:pt x="107" y="7"/>
                    <a:pt x="107" y="7"/>
                  </a:cubicBezTo>
                  <a:cubicBezTo>
                    <a:pt x="107" y="8"/>
                    <a:pt x="106" y="8"/>
                    <a:pt x="106" y="9"/>
                  </a:cubicBezTo>
                  <a:cubicBezTo>
                    <a:pt x="105" y="10"/>
                    <a:pt x="99" y="7"/>
                    <a:pt x="94" y="8"/>
                  </a:cubicBezTo>
                  <a:cubicBezTo>
                    <a:pt x="89" y="9"/>
                    <a:pt x="85" y="7"/>
                    <a:pt x="80" y="5"/>
                  </a:cubicBezTo>
                  <a:cubicBezTo>
                    <a:pt x="75" y="2"/>
                    <a:pt x="59" y="6"/>
                    <a:pt x="56" y="9"/>
                  </a:cubicBezTo>
                  <a:cubicBezTo>
                    <a:pt x="54" y="12"/>
                    <a:pt x="49" y="12"/>
                    <a:pt x="44" y="10"/>
                  </a:cubicBezTo>
                  <a:cubicBezTo>
                    <a:pt x="39" y="8"/>
                    <a:pt x="32" y="5"/>
                    <a:pt x="23" y="4"/>
                  </a:cubicBezTo>
                  <a:cubicBezTo>
                    <a:pt x="14" y="3"/>
                    <a:pt x="8" y="2"/>
                    <a:pt x="6" y="0"/>
                  </a:cubicBezTo>
                  <a:cubicBezTo>
                    <a:pt x="6" y="1"/>
                    <a:pt x="5" y="2"/>
                    <a:pt x="5" y="3"/>
                  </a:cubicBezTo>
                  <a:cubicBezTo>
                    <a:pt x="2" y="10"/>
                    <a:pt x="7" y="12"/>
                    <a:pt x="4" y="17"/>
                  </a:cubicBezTo>
                  <a:cubicBezTo>
                    <a:pt x="0" y="21"/>
                    <a:pt x="4" y="26"/>
                    <a:pt x="4" y="33"/>
                  </a:cubicBezTo>
                  <a:cubicBezTo>
                    <a:pt x="4" y="39"/>
                    <a:pt x="4" y="89"/>
                    <a:pt x="4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20"/>
                    <a:pt x="74" y="119"/>
                    <a:pt x="76" y="118"/>
                  </a:cubicBezTo>
                  <a:cubicBezTo>
                    <a:pt x="78" y="116"/>
                    <a:pt x="82" y="120"/>
                    <a:pt x="82" y="120"/>
                  </a:cubicBezTo>
                  <a:cubicBezTo>
                    <a:pt x="96" y="120"/>
                    <a:pt x="96" y="120"/>
                    <a:pt x="96" y="120"/>
                  </a:cubicBezTo>
                  <a:cubicBezTo>
                    <a:pt x="96" y="120"/>
                    <a:pt x="99" y="123"/>
                    <a:pt x="102" y="123"/>
                  </a:cubicBezTo>
                  <a:cubicBezTo>
                    <a:pt x="106" y="123"/>
                    <a:pt x="104" y="118"/>
                    <a:pt x="109" y="118"/>
                  </a:cubicBezTo>
                  <a:cubicBezTo>
                    <a:pt x="114" y="118"/>
                    <a:pt x="113" y="110"/>
                    <a:pt x="116" y="110"/>
                  </a:cubicBezTo>
                  <a:cubicBezTo>
                    <a:pt x="120" y="110"/>
                    <a:pt x="119" y="110"/>
                    <a:pt x="122" y="106"/>
                  </a:cubicBezTo>
                  <a:cubicBezTo>
                    <a:pt x="122" y="105"/>
                    <a:pt x="123" y="105"/>
                    <a:pt x="123" y="105"/>
                  </a:cubicBezTo>
                  <a:cubicBezTo>
                    <a:pt x="122" y="104"/>
                    <a:pt x="122" y="102"/>
                    <a:pt x="123" y="101"/>
                  </a:cubicBezTo>
                  <a:cubicBezTo>
                    <a:pt x="124" y="95"/>
                    <a:pt x="120" y="96"/>
                    <a:pt x="118" y="88"/>
                  </a:cubicBezTo>
                  <a:cubicBezTo>
                    <a:pt x="115" y="81"/>
                    <a:pt x="106" y="69"/>
                    <a:pt x="106" y="65"/>
                  </a:cubicBezTo>
                  <a:cubicBezTo>
                    <a:pt x="105" y="61"/>
                    <a:pt x="100" y="58"/>
                    <a:pt x="100" y="54"/>
                  </a:cubicBezTo>
                  <a:cubicBezTo>
                    <a:pt x="100" y="49"/>
                    <a:pt x="98" y="48"/>
                    <a:pt x="93" y="41"/>
                  </a:cubicBezTo>
                  <a:cubicBezTo>
                    <a:pt x="87" y="34"/>
                    <a:pt x="86" y="21"/>
                    <a:pt x="87" y="20"/>
                  </a:cubicBezTo>
                  <a:cubicBezTo>
                    <a:pt x="89" y="20"/>
                    <a:pt x="93" y="31"/>
                    <a:pt x="95" y="35"/>
                  </a:cubicBezTo>
                  <a:cubicBezTo>
                    <a:pt x="97" y="39"/>
                    <a:pt x="102" y="50"/>
                    <a:pt x="106" y="50"/>
                  </a:cubicBezTo>
                  <a:cubicBezTo>
                    <a:pt x="110" y="50"/>
                    <a:pt x="112" y="33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4" y="31"/>
                    <a:pt x="114" y="31"/>
                    <a:pt x="114" y="31"/>
                  </a:cubicBezTo>
                  <a:lnTo>
                    <a:pt x="115" y="27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31014" y="4115051"/>
              <a:ext cx="145942" cy="161105"/>
            </a:xfrm>
            <a:custGeom>
              <a:avLst/>
              <a:gdLst/>
              <a:ahLst/>
              <a:cxnLst>
                <a:cxn ang="0">
                  <a:pos x="32" y="67"/>
                </a:cxn>
                <a:cxn ang="0">
                  <a:pos x="34" y="58"/>
                </a:cxn>
                <a:cxn ang="0">
                  <a:pos x="41" y="53"/>
                </a:cxn>
                <a:cxn ang="0">
                  <a:pos x="45" y="47"/>
                </a:cxn>
                <a:cxn ang="0">
                  <a:pos x="52" y="54"/>
                </a:cxn>
                <a:cxn ang="0">
                  <a:pos x="60" y="56"/>
                </a:cxn>
                <a:cxn ang="0">
                  <a:pos x="64" y="42"/>
                </a:cxn>
                <a:cxn ang="0">
                  <a:pos x="61" y="30"/>
                </a:cxn>
                <a:cxn ang="0">
                  <a:pos x="59" y="21"/>
                </a:cxn>
                <a:cxn ang="0">
                  <a:pos x="60" y="12"/>
                </a:cxn>
                <a:cxn ang="0">
                  <a:pos x="49" y="12"/>
                </a:cxn>
                <a:cxn ang="0">
                  <a:pos x="50" y="1"/>
                </a:cxn>
                <a:cxn ang="0">
                  <a:pos x="33" y="0"/>
                </a:cxn>
                <a:cxn ang="0">
                  <a:pos x="31" y="1"/>
                </a:cxn>
                <a:cxn ang="0">
                  <a:pos x="31" y="15"/>
                </a:cxn>
                <a:cxn ang="0">
                  <a:pos x="15" y="16"/>
                </a:cxn>
                <a:cxn ang="0">
                  <a:pos x="10" y="16"/>
                </a:cxn>
                <a:cxn ang="0">
                  <a:pos x="8" y="19"/>
                </a:cxn>
                <a:cxn ang="0">
                  <a:pos x="13" y="25"/>
                </a:cxn>
                <a:cxn ang="0">
                  <a:pos x="7" y="29"/>
                </a:cxn>
                <a:cxn ang="0">
                  <a:pos x="2" y="36"/>
                </a:cxn>
                <a:cxn ang="0">
                  <a:pos x="8" y="46"/>
                </a:cxn>
                <a:cxn ang="0">
                  <a:pos x="16" y="57"/>
                </a:cxn>
                <a:cxn ang="0">
                  <a:pos x="27" y="71"/>
                </a:cxn>
                <a:cxn ang="0">
                  <a:pos x="32" y="67"/>
                </a:cxn>
              </a:cxnLst>
              <a:rect l="0" t="0" r="r" b="b"/>
              <a:pathLst>
                <a:path w="64" h="71">
                  <a:moveTo>
                    <a:pt x="32" y="67"/>
                  </a:moveTo>
                  <a:cubicBezTo>
                    <a:pt x="38" y="67"/>
                    <a:pt x="36" y="64"/>
                    <a:pt x="34" y="58"/>
                  </a:cubicBezTo>
                  <a:cubicBezTo>
                    <a:pt x="32" y="53"/>
                    <a:pt x="37" y="53"/>
                    <a:pt x="41" y="53"/>
                  </a:cubicBezTo>
                  <a:cubicBezTo>
                    <a:pt x="44" y="53"/>
                    <a:pt x="43" y="47"/>
                    <a:pt x="45" y="47"/>
                  </a:cubicBezTo>
                  <a:cubicBezTo>
                    <a:pt x="48" y="47"/>
                    <a:pt x="49" y="55"/>
                    <a:pt x="52" y="54"/>
                  </a:cubicBezTo>
                  <a:cubicBezTo>
                    <a:pt x="55" y="53"/>
                    <a:pt x="57" y="56"/>
                    <a:pt x="60" y="56"/>
                  </a:cubicBezTo>
                  <a:cubicBezTo>
                    <a:pt x="64" y="55"/>
                    <a:pt x="64" y="48"/>
                    <a:pt x="64" y="42"/>
                  </a:cubicBezTo>
                  <a:cubicBezTo>
                    <a:pt x="64" y="37"/>
                    <a:pt x="64" y="33"/>
                    <a:pt x="61" y="30"/>
                  </a:cubicBezTo>
                  <a:cubicBezTo>
                    <a:pt x="57" y="28"/>
                    <a:pt x="55" y="23"/>
                    <a:pt x="59" y="21"/>
                  </a:cubicBezTo>
                  <a:cubicBezTo>
                    <a:pt x="63" y="19"/>
                    <a:pt x="64" y="15"/>
                    <a:pt x="60" y="12"/>
                  </a:cubicBezTo>
                  <a:cubicBezTo>
                    <a:pt x="57" y="10"/>
                    <a:pt x="49" y="15"/>
                    <a:pt x="49" y="12"/>
                  </a:cubicBezTo>
                  <a:cubicBezTo>
                    <a:pt x="49" y="11"/>
                    <a:pt x="50" y="5"/>
                    <a:pt x="50" y="1"/>
                  </a:cubicBezTo>
                  <a:cubicBezTo>
                    <a:pt x="42" y="0"/>
                    <a:pt x="33" y="0"/>
                    <a:pt x="33" y="0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9"/>
                    <a:pt x="31" y="15"/>
                    <a:pt x="31" y="15"/>
                  </a:cubicBezTo>
                  <a:cubicBezTo>
                    <a:pt x="31" y="15"/>
                    <a:pt x="18" y="16"/>
                    <a:pt x="15" y="16"/>
                  </a:cubicBezTo>
                  <a:cubicBezTo>
                    <a:pt x="15" y="16"/>
                    <a:pt x="13" y="16"/>
                    <a:pt x="10" y="16"/>
                  </a:cubicBezTo>
                  <a:cubicBezTo>
                    <a:pt x="10" y="17"/>
                    <a:pt x="9" y="18"/>
                    <a:pt x="8" y="19"/>
                  </a:cubicBezTo>
                  <a:cubicBezTo>
                    <a:pt x="7" y="20"/>
                    <a:pt x="12" y="22"/>
                    <a:pt x="13" y="25"/>
                  </a:cubicBezTo>
                  <a:cubicBezTo>
                    <a:pt x="14" y="27"/>
                    <a:pt x="6" y="26"/>
                    <a:pt x="7" y="29"/>
                  </a:cubicBezTo>
                  <a:cubicBezTo>
                    <a:pt x="7" y="32"/>
                    <a:pt x="4" y="35"/>
                    <a:pt x="2" y="36"/>
                  </a:cubicBezTo>
                  <a:cubicBezTo>
                    <a:pt x="0" y="38"/>
                    <a:pt x="7" y="44"/>
                    <a:pt x="8" y="46"/>
                  </a:cubicBezTo>
                  <a:cubicBezTo>
                    <a:pt x="8" y="49"/>
                    <a:pt x="9" y="51"/>
                    <a:pt x="16" y="57"/>
                  </a:cubicBezTo>
                  <a:cubicBezTo>
                    <a:pt x="22" y="63"/>
                    <a:pt x="19" y="64"/>
                    <a:pt x="27" y="71"/>
                  </a:cubicBezTo>
                  <a:cubicBezTo>
                    <a:pt x="28" y="69"/>
                    <a:pt x="30" y="67"/>
                    <a:pt x="32" y="6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46176" y="4116947"/>
              <a:ext cx="56860" cy="34116"/>
            </a:xfrm>
            <a:custGeom>
              <a:avLst/>
              <a:gdLst/>
              <a:ahLst/>
              <a:cxnLst>
                <a:cxn ang="0">
                  <a:pos x="24" y="14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6" y="0"/>
                </a:cxn>
                <a:cxn ang="0">
                  <a:pos x="6" y="1"/>
                </a:cxn>
                <a:cxn ang="0">
                  <a:pos x="3" y="8"/>
                </a:cxn>
                <a:cxn ang="0">
                  <a:pos x="3" y="13"/>
                </a:cxn>
                <a:cxn ang="0">
                  <a:pos x="3" y="15"/>
                </a:cxn>
                <a:cxn ang="0">
                  <a:pos x="8" y="15"/>
                </a:cxn>
                <a:cxn ang="0">
                  <a:pos x="24" y="14"/>
                </a:cxn>
              </a:cxnLst>
              <a:rect l="0" t="0" r="r" b="b"/>
              <a:pathLst>
                <a:path w="25" h="15">
                  <a:moveTo>
                    <a:pt x="24" y="14"/>
                  </a:moveTo>
                  <a:cubicBezTo>
                    <a:pt x="24" y="14"/>
                    <a:pt x="25" y="8"/>
                    <a:pt x="2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8" y="3"/>
                    <a:pt x="7" y="7"/>
                    <a:pt x="3" y="8"/>
                  </a:cubicBezTo>
                  <a:cubicBezTo>
                    <a:pt x="0" y="9"/>
                    <a:pt x="0" y="12"/>
                    <a:pt x="3" y="13"/>
                  </a:cubicBezTo>
                  <a:cubicBezTo>
                    <a:pt x="5" y="13"/>
                    <a:pt x="4" y="14"/>
                    <a:pt x="3" y="15"/>
                  </a:cubicBezTo>
                  <a:cubicBezTo>
                    <a:pt x="6" y="15"/>
                    <a:pt x="8" y="15"/>
                    <a:pt x="8" y="15"/>
                  </a:cubicBezTo>
                  <a:cubicBezTo>
                    <a:pt x="11" y="15"/>
                    <a:pt x="24" y="14"/>
                    <a:pt x="24" y="1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91665" y="4077144"/>
              <a:ext cx="183849" cy="225547"/>
            </a:xfrm>
            <a:custGeom>
              <a:avLst/>
              <a:gdLst/>
              <a:ahLst/>
              <a:cxnLst>
                <a:cxn ang="0">
                  <a:pos x="21" y="94"/>
                </a:cxn>
                <a:cxn ang="0">
                  <a:pos x="29" y="95"/>
                </a:cxn>
                <a:cxn ang="0">
                  <a:pos x="38" y="95"/>
                </a:cxn>
                <a:cxn ang="0">
                  <a:pos x="43" y="95"/>
                </a:cxn>
                <a:cxn ang="0">
                  <a:pos x="50" y="88"/>
                </a:cxn>
                <a:cxn ang="0">
                  <a:pos x="54" y="80"/>
                </a:cxn>
                <a:cxn ang="0">
                  <a:pos x="55" y="61"/>
                </a:cxn>
                <a:cxn ang="0">
                  <a:pos x="64" y="49"/>
                </a:cxn>
                <a:cxn ang="0">
                  <a:pos x="73" y="25"/>
                </a:cxn>
                <a:cxn ang="0">
                  <a:pos x="77" y="13"/>
                </a:cxn>
                <a:cxn ang="0">
                  <a:pos x="79" y="1"/>
                </a:cxn>
                <a:cxn ang="0">
                  <a:pos x="79" y="1"/>
                </a:cxn>
                <a:cxn ang="0">
                  <a:pos x="69" y="0"/>
                </a:cxn>
                <a:cxn ang="0">
                  <a:pos x="64" y="1"/>
                </a:cxn>
                <a:cxn ang="0">
                  <a:pos x="58" y="3"/>
                </a:cxn>
                <a:cxn ang="0">
                  <a:pos x="56" y="11"/>
                </a:cxn>
                <a:cxn ang="0">
                  <a:pos x="52" y="22"/>
                </a:cxn>
                <a:cxn ang="0">
                  <a:pos x="36" y="17"/>
                </a:cxn>
                <a:cxn ang="0">
                  <a:pos x="23" y="17"/>
                </a:cxn>
                <a:cxn ang="0">
                  <a:pos x="22" y="28"/>
                </a:cxn>
                <a:cxn ang="0">
                  <a:pos x="33" y="28"/>
                </a:cxn>
                <a:cxn ang="0">
                  <a:pos x="32" y="37"/>
                </a:cxn>
                <a:cxn ang="0">
                  <a:pos x="34" y="46"/>
                </a:cxn>
                <a:cxn ang="0">
                  <a:pos x="37" y="58"/>
                </a:cxn>
                <a:cxn ang="0">
                  <a:pos x="33" y="72"/>
                </a:cxn>
                <a:cxn ang="0">
                  <a:pos x="25" y="70"/>
                </a:cxn>
                <a:cxn ang="0">
                  <a:pos x="18" y="63"/>
                </a:cxn>
                <a:cxn ang="0">
                  <a:pos x="14" y="69"/>
                </a:cxn>
                <a:cxn ang="0">
                  <a:pos x="7" y="74"/>
                </a:cxn>
                <a:cxn ang="0">
                  <a:pos x="5" y="83"/>
                </a:cxn>
                <a:cxn ang="0">
                  <a:pos x="0" y="87"/>
                </a:cxn>
                <a:cxn ang="0">
                  <a:pos x="1" y="88"/>
                </a:cxn>
                <a:cxn ang="0">
                  <a:pos x="11" y="99"/>
                </a:cxn>
                <a:cxn ang="0">
                  <a:pos x="21" y="94"/>
                </a:cxn>
              </a:cxnLst>
              <a:rect l="0" t="0" r="r" b="b"/>
              <a:pathLst>
                <a:path w="80" h="99">
                  <a:moveTo>
                    <a:pt x="21" y="94"/>
                  </a:moveTo>
                  <a:cubicBezTo>
                    <a:pt x="23" y="95"/>
                    <a:pt x="25" y="98"/>
                    <a:pt x="29" y="95"/>
                  </a:cubicBezTo>
                  <a:cubicBezTo>
                    <a:pt x="33" y="91"/>
                    <a:pt x="38" y="92"/>
                    <a:pt x="38" y="95"/>
                  </a:cubicBezTo>
                  <a:cubicBezTo>
                    <a:pt x="38" y="99"/>
                    <a:pt x="39" y="98"/>
                    <a:pt x="43" y="95"/>
                  </a:cubicBezTo>
                  <a:cubicBezTo>
                    <a:pt x="46" y="91"/>
                    <a:pt x="50" y="95"/>
                    <a:pt x="50" y="88"/>
                  </a:cubicBezTo>
                  <a:cubicBezTo>
                    <a:pt x="50" y="81"/>
                    <a:pt x="54" y="88"/>
                    <a:pt x="54" y="80"/>
                  </a:cubicBezTo>
                  <a:cubicBezTo>
                    <a:pt x="54" y="72"/>
                    <a:pt x="55" y="65"/>
                    <a:pt x="55" y="61"/>
                  </a:cubicBezTo>
                  <a:cubicBezTo>
                    <a:pt x="55" y="58"/>
                    <a:pt x="64" y="54"/>
                    <a:pt x="64" y="49"/>
                  </a:cubicBezTo>
                  <a:cubicBezTo>
                    <a:pt x="64" y="43"/>
                    <a:pt x="73" y="32"/>
                    <a:pt x="73" y="25"/>
                  </a:cubicBezTo>
                  <a:cubicBezTo>
                    <a:pt x="73" y="18"/>
                    <a:pt x="75" y="16"/>
                    <a:pt x="77" y="13"/>
                  </a:cubicBezTo>
                  <a:cubicBezTo>
                    <a:pt x="78" y="11"/>
                    <a:pt x="80" y="6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9" y="8"/>
                    <a:pt x="56" y="11"/>
                  </a:cubicBezTo>
                  <a:cubicBezTo>
                    <a:pt x="53" y="15"/>
                    <a:pt x="52" y="22"/>
                    <a:pt x="52" y="22"/>
                  </a:cubicBezTo>
                  <a:cubicBezTo>
                    <a:pt x="52" y="22"/>
                    <a:pt x="40" y="16"/>
                    <a:pt x="36" y="17"/>
                  </a:cubicBezTo>
                  <a:cubicBezTo>
                    <a:pt x="35" y="17"/>
                    <a:pt x="29" y="17"/>
                    <a:pt x="23" y="17"/>
                  </a:cubicBezTo>
                  <a:cubicBezTo>
                    <a:pt x="23" y="21"/>
                    <a:pt x="22" y="27"/>
                    <a:pt x="22" y="28"/>
                  </a:cubicBezTo>
                  <a:cubicBezTo>
                    <a:pt x="22" y="31"/>
                    <a:pt x="30" y="26"/>
                    <a:pt x="33" y="28"/>
                  </a:cubicBezTo>
                  <a:cubicBezTo>
                    <a:pt x="37" y="31"/>
                    <a:pt x="36" y="35"/>
                    <a:pt x="32" y="37"/>
                  </a:cubicBezTo>
                  <a:cubicBezTo>
                    <a:pt x="28" y="39"/>
                    <a:pt x="30" y="44"/>
                    <a:pt x="34" y="46"/>
                  </a:cubicBezTo>
                  <a:cubicBezTo>
                    <a:pt x="37" y="49"/>
                    <a:pt x="37" y="53"/>
                    <a:pt x="37" y="58"/>
                  </a:cubicBezTo>
                  <a:cubicBezTo>
                    <a:pt x="37" y="64"/>
                    <a:pt x="37" y="71"/>
                    <a:pt x="33" y="72"/>
                  </a:cubicBezTo>
                  <a:cubicBezTo>
                    <a:pt x="30" y="72"/>
                    <a:pt x="28" y="69"/>
                    <a:pt x="25" y="70"/>
                  </a:cubicBezTo>
                  <a:cubicBezTo>
                    <a:pt x="22" y="71"/>
                    <a:pt x="21" y="63"/>
                    <a:pt x="18" y="63"/>
                  </a:cubicBezTo>
                  <a:cubicBezTo>
                    <a:pt x="16" y="63"/>
                    <a:pt x="17" y="69"/>
                    <a:pt x="14" y="69"/>
                  </a:cubicBezTo>
                  <a:cubicBezTo>
                    <a:pt x="10" y="69"/>
                    <a:pt x="5" y="69"/>
                    <a:pt x="7" y="74"/>
                  </a:cubicBezTo>
                  <a:cubicBezTo>
                    <a:pt x="9" y="80"/>
                    <a:pt x="11" y="83"/>
                    <a:pt x="5" y="83"/>
                  </a:cubicBezTo>
                  <a:cubicBezTo>
                    <a:pt x="3" y="83"/>
                    <a:pt x="1" y="85"/>
                    <a:pt x="0" y="87"/>
                  </a:cubicBezTo>
                  <a:cubicBezTo>
                    <a:pt x="0" y="87"/>
                    <a:pt x="1" y="87"/>
                    <a:pt x="1" y="88"/>
                  </a:cubicBezTo>
                  <a:cubicBezTo>
                    <a:pt x="6" y="91"/>
                    <a:pt x="9" y="95"/>
                    <a:pt x="11" y="99"/>
                  </a:cubicBezTo>
                  <a:cubicBezTo>
                    <a:pt x="15" y="96"/>
                    <a:pt x="20" y="93"/>
                    <a:pt x="21" y="9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51327" y="3557819"/>
              <a:ext cx="428348" cy="526906"/>
            </a:xfrm>
            <a:custGeom>
              <a:avLst/>
              <a:gdLst/>
              <a:ahLst/>
              <a:cxnLst>
                <a:cxn ang="0">
                  <a:pos x="141" y="13"/>
                </a:cxn>
                <a:cxn ang="0">
                  <a:pos x="128" y="15"/>
                </a:cxn>
                <a:cxn ang="0">
                  <a:pos x="108" y="13"/>
                </a:cxn>
                <a:cxn ang="0">
                  <a:pos x="36" y="15"/>
                </a:cxn>
                <a:cxn ang="0">
                  <a:pos x="25" y="39"/>
                </a:cxn>
                <a:cxn ang="0">
                  <a:pos x="24" y="88"/>
                </a:cxn>
                <a:cxn ang="0">
                  <a:pos x="10" y="101"/>
                </a:cxn>
                <a:cxn ang="0">
                  <a:pos x="4" y="117"/>
                </a:cxn>
                <a:cxn ang="0">
                  <a:pos x="8" y="132"/>
                </a:cxn>
                <a:cxn ang="0">
                  <a:pos x="12" y="144"/>
                </a:cxn>
                <a:cxn ang="0">
                  <a:pos x="21" y="165"/>
                </a:cxn>
                <a:cxn ang="0">
                  <a:pos x="24" y="170"/>
                </a:cxn>
                <a:cxn ang="0">
                  <a:pos x="35" y="177"/>
                </a:cxn>
                <a:cxn ang="0">
                  <a:pos x="47" y="190"/>
                </a:cxn>
                <a:cxn ang="0">
                  <a:pos x="59" y="204"/>
                </a:cxn>
                <a:cxn ang="0">
                  <a:pos x="64" y="213"/>
                </a:cxn>
                <a:cxn ang="0">
                  <a:pos x="76" y="219"/>
                </a:cxn>
                <a:cxn ang="0">
                  <a:pos x="88" y="218"/>
                </a:cxn>
                <a:cxn ang="0">
                  <a:pos x="109" y="227"/>
                </a:cxn>
                <a:cxn ang="0">
                  <a:pos x="124" y="226"/>
                </a:cxn>
                <a:cxn ang="0">
                  <a:pos x="135" y="222"/>
                </a:cxn>
                <a:cxn ang="0">
                  <a:pos x="146" y="214"/>
                </a:cxn>
                <a:cxn ang="0">
                  <a:pos x="155" y="217"/>
                </a:cxn>
                <a:cxn ang="0">
                  <a:pos x="145" y="198"/>
                </a:cxn>
                <a:cxn ang="0">
                  <a:pos x="125" y="180"/>
                </a:cxn>
                <a:cxn ang="0">
                  <a:pos x="136" y="172"/>
                </a:cxn>
                <a:cxn ang="0">
                  <a:pos x="141" y="149"/>
                </a:cxn>
                <a:cxn ang="0">
                  <a:pos x="149" y="133"/>
                </a:cxn>
                <a:cxn ang="0">
                  <a:pos x="161" y="119"/>
                </a:cxn>
                <a:cxn ang="0">
                  <a:pos x="166" y="90"/>
                </a:cxn>
                <a:cxn ang="0">
                  <a:pos x="176" y="73"/>
                </a:cxn>
                <a:cxn ang="0">
                  <a:pos x="180" y="57"/>
                </a:cxn>
                <a:cxn ang="0">
                  <a:pos x="171" y="20"/>
                </a:cxn>
                <a:cxn ang="0">
                  <a:pos x="155" y="0"/>
                </a:cxn>
                <a:cxn ang="0">
                  <a:pos x="148" y="5"/>
                </a:cxn>
              </a:cxnLst>
              <a:rect l="0" t="0" r="r" b="b"/>
              <a:pathLst>
                <a:path w="187" h="231">
                  <a:moveTo>
                    <a:pt x="148" y="5"/>
                  </a:moveTo>
                  <a:cubicBezTo>
                    <a:pt x="145" y="5"/>
                    <a:pt x="146" y="13"/>
                    <a:pt x="141" y="13"/>
                  </a:cubicBezTo>
                  <a:cubicBezTo>
                    <a:pt x="136" y="13"/>
                    <a:pt x="138" y="18"/>
                    <a:pt x="134" y="18"/>
                  </a:cubicBezTo>
                  <a:cubicBezTo>
                    <a:pt x="131" y="18"/>
                    <a:pt x="128" y="15"/>
                    <a:pt x="128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5"/>
                    <a:pt x="110" y="11"/>
                    <a:pt x="108" y="13"/>
                  </a:cubicBezTo>
                  <a:cubicBezTo>
                    <a:pt x="106" y="14"/>
                    <a:pt x="104" y="15"/>
                    <a:pt x="104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29"/>
                    <a:pt x="36" y="39"/>
                    <a:pt x="36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26" y="87"/>
                    <a:pt x="24" y="88"/>
                  </a:cubicBezTo>
                  <a:cubicBezTo>
                    <a:pt x="22" y="88"/>
                    <a:pt x="14" y="90"/>
                    <a:pt x="14" y="94"/>
                  </a:cubicBezTo>
                  <a:cubicBezTo>
                    <a:pt x="14" y="97"/>
                    <a:pt x="13" y="100"/>
                    <a:pt x="10" y="101"/>
                  </a:cubicBezTo>
                  <a:cubicBezTo>
                    <a:pt x="6" y="101"/>
                    <a:pt x="10" y="109"/>
                    <a:pt x="5" y="109"/>
                  </a:cubicBezTo>
                  <a:cubicBezTo>
                    <a:pt x="0" y="109"/>
                    <a:pt x="7" y="115"/>
                    <a:pt x="4" y="117"/>
                  </a:cubicBezTo>
                  <a:cubicBezTo>
                    <a:pt x="2" y="120"/>
                    <a:pt x="2" y="124"/>
                    <a:pt x="6" y="124"/>
                  </a:cubicBezTo>
                  <a:cubicBezTo>
                    <a:pt x="9" y="124"/>
                    <a:pt x="8" y="128"/>
                    <a:pt x="8" y="132"/>
                  </a:cubicBezTo>
                  <a:cubicBezTo>
                    <a:pt x="8" y="136"/>
                    <a:pt x="13" y="139"/>
                    <a:pt x="13" y="139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12" y="144"/>
                    <a:pt x="20" y="153"/>
                    <a:pt x="20" y="155"/>
                  </a:cubicBezTo>
                  <a:cubicBezTo>
                    <a:pt x="21" y="157"/>
                    <a:pt x="25" y="163"/>
                    <a:pt x="21" y="165"/>
                  </a:cubicBezTo>
                  <a:cubicBezTo>
                    <a:pt x="17" y="167"/>
                    <a:pt x="20" y="169"/>
                    <a:pt x="20" y="169"/>
                  </a:cubicBezTo>
                  <a:cubicBezTo>
                    <a:pt x="24" y="170"/>
                    <a:pt x="24" y="170"/>
                    <a:pt x="24" y="170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73"/>
                    <a:pt x="31" y="173"/>
                    <a:pt x="35" y="177"/>
                  </a:cubicBezTo>
                  <a:cubicBezTo>
                    <a:pt x="38" y="181"/>
                    <a:pt x="40" y="182"/>
                    <a:pt x="40" y="184"/>
                  </a:cubicBezTo>
                  <a:cubicBezTo>
                    <a:pt x="40" y="186"/>
                    <a:pt x="43" y="187"/>
                    <a:pt x="47" y="190"/>
                  </a:cubicBezTo>
                  <a:cubicBezTo>
                    <a:pt x="51" y="194"/>
                    <a:pt x="51" y="196"/>
                    <a:pt x="51" y="198"/>
                  </a:cubicBezTo>
                  <a:cubicBezTo>
                    <a:pt x="51" y="200"/>
                    <a:pt x="59" y="204"/>
                    <a:pt x="59" y="204"/>
                  </a:cubicBezTo>
                  <a:cubicBezTo>
                    <a:pt x="61" y="210"/>
                    <a:pt x="61" y="210"/>
                    <a:pt x="61" y="210"/>
                  </a:cubicBezTo>
                  <a:cubicBezTo>
                    <a:pt x="62" y="211"/>
                    <a:pt x="63" y="212"/>
                    <a:pt x="64" y="213"/>
                  </a:cubicBezTo>
                  <a:cubicBezTo>
                    <a:pt x="65" y="217"/>
                    <a:pt x="69" y="219"/>
                    <a:pt x="69" y="219"/>
                  </a:cubicBezTo>
                  <a:cubicBezTo>
                    <a:pt x="69" y="219"/>
                    <a:pt x="73" y="221"/>
                    <a:pt x="76" y="219"/>
                  </a:cubicBezTo>
                  <a:cubicBezTo>
                    <a:pt x="79" y="216"/>
                    <a:pt x="82" y="219"/>
                    <a:pt x="82" y="219"/>
                  </a:cubicBezTo>
                  <a:cubicBezTo>
                    <a:pt x="82" y="219"/>
                    <a:pt x="86" y="217"/>
                    <a:pt x="88" y="218"/>
                  </a:cubicBezTo>
                  <a:cubicBezTo>
                    <a:pt x="89" y="219"/>
                    <a:pt x="95" y="224"/>
                    <a:pt x="101" y="229"/>
                  </a:cubicBezTo>
                  <a:cubicBezTo>
                    <a:pt x="102" y="229"/>
                    <a:pt x="107" y="227"/>
                    <a:pt x="109" y="227"/>
                  </a:cubicBezTo>
                  <a:cubicBezTo>
                    <a:pt x="112" y="226"/>
                    <a:pt x="115" y="231"/>
                    <a:pt x="116" y="229"/>
                  </a:cubicBezTo>
                  <a:cubicBezTo>
                    <a:pt x="117" y="228"/>
                    <a:pt x="122" y="225"/>
                    <a:pt x="124" y="226"/>
                  </a:cubicBezTo>
                  <a:cubicBezTo>
                    <a:pt x="126" y="227"/>
                    <a:pt x="131" y="228"/>
                    <a:pt x="131" y="226"/>
                  </a:cubicBezTo>
                  <a:cubicBezTo>
                    <a:pt x="132" y="225"/>
                    <a:pt x="134" y="223"/>
                    <a:pt x="135" y="222"/>
                  </a:cubicBezTo>
                  <a:cubicBezTo>
                    <a:pt x="136" y="222"/>
                    <a:pt x="136" y="221"/>
                    <a:pt x="137" y="220"/>
                  </a:cubicBezTo>
                  <a:cubicBezTo>
                    <a:pt x="137" y="218"/>
                    <a:pt x="143" y="215"/>
                    <a:pt x="146" y="214"/>
                  </a:cubicBezTo>
                  <a:cubicBezTo>
                    <a:pt x="148" y="214"/>
                    <a:pt x="151" y="214"/>
                    <a:pt x="152" y="215"/>
                  </a:cubicBezTo>
                  <a:cubicBezTo>
                    <a:pt x="153" y="216"/>
                    <a:pt x="154" y="216"/>
                    <a:pt x="155" y="217"/>
                  </a:cubicBezTo>
                  <a:cubicBezTo>
                    <a:pt x="156" y="210"/>
                    <a:pt x="157" y="207"/>
                    <a:pt x="155" y="207"/>
                  </a:cubicBezTo>
                  <a:cubicBezTo>
                    <a:pt x="153" y="207"/>
                    <a:pt x="147" y="204"/>
                    <a:pt x="145" y="198"/>
                  </a:cubicBezTo>
                  <a:cubicBezTo>
                    <a:pt x="143" y="193"/>
                    <a:pt x="137" y="189"/>
                    <a:pt x="135" y="186"/>
                  </a:cubicBezTo>
                  <a:cubicBezTo>
                    <a:pt x="134" y="182"/>
                    <a:pt x="126" y="183"/>
                    <a:pt x="125" y="180"/>
                  </a:cubicBezTo>
                  <a:cubicBezTo>
                    <a:pt x="123" y="178"/>
                    <a:pt x="127" y="178"/>
                    <a:pt x="127" y="174"/>
                  </a:cubicBezTo>
                  <a:cubicBezTo>
                    <a:pt x="127" y="171"/>
                    <a:pt x="135" y="173"/>
                    <a:pt x="136" y="172"/>
                  </a:cubicBezTo>
                  <a:cubicBezTo>
                    <a:pt x="137" y="171"/>
                    <a:pt x="137" y="164"/>
                    <a:pt x="137" y="159"/>
                  </a:cubicBezTo>
                  <a:cubicBezTo>
                    <a:pt x="137" y="155"/>
                    <a:pt x="143" y="151"/>
                    <a:pt x="141" y="149"/>
                  </a:cubicBezTo>
                  <a:cubicBezTo>
                    <a:pt x="139" y="147"/>
                    <a:pt x="143" y="146"/>
                    <a:pt x="146" y="144"/>
                  </a:cubicBezTo>
                  <a:cubicBezTo>
                    <a:pt x="148" y="142"/>
                    <a:pt x="146" y="136"/>
                    <a:pt x="149" y="133"/>
                  </a:cubicBezTo>
                  <a:cubicBezTo>
                    <a:pt x="152" y="130"/>
                    <a:pt x="154" y="125"/>
                    <a:pt x="156" y="125"/>
                  </a:cubicBezTo>
                  <a:cubicBezTo>
                    <a:pt x="158" y="125"/>
                    <a:pt x="161" y="122"/>
                    <a:pt x="161" y="119"/>
                  </a:cubicBezTo>
                  <a:cubicBezTo>
                    <a:pt x="161" y="116"/>
                    <a:pt x="166" y="111"/>
                    <a:pt x="165" y="106"/>
                  </a:cubicBezTo>
                  <a:cubicBezTo>
                    <a:pt x="164" y="101"/>
                    <a:pt x="162" y="95"/>
                    <a:pt x="166" y="90"/>
                  </a:cubicBezTo>
                  <a:cubicBezTo>
                    <a:pt x="169" y="86"/>
                    <a:pt x="171" y="83"/>
                    <a:pt x="170" y="79"/>
                  </a:cubicBezTo>
                  <a:cubicBezTo>
                    <a:pt x="169" y="76"/>
                    <a:pt x="174" y="75"/>
                    <a:pt x="176" y="73"/>
                  </a:cubicBezTo>
                  <a:cubicBezTo>
                    <a:pt x="178" y="72"/>
                    <a:pt x="183" y="69"/>
                    <a:pt x="187" y="63"/>
                  </a:cubicBezTo>
                  <a:cubicBezTo>
                    <a:pt x="184" y="60"/>
                    <a:pt x="182" y="57"/>
                    <a:pt x="180" y="57"/>
                  </a:cubicBezTo>
                  <a:cubicBezTo>
                    <a:pt x="176" y="55"/>
                    <a:pt x="173" y="48"/>
                    <a:pt x="173" y="39"/>
                  </a:cubicBezTo>
                  <a:cubicBezTo>
                    <a:pt x="173" y="30"/>
                    <a:pt x="171" y="23"/>
                    <a:pt x="171" y="20"/>
                  </a:cubicBezTo>
                  <a:cubicBezTo>
                    <a:pt x="171" y="17"/>
                    <a:pt x="166" y="11"/>
                    <a:pt x="161" y="9"/>
                  </a:cubicBezTo>
                  <a:cubicBezTo>
                    <a:pt x="157" y="7"/>
                    <a:pt x="155" y="4"/>
                    <a:pt x="155" y="0"/>
                  </a:cubicBezTo>
                  <a:cubicBezTo>
                    <a:pt x="155" y="0"/>
                    <a:pt x="154" y="0"/>
                    <a:pt x="154" y="1"/>
                  </a:cubicBezTo>
                  <a:cubicBezTo>
                    <a:pt x="151" y="5"/>
                    <a:pt x="152" y="5"/>
                    <a:pt x="148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359279" y="3842121"/>
              <a:ext cx="49279" cy="49279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3" y="10"/>
                </a:cxn>
                <a:cxn ang="0">
                  <a:pos x="2" y="20"/>
                </a:cxn>
                <a:cxn ang="0">
                  <a:pos x="9" y="19"/>
                </a:cxn>
                <a:cxn ang="0">
                  <a:pos x="14" y="21"/>
                </a:cxn>
                <a:cxn ang="0">
                  <a:pos x="19" y="16"/>
                </a:cxn>
                <a:cxn ang="0">
                  <a:pos x="13" y="13"/>
                </a:cxn>
                <a:cxn ang="0">
                  <a:pos x="19" y="8"/>
                </a:cxn>
                <a:cxn ang="0">
                  <a:pos x="18" y="1"/>
                </a:cxn>
                <a:cxn ang="0">
                  <a:pos x="17" y="0"/>
                </a:cxn>
                <a:cxn ang="0">
                  <a:pos x="14" y="2"/>
                </a:cxn>
                <a:cxn ang="0">
                  <a:pos x="8" y="3"/>
                </a:cxn>
              </a:cxnLst>
              <a:rect l="0" t="0" r="r" b="b"/>
              <a:pathLst>
                <a:path w="22" h="21">
                  <a:moveTo>
                    <a:pt x="8" y="3"/>
                  </a:moveTo>
                  <a:cubicBezTo>
                    <a:pt x="8" y="4"/>
                    <a:pt x="5" y="8"/>
                    <a:pt x="3" y="10"/>
                  </a:cubicBezTo>
                  <a:cubicBezTo>
                    <a:pt x="0" y="13"/>
                    <a:pt x="2" y="18"/>
                    <a:pt x="2" y="20"/>
                  </a:cubicBezTo>
                  <a:cubicBezTo>
                    <a:pt x="3" y="21"/>
                    <a:pt x="7" y="21"/>
                    <a:pt x="9" y="19"/>
                  </a:cubicBezTo>
                  <a:cubicBezTo>
                    <a:pt x="10" y="18"/>
                    <a:pt x="12" y="19"/>
                    <a:pt x="14" y="21"/>
                  </a:cubicBezTo>
                  <a:cubicBezTo>
                    <a:pt x="15" y="19"/>
                    <a:pt x="17" y="17"/>
                    <a:pt x="19" y="16"/>
                  </a:cubicBezTo>
                  <a:cubicBezTo>
                    <a:pt x="16" y="14"/>
                    <a:pt x="13" y="14"/>
                    <a:pt x="13" y="13"/>
                  </a:cubicBezTo>
                  <a:cubicBezTo>
                    <a:pt x="12" y="12"/>
                    <a:pt x="16" y="9"/>
                    <a:pt x="19" y="8"/>
                  </a:cubicBezTo>
                  <a:cubicBezTo>
                    <a:pt x="22" y="7"/>
                    <a:pt x="21" y="4"/>
                    <a:pt x="18" y="1"/>
                  </a:cubicBezTo>
                  <a:cubicBezTo>
                    <a:pt x="18" y="1"/>
                    <a:pt x="17" y="0"/>
                    <a:pt x="17" y="0"/>
                  </a:cubicBezTo>
                  <a:cubicBezTo>
                    <a:pt x="15" y="1"/>
                    <a:pt x="14" y="2"/>
                    <a:pt x="14" y="2"/>
                  </a:cubicBezTo>
                  <a:cubicBezTo>
                    <a:pt x="13" y="3"/>
                    <a:pt x="11" y="3"/>
                    <a:pt x="8" y="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222815" y="3701866"/>
              <a:ext cx="174372" cy="147837"/>
            </a:xfrm>
            <a:custGeom>
              <a:avLst/>
              <a:gdLst/>
              <a:ahLst/>
              <a:cxnLst>
                <a:cxn ang="0">
                  <a:pos x="14" y="10"/>
                </a:cxn>
                <a:cxn ang="0">
                  <a:pos x="8" y="16"/>
                </a:cxn>
                <a:cxn ang="0">
                  <a:pos x="4" y="27"/>
                </a:cxn>
                <a:cxn ang="0">
                  <a:pos x="3" y="43"/>
                </a:cxn>
                <a:cxn ang="0">
                  <a:pos x="13" y="43"/>
                </a:cxn>
                <a:cxn ang="0">
                  <a:pos x="16" y="40"/>
                </a:cxn>
                <a:cxn ang="0">
                  <a:pos x="21" y="38"/>
                </a:cxn>
                <a:cxn ang="0">
                  <a:pos x="28" y="41"/>
                </a:cxn>
                <a:cxn ang="0">
                  <a:pos x="33" y="41"/>
                </a:cxn>
                <a:cxn ang="0">
                  <a:pos x="45" y="41"/>
                </a:cxn>
                <a:cxn ang="0">
                  <a:pos x="68" y="64"/>
                </a:cxn>
                <a:cxn ang="0">
                  <a:pos x="68" y="65"/>
                </a:cxn>
                <a:cxn ang="0">
                  <a:pos x="74" y="64"/>
                </a:cxn>
                <a:cxn ang="0">
                  <a:pos x="77" y="62"/>
                </a:cxn>
                <a:cxn ang="0">
                  <a:pos x="65" y="49"/>
                </a:cxn>
                <a:cxn ang="0">
                  <a:pos x="47" y="36"/>
                </a:cxn>
                <a:cxn ang="0">
                  <a:pos x="40" y="29"/>
                </a:cxn>
                <a:cxn ang="0">
                  <a:pos x="31" y="13"/>
                </a:cxn>
                <a:cxn ang="0">
                  <a:pos x="25" y="0"/>
                </a:cxn>
                <a:cxn ang="0">
                  <a:pos x="14" y="10"/>
                </a:cxn>
              </a:cxnLst>
              <a:rect l="0" t="0" r="r" b="b"/>
              <a:pathLst>
                <a:path w="77" h="65">
                  <a:moveTo>
                    <a:pt x="14" y="10"/>
                  </a:moveTo>
                  <a:cubicBezTo>
                    <a:pt x="12" y="12"/>
                    <a:pt x="7" y="13"/>
                    <a:pt x="8" y="16"/>
                  </a:cubicBezTo>
                  <a:cubicBezTo>
                    <a:pt x="9" y="20"/>
                    <a:pt x="7" y="23"/>
                    <a:pt x="4" y="27"/>
                  </a:cubicBezTo>
                  <a:cubicBezTo>
                    <a:pt x="0" y="32"/>
                    <a:pt x="2" y="38"/>
                    <a:pt x="3" y="43"/>
                  </a:cubicBezTo>
                  <a:cubicBezTo>
                    <a:pt x="7" y="42"/>
                    <a:pt x="12" y="42"/>
                    <a:pt x="13" y="43"/>
                  </a:cubicBezTo>
                  <a:cubicBezTo>
                    <a:pt x="14" y="45"/>
                    <a:pt x="15" y="43"/>
                    <a:pt x="16" y="40"/>
                  </a:cubicBezTo>
                  <a:cubicBezTo>
                    <a:pt x="17" y="36"/>
                    <a:pt x="19" y="36"/>
                    <a:pt x="21" y="38"/>
                  </a:cubicBezTo>
                  <a:cubicBezTo>
                    <a:pt x="23" y="40"/>
                    <a:pt x="25" y="43"/>
                    <a:pt x="28" y="41"/>
                  </a:cubicBezTo>
                  <a:cubicBezTo>
                    <a:pt x="32" y="39"/>
                    <a:pt x="32" y="40"/>
                    <a:pt x="33" y="41"/>
                  </a:cubicBezTo>
                  <a:cubicBezTo>
                    <a:pt x="35" y="42"/>
                    <a:pt x="42" y="41"/>
                    <a:pt x="45" y="41"/>
                  </a:cubicBezTo>
                  <a:cubicBezTo>
                    <a:pt x="47" y="41"/>
                    <a:pt x="68" y="64"/>
                    <a:pt x="68" y="64"/>
                  </a:cubicBezTo>
                  <a:cubicBezTo>
                    <a:pt x="68" y="64"/>
                    <a:pt x="68" y="64"/>
                    <a:pt x="68" y="65"/>
                  </a:cubicBezTo>
                  <a:cubicBezTo>
                    <a:pt x="71" y="65"/>
                    <a:pt x="73" y="65"/>
                    <a:pt x="74" y="64"/>
                  </a:cubicBezTo>
                  <a:cubicBezTo>
                    <a:pt x="74" y="64"/>
                    <a:pt x="75" y="63"/>
                    <a:pt x="77" y="62"/>
                  </a:cubicBezTo>
                  <a:cubicBezTo>
                    <a:pt x="74" y="59"/>
                    <a:pt x="70" y="55"/>
                    <a:pt x="65" y="49"/>
                  </a:cubicBezTo>
                  <a:cubicBezTo>
                    <a:pt x="58" y="41"/>
                    <a:pt x="51" y="36"/>
                    <a:pt x="47" y="36"/>
                  </a:cubicBezTo>
                  <a:cubicBezTo>
                    <a:pt x="43" y="36"/>
                    <a:pt x="42" y="29"/>
                    <a:pt x="40" y="29"/>
                  </a:cubicBezTo>
                  <a:cubicBezTo>
                    <a:pt x="37" y="29"/>
                    <a:pt x="32" y="19"/>
                    <a:pt x="31" y="13"/>
                  </a:cubicBezTo>
                  <a:cubicBezTo>
                    <a:pt x="31" y="9"/>
                    <a:pt x="28" y="4"/>
                    <a:pt x="25" y="0"/>
                  </a:cubicBezTo>
                  <a:cubicBezTo>
                    <a:pt x="21" y="6"/>
                    <a:pt x="16" y="9"/>
                    <a:pt x="14" y="1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4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33734" y="3783366"/>
              <a:ext cx="386651" cy="301361"/>
            </a:xfrm>
            <a:custGeom>
              <a:avLst/>
              <a:gdLst/>
              <a:ahLst/>
              <a:cxnLst>
                <a:cxn ang="0">
                  <a:pos x="12" y="87"/>
                </a:cxn>
                <a:cxn ang="0">
                  <a:pos x="22" y="99"/>
                </a:cxn>
                <a:cxn ang="0">
                  <a:pos x="32" y="108"/>
                </a:cxn>
                <a:cxn ang="0">
                  <a:pos x="32" y="118"/>
                </a:cxn>
                <a:cxn ang="0">
                  <a:pos x="36" y="119"/>
                </a:cxn>
                <a:cxn ang="0">
                  <a:pos x="47" y="122"/>
                </a:cxn>
                <a:cxn ang="0">
                  <a:pos x="60" y="129"/>
                </a:cxn>
                <a:cxn ang="0">
                  <a:pos x="73" y="131"/>
                </a:cxn>
                <a:cxn ang="0">
                  <a:pos x="81" y="125"/>
                </a:cxn>
                <a:cxn ang="0">
                  <a:pos x="91" y="123"/>
                </a:cxn>
                <a:cxn ang="0">
                  <a:pos x="96" y="126"/>
                </a:cxn>
                <a:cxn ang="0">
                  <a:pos x="102" y="124"/>
                </a:cxn>
                <a:cxn ang="0">
                  <a:pos x="111" y="123"/>
                </a:cxn>
                <a:cxn ang="0">
                  <a:pos x="126" y="115"/>
                </a:cxn>
                <a:cxn ang="0">
                  <a:pos x="138" y="113"/>
                </a:cxn>
                <a:cxn ang="0">
                  <a:pos x="168" y="83"/>
                </a:cxn>
                <a:cxn ang="0">
                  <a:pos x="164" y="80"/>
                </a:cxn>
                <a:cxn ang="0">
                  <a:pos x="149" y="77"/>
                </a:cxn>
                <a:cxn ang="0">
                  <a:pos x="126" y="69"/>
                </a:cxn>
                <a:cxn ang="0">
                  <a:pos x="118" y="62"/>
                </a:cxn>
                <a:cxn ang="0">
                  <a:pos x="111" y="52"/>
                </a:cxn>
                <a:cxn ang="0">
                  <a:pos x="113" y="47"/>
                </a:cxn>
                <a:cxn ang="0">
                  <a:pos x="108" y="45"/>
                </a:cxn>
                <a:cxn ang="0">
                  <a:pos x="101" y="46"/>
                </a:cxn>
                <a:cxn ang="0">
                  <a:pos x="102" y="36"/>
                </a:cxn>
                <a:cxn ang="0">
                  <a:pos x="107" y="28"/>
                </a:cxn>
                <a:cxn ang="0">
                  <a:pos x="84" y="5"/>
                </a:cxn>
                <a:cxn ang="0">
                  <a:pos x="72" y="5"/>
                </a:cxn>
                <a:cxn ang="0">
                  <a:pos x="67" y="5"/>
                </a:cxn>
                <a:cxn ang="0">
                  <a:pos x="60" y="2"/>
                </a:cxn>
                <a:cxn ang="0">
                  <a:pos x="55" y="4"/>
                </a:cxn>
                <a:cxn ang="0">
                  <a:pos x="52" y="7"/>
                </a:cxn>
                <a:cxn ang="0">
                  <a:pos x="42" y="7"/>
                </a:cxn>
                <a:cxn ang="0">
                  <a:pos x="42" y="7"/>
                </a:cxn>
                <a:cxn ang="0">
                  <a:pos x="38" y="20"/>
                </a:cxn>
                <a:cxn ang="0">
                  <a:pos x="33" y="26"/>
                </a:cxn>
                <a:cxn ang="0">
                  <a:pos x="26" y="34"/>
                </a:cxn>
                <a:cxn ang="0">
                  <a:pos x="23" y="45"/>
                </a:cxn>
                <a:cxn ang="0">
                  <a:pos x="18" y="50"/>
                </a:cxn>
                <a:cxn ang="0">
                  <a:pos x="14" y="60"/>
                </a:cxn>
                <a:cxn ang="0">
                  <a:pos x="13" y="73"/>
                </a:cxn>
                <a:cxn ang="0">
                  <a:pos x="4" y="75"/>
                </a:cxn>
                <a:cxn ang="0">
                  <a:pos x="2" y="81"/>
                </a:cxn>
                <a:cxn ang="0">
                  <a:pos x="12" y="87"/>
                </a:cxn>
              </a:cxnLst>
              <a:rect l="0" t="0" r="r" b="b"/>
              <a:pathLst>
                <a:path w="170" h="132">
                  <a:moveTo>
                    <a:pt x="12" y="87"/>
                  </a:moveTo>
                  <a:cubicBezTo>
                    <a:pt x="14" y="90"/>
                    <a:pt x="20" y="94"/>
                    <a:pt x="22" y="99"/>
                  </a:cubicBezTo>
                  <a:cubicBezTo>
                    <a:pt x="24" y="105"/>
                    <a:pt x="30" y="108"/>
                    <a:pt x="32" y="108"/>
                  </a:cubicBezTo>
                  <a:cubicBezTo>
                    <a:pt x="34" y="108"/>
                    <a:pt x="33" y="111"/>
                    <a:pt x="32" y="118"/>
                  </a:cubicBezTo>
                  <a:cubicBezTo>
                    <a:pt x="33" y="118"/>
                    <a:pt x="35" y="119"/>
                    <a:pt x="36" y="119"/>
                  </a:cubicBezTo>
                  <a:cubicBezTo>
                    <a:pt x="38" y="120"/>
                    <a:pt x="45" y="119"/>
                    <a:pt x="47" y="122"/>
                  </a:cubicBezTo>
                  <a:cubicBezTo>
                    <a:pt x="50" y="124"/>
                    <a:pt x="58" y="129"/>
                    <a:pt x="60" y="129"/>
                  </a:cubicBezTo>
                  <a:cubicBezTo>
                    <a:pt x="63" y="129"/>
                    <a:pt x="72" y="130"/>
                    <a:pt x="73" y="131"/>
                  </a:cubicBezTo>
                  <a:cubicBezTo>
                    <a:pt x="75" y="132"/>
                    <a:pt x="77" y="128"/>
                    <a:pt x="81" y="125"/>
                  </a:cubicBezTo>
                  <a:cubicBezTo>
                    <a:pt x="85" y="123"/>
                    <a:pt x="90" y="122"/>
                    <a:pt x="91" y="123"/>
                  </a:cubicBezTo>
                  <a:cubicBezTo>
                    <a:pt x="91" y="125"/>
                    <a:pt x="94" y="127"/>
                    <a:pt x="96" y="126"/>
                  </a:cubicBezTo>
                  <a:cubicBezTo>
                    <a:pt x="97" y="125"/>
                    <a:pt x="99" y="125"/>
                    <a:pt x="102" y="124"/>
                  </a:cubicBezTo>
                  <a:cubicBezTo>
                    <a:pt x="105" y="123"/>
                    <a:pt x="110" y="122"/>
                    <a:pt x="111" y="123"/>
                  </a:cubicBezTo>
                  <a:cubicBezTo>
                    <a:pt x="113" y="123"/>
                    <a:pt x="118" y="115"/>
                    <a:pt x="126" y="115"/>
                  </a:cubicBezTo>
                  <a:cubicBezTo>
                    <a:pt x="133" y="115"/>
                    <a:pt x="135" y="116"/>
                    <a:pt x="138" y="113"/>
                  </a:cubicBezTo>
                  <a:cubicBezTo>
                    <a:pt x="141" y="109"/>
                    <a:pt x="166" y="84"/>
                    <a:pt x="168" y="83"/>
                  </a:cubicBezTo>
                  <a:cubicBezTo>
                    <a:pt x="170" y="81"/>
                    <a:pt x="167" y="80"/>
                    <a:pt x="164" y="80"/>
                  </a:cubicBezTo>
                  <a:cubicBezTo>
                    <a:pt x="162" y="80"/>
                    <a:pt x="157" y="80"/>
                    <a:pt x="149" y="77"/>
                  </a:cubicBezTo>
                  <a:cubicBezTo>
                    <a:pt x="141" y="73"/>
                    <a:pt x="128" y="69"/>
                    <a:pt x="126" y="69"/>
                  </a:cubicBezTo>
                  <a:cubicBezTo>
                    <a:pt x="124" y="68"/>
                    <a:pt x="120" y="63"/>
                    <a:pt x="118" y="62"/>
                  </a:cubicBezTo>
                  <a:cubicBezTo>
                    <a:pt x="116" y="61"/>
                    <a:pt x="112" y="54"/>
                    <a:pt x="111" y="52"/>
                  </a:cubicBezTo>
                  <a:cubicBezTo>
                    <a:pt x="111" y="51"/>
                    <a:pt x="112" y="49"/>
                    <a:pt x="113" y="47"/>
                  </a:cubicBezTo>
                  <a:cubicBezTo>
                    <a:pt x="111" y="45"/>
                    <a:pt x="109" y="44"/>
                    <a:pt x="108" y="45"/>
                  </a:cubicBezTo>
                  <a:cubicBezTo>
                    <a:pt x="106" y="47"/>
                    <a:pt x="102" y="47"/>
                    <a:pt x="101" y="46"/>
                  </a:cubicBezTo>
                  <a:cubicBezTo>
                    <a:pt x="101" y="44"/>
                    <a:pt x="99" y="39"/>
                    <a:pt x="102" y="36"/>
                  </a:cubicBezTo>
                  <a:cubicBezTo>
                    <a:pt x="104" y="34"/>
                    <a:pt x="107" y="28"/>
                    <a:pt x="107" y="28"/>
                  </a:cubicBezTo>
                  <a:cubicBezTo>
                    <a:pt x="107" y="28"/>
                    <a:pt x="86" y="5"/>
                    <a:pt x="84" y="5"/>
                  </a:cubicBezTo>
                  <a:cubicBezTo>
                    <a:pt x="81" y="5"/>
                    <a:pt x="74" y="6"/>
                    <a:pt x="72" y="5"/>
                  </a:cubicBezTo>
                  <a:cubicBezTo>
                    <a:pt x="71" y="4"/>
                    <a:pt x="71" y="3"/>
                    <a:pt x="67" y="5"/>
                  </a:cubicBezTo>
                  <a:cubicBezTo>
                    <a:pt x="64" y="7"/>
                    <a:pt x="62" y="4"/>
                    <a:pt x="60" y="2"/>
                  </a:cubicBezTo>
                  <a:cubicBezTo>
                    <a:pt x="58" y="0"/>
                    <a:pt x="56" y="0"/>
                    <a:pt x="55" y="4"/>
                  </a:cubicBezTo>
                  <a:cubicBezTo>
                    <a:pt x="54" y="7"/>
                    <a:pt x="53" y="9"/>
                    <a:pt x="52" y="7"/>
                  </a:cubicBezTo>
                  <a:cubicBezTo>
                    <a:pt x="51" y="6"/>
                    <a:pt x="46" y="6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3" y="12"/>
                    <a:pt x="38" y="17"/>
                    <a:pt x="38" y="20"/>
                  </a:cubicBezTo>
                  <a:cubicBezTo>
                    <a:pt x="38" y="23"/>
                    <a:pt x="35" y="26"/>
                    <a:pt x="33" y="26"/>
                  </a:cubicBezTo>
                  <a:cubicBezTo>
                    <a:pt x="31" y="26"/>
                    <a:pt x="29" y="31"/>
                    <a:pt x="26" y="34"/>
                  </a:cubicBezTo>
                  <a:cubicBezTo>
                    <a:pt x="23" y="37"/>
                    <a:pt x="25" y="43"/>
                    <a:pt x="23" y="45"/>
                  </a:cubicBezTo>
                  <a:cubicBezTo>
                    <a:pt x="20" y="47"/>
                    <a:pt x="16" y="48"/>
                    <a:pt x="18" y="50"/>
                  </a:cubicBezTo>
                  <a:cubicBezTo>
                    <a:pt x="20" y="52"/>
                    <a:pt x="14" y="56"/>
                    <a:pt x="14" y="60"/>
                  </a:cubicBezTo>
                  <a:cubicBezTo>
                    <a:pt x="14" y="65"/>
                    <a:pt x="14" y="72"/>
                    <a:pt x="13" y="73"/>
                  </a:cubicBezTo>
                  <a:cubicBezTo>
                    <a:pt x="12" y="74"/>
                    <a:pt x="4" y="72"/>
                    <a:pt x="4" y="75"/>
                  </a:cubicBezTo>
                  <a:cubicBezTo>
                    <a:pt x="4" y="79"/>
                    <a:pt x="0" y="79"/>
                    <a:pt x="2" y="81"/>
                  </a:cubicBezTo>
                  <a:cubicBezTo>
                    <a:pt x="3" y="84"/>
                    <a:pt x="11" y="83"/>
                    <a:pt x="12" y="8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94385" y="3233716"/>
              <a:ext cx="39803" cy="47384"/>
            </a:xfrm>
            <a:custGeom>
              <a:avLst/>
              <a:gdLst/>
              <a:ahLst/>
              <a:cxnLst>
                <a:cxn ang="0">
                  <a:pos x="14" y="9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0" y="18"/>
                </a:cxn>
                <a:cxn ang="0">
                  <a:pos x="5" y="21"/>
                </a:cxn>
                <a:cxn ang="0">
                  <a:pos x="14" y="9"/>
                </a:cxn>
              </a:cxnLst>
              <a:rect l="0" t="0" r="r" b="b"/>
              <a:pathLst>
                <a:path w="17" h="21">
                  <a:moveTo>
                    <a:pt x="14" y="9"/>
                  </a:moveTo>
                  <a:cubicBezTo>
                    <a:pt x="16" y="7"/>
                    <a:pt x="17" y="0"/>
                    <a:pt x="8" y="0"/>
                  </a:cubicBezTo>
                  <a:cubicBezTo>
                    <a:pt x="8" y="1"/>
                    <a:pt x="8" y="1"/>
                    <a:pt x="8" y="2"/>
                  </a:cubicBezTo>
                  <a:cubicBezTo>
                    <a:pt x="8" y="5"/>
                    <a:pt x="3" y="12"/>
                    <a:pt x="0" y="18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8" y="16"/>
                    <a:pt x="12" y="10"/>
                    <a:pt x="14" y="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205757" y="3159797"/>
              <a:ext cx="178163" cy="142152"/>
            </a:xfrm>
            <a:custGeom>
              <a:avLst/>
              <a:gdLst/>
              <a:ahLst/>
              <a:cxnLst>
                <a:cxn ang="0">
                  <a:pos x="9" y="41"/>
                </a:cxn>
                <a:cxn ang="0">
                  <a:pos x="0" y="53"/>
                </a:cxn>
                <a:cxn ang="0">
                  <a:pos x="1" y="53"/>
                </a:cxn>
                <a:cxn ang="0">
                  <a:pos x="2" y="57"/>
                </a:cxn>
                <a:cxn ang="0">
                  <a:pos x="12" y="62"/>
                </a:cxn>
                <a:cxn ang="0">
                  <a:pos x="23" y="56"/>
                </a:cxn>
                <a:cxn ang="0">
                  <a:pos x="61" y="37"/>
                </a:cxn>
                <a:cxn ang="0">
                  <a:pos x="64" y="30"/>
                </a:cxn>
                <a:cxn ang="0">
                  <a:pos x="65" y="21"/>
                </a:cxn>
                <a:cxn ang="0">
                  <a:pos x="64" y="12"/>
                </a:cxn>
                <a:cxn ang="0">
                  <a:pos x="71" y="7"/>
                </a:cxn>
                <a:cxn ang="0">
                  <a:pos x="78" y="2"/>
                </a:cxn>
                <a:cxn ang="0">
                  <a:pos x="73" y="0"/>
                </a:cxn>
                <a:cxn ang="0">
                  <a:pos x="61" y="2"/>
                </a:cxn>
                <a:cxn ang="0">
                  <a:pos x="46" y="7"/>
                </a:cxn>
                <a:cxn ang="0">
                  <a:pos x="33" y="6"/>
                </a:cxn>
                <a:cxn ang="0">
                  <a:pos x="26" y="8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4" y="18"/>
                </a:cxn>
                <a:cxn ang="0">
                  <a:pos x="4" y="24"/>
                </a:cxn>
                <a:cxn ang="0">
                  <a:pos x="3" y="32"/>
                </a:cxn>
                <a:cxn ang="0">
                  <a:pos x="9" y="41"/>
                </a:cxn>
              </a:cxnLst>
              <a:rect l="0" t="0" r="r" b="b"/>
              <a:pathLst>
                <a:path w="78" h="62">
                  <a:moveTo>
                    <a:pt x="9" y="41"/>
                  </a:moveTo>
                  <a:cubicBezTo>
                    <a:pt x="7" y="42"/>
                    <a:pt x="3" y="48"/>
                    <a:pt x="0" y="5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20" y="57"/>
                    <a:pt x="23" y="56"/>
                  </a:cubicBezTo>
                  <a:cubicBezTo>
                    <a:pt x="26" y="56"/>
                    <a:pt x="61" y="37"/>
                    <a:pt x="61" y="37"/>
                  </a:cubicBezTo>
                  <a:cubicBezTo>
                    <a:pt x="61" y="37"/>
                    <a:pt x="65" y="32"/>
                    <a:pt x="64" y="30"/>
                  </a:cubicBezTo>
                  <a:cubicBezTo>
                    <a:pt x="64" y="28"/>
                    <a:pt x="63" y="24"/>
                    <a:pt x="65" y="21"/>
                  </a:cubicBezTo>
                  <a:cubicBezTo>
                    <a:pt x="67" y="19"/>
                    <a:pt x="63" y="16"/>
                    <a:pt x="64" y="12"/>
                  </a:cubicBezTo>
                  <a:cubicBezTo>
                    <a:pt x="65" y="8"/>
                    <a:pt x="71" y="7"/>
                    <a:pt x="71" y="7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68" y="3"/>
                    <a:pt x="61" y="2"/>
                  </a:cubicBezTo>
                  <a:cubicBezTo>
                    <a:pt x="54" y="2"/>
                    <a:pt x="53" y="7"/>
                    <a:pt x="46" y="7"/>
                  </a:cubicBezTo>
                  <a:cubicBezTo>
                    <a:pt x="39" y="7"/>
                    <a:pt x="35" y="8"/>
                    <a:pt x="33" y="6"/>
                  </a:cubicBezTo>
                  <a:cubicBezTo>
                    <a:pt x="31" y="4"/>
                    <a:pt x="31" y="5"/>
                    <a:pt x="26" y="8"/>
                  </a:cubicBezTo>
                  <a:cubicBezTo>
                    <a:pt x="21" y="10"/>
                    <a:pt x="18" y="9"/>
                    <a:pt x="16" y="8"/>
                  </a:cubicBezTo>
                  <a:cubicBezTo>
                    <a:pt x="13" y="6"/>
                    <a:pt x="12" y="8"/>
                    <a:pt x="11" y="10"/>
                  </a:cubicBezTo>
                  <a:cubicBezTo>
                    <a:pt x="11" y="12"/>
                    <a:pt x="11" y="17"/>
                    <a:pt x="4" y="18"/>
                  </a:cubicBezTo>
                  <a:cubicBezTo>
                    <a:pt x="4" y="20"/>
                    <a:pt x="3" y="22"/>
                    <a:pt x="4" y="24"/>
                  </a:cubicBezTo>
                  <a:cubicBezTo>
                    <a:pt x="6" y="26"/>
                    <a:pt x="4" y="28"/>
                    <a:pt x="3" y="32"/>
                  </a:cubicBezTo>
                  <a:cubicBezTo>
                    <a:pt x="12" y="32"/>
                    <a:pt x="11" y="39"/>
                    <a:pt x="9" y="4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523765" y="3131367"/>
              <a:ext cx="96663" cy="121302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4" y="9"/>
                </a:cxn>
                <a:cxn ang="0">
                  <a:pos x="7" y="15"/>
                </a:cxn>
                <a:cxn ang="0">
                  <a:pos x="7" y="20"/>
                </a:cxn>
                <a:cxn ang="0">
                  <a:pos x="6" y="30"/>
                </a:cxn>
                <a:cxn ang="0">
                  <a:pos x="3" y="44"/>
                </a:cxn>
                <a:cxn ang="0">
                  <a:pos x="4" y="51"/>
                </a:cxn>
                <a:cxn ang="0">
                  <a:pos x="26" y="44"/>
                </a:cxn>
                <a:cxn ang="0">
                  <a:pos x="37" y="40"/>
                </a:cxn>
                <a:cxn ang="0">
                  <a:pos x="41" y="35"/>
                </a:cxn>
                <a:cxn ang="0">
                  <a:pos x="38" y="19"/>
                </a:cxn>
                <a:cxn ang="0">
                  <a:pos x="27" y="0"/>
                </a:cxn>
                <a:cxn ang="0">
                  <a:pos x="21" y="2"/>
                </a:cxn>
                <a:cxn ang="0">
                  <a:pos x="10" y="4"/>
                </a:cxn>
              </a:cxnLst>
              <a:rect l="0" t="0" r="r" b="b"/>
              <a:pathLst>
                <a:path w="43" h="53">
                  <a:moveTo>
                    <a:pt x="10" y="4"/>
                  </a:moveTo>
                  <a:cubicBezTo>
                    <a:pt x="9" y="5"/>
                    <a:pt x="6" y="7"/>
                    <a:pt x="4" y="9"/>
                  </a:cubicBezTo>
                  <a:cubicBezTo>
                    <a:pt x="5" y="11"/>
                    <a:pt x="5" y="15"/>
                    <a:pt x="7" y="15"/>
                  </a:cubicBezTo>
                  <a:cubicBezTo>
                    <a:pt x="11" y="15"/>
                    <a:pt x="11" y="21"/>
                    <a:pt x="7" y="20"/>
                  </a:cubicBezTo>
                  <a:cubicBezTo>
                    <a:pt x="3" y="19"/>
                    <a:pt x="3" y="25"/>
                    <a:pt x="6" y="30"/>
                  </a:cubicBezTo>
                  <a:cubicBezTo>
                    <a:pt x="10" y="35"/>
                    <a:pt x="0" y="41"/>
                    <a:pt x="3" y="44"/>
                  </a:cubicBezTo>
                  <a:cubicBezTo>
                    <a:pt x="5" y="47"/>
                    <a:pt x="3" y="50"/>
                    <a:pt x="4" y="51"/>
                  </a:cubicBezTo>
                  <a:cubicBezTo>
                    <a:pt x="5" y="53"/>
                    <a:pt x="20" y="51"/>
                    <a:pt x="26" y="44"/>
                  </a:cubicBezTo>
                  <a:cubicBezTo>
                    <a:pt x="32" y="38"/>
                    <a:pt x="34" y="39"/>
                    <a:pt x="37" y="40"/>
                  </a:cubicBezTo>
                  <a:cubicBezTo>
                    <a:pt x="40" y="41"/>
                    <a:pt x="43" y="37"/>
                    <a:pt x="41" y="35"/>
                  </a:cubicBezTo>
                  <a:cubicBezTo>
                    <a:pt x="40" y="32"/>
                    <a:pt x="38" y="26"/>
                    <a:pt x="38" y="19"/>
                  </a:cubicBezTo>
                  <a:cubicBezTo>
                    <a:pt x="39" y="14"/>
                    <a:pt x="33" y="6"/>
                    <a:pt x="27" y="0"/>
                  </a:cubicBezTo>
                  <a:cubicBezTo>
                    <a:pt x="25" y="1"/>
                    <a:pt x="23" y="2"/>
                    <a:pt x="21" y="2"/>
                  </a:cubicBezTo>
                  <a:cubicBezTo>
                    <a:pt x="17" y="2"/>
                    <a:pt x="12" y="2"/>
                    <a:pt x="10" y="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555244" y="3472529"/>
              <a:ext cx="113721" cy="153524"/>
            </a:xfrm>
            <a:custGeom>
              <a:avLst/>
              <a:gdLst/>
              <a:ahLst/>
              <a:cxnLst>
                <a:cxn ang="0">
                  <a:pos x="50" y="56"/>
                </a:cxn>
                <a:cxn ang="0">
                  <a:pos x="46" y="34"/>
                </a:cxn>
                <a:cxn ang="0">
                  <a:pos x="37" y="43"/>
                </a:cxn>
                <a:cxn ang="0">
                  <a:pos x="38" y="31"/>
                </a:cxn>
                <a:cxn ang="0">
                  <a:pos x="47" y="19"/>
                </a:cxn>
                <a:cxn ang="0">
                  <a:pos x="39" y="17"/>
                </a:cxn>
                <a:cxn ang="0">
                  <a:pos x="26" y="17"/>
                </a:cxn>
                <a:cxn ang="0">
                  <a:pos x="21" y="12"/>
                </a:cxn>
                <a:cxn ang="0">
                  <a:pos x="13" y="6"/>
                </a:cxn>
                <a:cxn ang="0">
                  <a:pos x="4" y="6"/>
                </a:cxn>
                <a:cxn ang="0">
                  <a:pos x="11" y="15"/>
                </a:cxn>
                <a:cxn ang="0">
                  <a:pos x="5" y="20"/>
                </a:cxn>
                <a:cxn ang="0">
                  <a:pos x="8" y="37"/>
                </a:cxn>
                <a:cxn ang="0">
                  <a:pos x="12" y="57"/>
                </a:cxn>
                <a:cxn ang="0">
                  <a:pos x="19" y="55"/>
                </a:cxn>
                <a:cxn ang="0">
                  <a:pos x="28" y="51"/>
                </a:cxn>
                <a:cxn ang="0">
                  <a:pos x="35" y="46"/>
                </a:cxn>
                <a:cxn ang="0">
                  <a:pos x="41" y="61"/>
                </a:cxn>
                <a:cxn ang="0">
                  <a:pos x="43" y="67"/>
                </a:cxn>
                <a:cxn ang="0">
                  <a:pos x="47" y="63"/>
                </a:cxn>
                <a:cxn ang="0">
                  <a:pos x="50" y="56"/>
                </a:cxn>
              </a:cxnLst>
              <a:rect l="0" t="0" r="r" b="b"/>
              <a:pathLst>
                <a:path w="50" h="67">
                  <a:moveTo>
                    <a:pt x="50" y="56"/>
                  </a:moveTo>
                  <a:cubicBezTo>
                    <a:pt x="48" y="45"/>
                    <a:pt x="47" y="34"/>
                    <a:pt x="46" y="34"/>
                  </a:cubicBezTo>
                  <a:cubicBezTo>
                    <a:pt x="43" y="34"/>
                    <a:pt x="41" y="44"/>
                    <a:pt x="37" y="43"/>
                  </a:cubicBezTo>
                  <a:cubicBezTo>
                    <a:pt x="34" y="42"/>
                    <a:pt x="34" y="31"/>
                    <a:pt x="38" y="31"/>
                  </a:cubicBezTo>
                  <a:cubicBezTo>
                    <a:pt x="42" y="31"/>
                    <a:pt x="47" y="22"/>
                    <a:pt x="47" y="19"/>
                  </a:cubicBezTo>
                  <a:cubicBezTo>
                    <a:pt x="47" y="17"/>
                    <a:pt x="43" y="17"/>
                    <a:pt x="39" y="17"/>
                  </a:cubicBezTo>
                  <a:cubicBezTo>
                    <a:pt x="35" y="17"/>
                    <a:pt x="26" y="17"/>
                    <a:pt x="26" y="17"/>
                  </a:cubicBezTo>
                  <a:cubicBezTo>
                    <a:pt x="26" y="17"/>
                    <a:pt x="21" y="15"/>
                    <a:pt x="21" y="12"/>
                  </a:cubicBezTo>
                  <a:cubicBezTo>
                    <a:pt x="21" y="8"/>
                    <a:pt x="18" y="6"/>
                    <a:pt x="13" y="6"/>
                  </a:cubicBezTo>
                  <a:cubicBezTo>
                    <a:pt x="8" y="6"/>
                    <a:pt x="8" y="0"/>
                    <a:pt x="4" y="6"/>
                  </a:cubicBezTo>
                  <a:cubicBezTo>
                    <a:pt x="0" y="11"/>
                    <a:pt x="12" y="11"/>
                    <a:pt x="11" y="15"/>
                  </a:cubicBezTo>
                  <a:cubicBezTo>
                    <a:pt x="10" y="19"/>
                    <a:pt x="6" y="17"/>
                    <a:pt x="5" y="20"/>
                  </a:cubicBezTo>
                  <a:cubicBezTo>
                    <a:pt x="4" y="23"/>
                    <a:pt x="6" y="32"/>
                    <a:pt x="8" y="37"/>
                  </a:cubicBezTo>
                  <a:cubicBezTo>
                    <a:pt x="9" y="40"/>
                    <a:pt x="12" y="50"/>
                    <a:pt x="12" y="57"/>
                  </a:cubicBezTo>
                  <a:cubicBezTo>
                    <a:pt x="15" y="57"/>
                    <a:pt x="16" y="55"/>
                    <a:pt x="19" y="55"/>
                  </a:cubicBezTo>
                  <a:cubicBezTo>
                    <a:pt x="23" y="55"/>
                    <a:pt x="28" y="55"/>
                    <a:pt x="28" y="51"/>
                  </a:cubicBezTo>
                  <a:cubicBezTo>
                    <a:pt x="29" y="47"/>
                    <a:pt x="33" y="44"/>
                    <a:pt x="35" y="46"/>
                  </a:cubicBezTo>
                  <a:cubicBezTo>
                    <a:pt x="37" y="47"/>
                    <a:pt x="41" y="56"/>
                    <a:pt x="41" y="61"/>
                  </a:cubicBezTo>
                  <a:cubicBezTo>
                    <a:pt x="41" y="62"/>
                    <a:pt x="42" y="64"/>
                    <a:pt x="43" y="67"/>
                  </a:cubicBezTo>
                  <a:cubicBezTo>
                    <a:pt x="45" y="65"/>
                    <a:pt x="47" y="63"/>
                    <a:pt x="47" y="63"/>
                  </a:cubicBezTo>
                  <a:cubicBezTo>
                    <a:pt x="47" y="63"/>
                    <a:pt x="48" y="58"/>
                    <a:pt x="50" y="5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060558" y="3214762"/>
              <a:ext cx="718337" cy="758138"/>
            </a:xfrm>
            <a:custGeom>
              <a:avLst/>
              <a:gdLst/>
              <a:ahLst/>
              <a:cxnLst>
                <a:cxn ang="0">
                  <a:pos x="222" y="133"/>
                </a:cxn>
                <a:cxn ang="0">
                  <a:pos x="221" y="119"/>
                </a:cxn>
                <a:cxn ang="0">
                  <a:pos x="238" y="125"/>
                </a:cxn>
                <a:cxn ang="0">
                  <a:pos x="256" y="130"/>
                </a:cxn>
                <a:cxn ang="0">
                  <a:pos x="255" y="144"/>
                </a:cxn>
                <a:cxn ang="0">
                  <a:pos x="263" y="147"/>
                </a:cxn>
                <a:cxn ang="0">
                  <a:pos x="269" y="168"/>
                </a:cxn>
                <a:cxn ang="0">
                  <a:pos x="274" y="145"/>
                </a:cxn>
                <a:cxn ang="0">
                  <a:pos x="287" y="131"/>
                </a:cxn>
                <a:cxn ang="0">
                  <a:pos x="298" y="109"/>
                </a:cxn>
                <a:cxn ang="0">
                  <a:pos x="312" y="105"/>
                </a:cxn>
                <a:cxn ang="0">
                  <a:pos x="314" y="92"/>
                </a:cxn>
                <a:cxn ang="0">
                  <a:pos x="303" y="81"/>
                </a:cxn>
                <a:cxn ang="0">
                  <a:pos x="283" y="82"/>
                </a:cxn>
                <a:cxn ang="0">
                  <a:pos x="269" y="93"/>
                </a:cxn>
                <a:cxn ang="0">
                  <a:pos x="258" y="100"/>
                </a:cxn>
                <a:cxn ang="0">
                  <a:pos x="248" y="111"/>
                </a:cxn>
                <a:cxn ang="0">
                  <a:pos x="230" y="108"/>
                </a:cxn>
                <a:cxn ang="0">
                  <a:pos x="223" y="95"/>
                </a:cxn>
                <a:cxn ang="0">
                  <a:pos x="218" y="112"/>
                </a:cxn>
                <a:cxn ang="0">
                  <a:pos x="184" y="108"/>
                </a:cxn>
                <a:cxn ang="0">
                  <a:pos x="167" y="103"/>
                </a:cxn>
                <a:cxn ang="0">
                  <a:pos x="149" y="93"/>
                </a:cxn>
                <a:cxn ang="0">
                  <a:pos x="134" y="85"/>
                </a:cxn>
                <a:cxn ang="0">
                  <a:pos x="141" y="69"/>
                </a:cxn>
                <a:cxn ang="0">
                  <a:pos x="130" y="58"/>
                </a:cxn>
                <a:cxn ang="0">
                  <a:pos x="116" y="43"/>
                </a:cxn>
                <a:cxn ang="0">
                  <a:pos x="126" y="34"/>
                </a:cxn>
                <a:cxn ang="0">
                  <a:pos x="119" y="13"/>
                </a:cxn>
                <a:cxn ang="0">
                  <a:pos x="108" y="0"/>
                </a:cxn>
                <a:cxn ang="0">
                  <a:pos x="99" y="9"/>
                </a:cxn>
                <a:cxn ang="0">
                  <a:pos x="71" y="10"/>
                </a:cxn>
                <a:cxn ang="0">
                  <a:pos x="67" y="27"/>
                </a:cxn>
                <a:cxn ang="0">
                  <a:pos x="79" y="43"/>
                </a:cxn>
                <a:cxn ang="0">
                  <a:pos x="71" y="60"/>
                </a:cxn>
                <a:cxn ang="0">
                  <a:pos x="59" y="71"/>
                </a:cxn>
                <a:cxn ang="0">
                  <a:pos x="45" y="89"/>
                </a:cxn>
                <a:cxn ang="0">
                  <a:pos x="31" y="98"/>
                </a:cxn>
                <a:cxn ang="0">
                  <a:pos x="15" y="108"/>
                </a:cxn>
                <a:cxn ang="0">
                  <a:pos x="27" y="127"/>
                </a:cxn>
                <a:cxn ang="0">
                  <a:pos x="22" y="140"/>
                </a:cxn>
                <a:cxn ang="0">
                  <a:pos x="1" y="147"/>
                </a:cxn>
                <a:cxn ang="0">
                  <a:pos x="11" y="158"/>
                </a:cxn>
                <a:cxn ang="0">
                  <a:pos x="8" y="164"/>
                </a:cxn>
                <a:cxn ang="0">
                  <a:pos x="43" y="172"/>
                </a:cxn>
                <a:cxn ang="0">
                  <a:pos x="50" y="177"/>
                </a:cxn>
                <a:cxn ang="0">
                  <a:pos x="52" y="207"/>
                </a:cxn>
                <a:cxn ang="0">
                  <a:pos x="68" y="257"/>
                </a:cxn>
                <a:cxn ang="0">
                  <a:pos x="89" y="310"/>
                </a:cxn>
                <a:cxn ang="0">
                  <a:pos x="111" y="323"/>
                </a:cxn>
                <a:cxn ang="0">
                  <a:pos x="126" y="305"/>
                </a:cxn>
                <a:cxn ang="0">
                  <a:pos x="132" y="283"/>
                </a:cxn>
                <a:cxn ang="0">
                  <a:pos x="134" y="250"/>
                </a:cxn>
                <a:cxn ang="0">
                  <a:pos x="150" y="233"/>
                </a:cxn>
                <a:cxn ang="0">
                  <a:pos x="185" y="201"/>
                </a:cxn>
                <a:cxn ang="0">
                  <a:pos x="206" y="178"/>
                </a:cxn>
                <a:cxn ang="0">
                  <a:pos x="229" y="170"/>
                </a:cxn>
              </a:cxnLst>
              <a:rect l="0" t="0" r="r" b="b"/>
              <a:pathLst>
                <a:path w="315" h="332">
                  <a:moveTo>
                    <a:pt x="225" y="150"/>
                  </a:moveTo>
                  <a:cubicBezTo>
                    <a:pt x="223" y="145"/>
                    <a:pt x="221" y="136"/>
                    <a:pt x="222" y="133"/>
                  </a:cubicBezTo>
                  <a:cubicBezTo>
                    <a:pt x="223" y="130"/>
                    <a:pt x="227" y="132"/>
                    <a:pt x="228" y="128"/>
                  </a:cubicBezTo>
                  <a:cubicBezTo>
                    <a:pt x="229" y="124"/>
                    <a:pt x="217" y="124"/>
                    <a:pt x="221" y="119"/>
                  </a:cubicBezTo>
                  <a:cubicBezTo>
                    <a:pt x="225" y="113"/>
                    <a:pt x="225" y="119"/>
                    <a:pt x="230" y="119"/>
                  </a:cubicBezTo>
                  <a:cubicBezTo>
                    <a:pt x="235" y="119"/>
                    <a:pt x="238" y="121"/>
                    <a:pt x="238" y="125"/>
                  </a:cubicBezTo>
                  <a:cubicBezTo>
                    <a:pt x="238" y="128"/>
                    <a:pt x="243" y="130"/>
                    <a:pt x="243" y="130"/>
                  </a:cubicBezTo>
                  <a:cubicBezTo>
                    <a:pt x="243" y="130"/>
                    <a:pt x="252" y="130"/>
                    <a:pt x="256" y="130"/>
                  </a:cubicBezTo>
                  <a:cubicBezTo>
                    <a:pt x="260" y="130"/>
                    <a:pt x="264" y="130"/>
                    <a:pt x="264" y="132"/>
                  </a:cubicBezTo>
                  <a:cubicBezTo>
                    <a:pt x="264" y="135"/>
                    <a:pt x="259" y="144"/>
                    <a:pt x="255" y="144"/>
                  </a:cubicBezTo>
                  <a:cubicBezTo>
                    <a:pt x="251" y="144"/>
                    <a:pt x="251" y="155"/>
                    <a:pt x="254" y="156"/>
                  </a:cubicBezTo>
                  <a:cubicBezTo>
                    <a:pt x="258" y="157"/>
                    <a:pt x="260" y="147"/>
                    <a:pt x="263" y="147"/>
                  </a:cubicBezTo>
                  <a:cubicBezTo>
                    <a:pt x="264" y="147"/>
                    <a:pt x="265" y="158"/>
                    <a:pt x="267" y="169"/>
                  </a:cubicBezTo>
                  <a:cubicBezTo>
                    <a:pt x="268" y="168"/>
                    <a:pt x="268" y="168"/>
                    <a:pt x="269" y="168"/>
                  </a:cubicBezTo>
                  <a:cubicBezTo>
                    <a:pt x="271" y="168"/>
                    <a:pt x="270" y="158"/>
                    <a:pt x="272" y="156"/>
                  </a:cubicBezTo>
                  <a:cubicBezTo>
                    <a:pt x="274" y="153"/>
                    <a:pt x="273" y="145"/>
                    <a:pt x="274" y="145"/>
                  </a:cubicBezTo>
                  <a:cubicBezTo>
                    <a:pt x="275" y="145"/>
                    <a:pt x="283" y="147"/>
                    <a:pt x="283" y="145"/>
                  </a:cubicBezTo>
                  <a:cubicBezTo>
                    <a:pt x="283" y="143"/>
                    <a:pt x="288" y="135"/>
                    <a:pt x="287" y="131"/>
                  </a:cubicBezTo>
                  <a:cubicBezTo>
                    <a:pt x="286" y="127"/>
                    <a:pt x="290" y="122"/>
                    <a:pt x="290" y="117"/>
                  </a:cubicBezTo>
                  <a:cubicBezTo>
                    <a:pt x="290" y="113"/>
                    <a:pt x="295" y="111"/>
                    <a:pt x="298" y="109"/>
                  </a:cubicBezTo>
                  <a:cubicBezTo>
                    <a:pt x="301" y="106"/>
                    <a:pt x="306" y="102"/>
                    <a:pt x="307" y="105"/>
                  </a:cubicBezTo>
                  <a:cubicBezTo>
                    <a:pt x="308" y="107"/>
                    <a:pt x="315" y="109"/>
                    <a:pt x="312" y="105"/>
                  </a:cubicBezTo>
                  <a:cubicBezTo>
                    <a:pt x="309" y="101"/>
                    <a:pt x="309" y="98"/>
                    <a:pt x="311" y="97"/>
                  </a:cubicBezTo>
                  <a:cubicBezTo>
                    <a:pt x="313" y="96"/>
                    <a:pt x="314" y="92"/>
                    <a:pt x="314" y="92"/>
                  </a:cubicBezTo>
                  <a:cubicBezTo>
                    <a:pt x="314" y="92"/>
                    <a:pt x="308" y="91"/>
                    <a:pt x="307" y="88"/>
                  </a:cubicBezTo>
                  <a:cubicBezTo>
                    <a:pt x="306" y="85"/>
                    <a:pt x="303" y="83"/>
                    <a:pt x="303" y="81"/>
                  </a:cubicBezTo>
                  <a:cubicBezTo>
                    <a:pt x="303" y="78"/>
                    <a:pt x="299" y="79"/>
                    <a:pt x="297" y="81"/>
                  </a:cubicBezTo>
                  <a:cubicBezTo>
                    <a:pt x="294" y="84"/>
                    <a:pt x="289" y="79"/>
                    <a:pt x="283" y="82"/>
                  </a:cubicBezTo>
                  <a:cubicBezTo>
                    <a:pt x="278" y="85"/>
                    <a:pt x="276" y="89"/>
                    <a:pt x="274" y="88"/>
                  </a:cubicBezTo>
                  <a:cubicBezTo>
                    <a:pt x="271" y="88"/>
                    <a:pt x="271" y="90"/>
                    <a:pt x="269" y="93"/>
                  </a:cubicBezTo>
                  <a:cubicBezTo>
                    <a:pt x="267" y="95"/>
                    <a:pt x="265" y="97"/>
                    <a:pt x="264" y="97"/>
                  </a:cubicBezTo>
                  <a:cubicBezTo>
                    <a:pt x="262" y="97"/>
                    <a:pt x="258" y="100"/>
                    <a:pt x="258" y="100"/>
                  </a:cubicBezTo>
                  <a:cubicBezTo>
                    <a:pt x="258" y="100"/>
                    <a:pt x="261" y="106"/>
                    <a:pt x="259" y="109"/>
                  </a:cubicBezTo>
                  <a:cubicBezTo>
                    <a:pt x="258" y="113"/>
                    <a:pt x="253" y="109"/>
                    <a:pt x="248" y="111"/>
                  </a:cubicBezTo>
                  <a:cubicBezTo>
                    <a:pt x="243" y="112"/>
                    <a:pt x="241" y="109"/>
                    <a:pt x="238" y="110"/>
                  </a:cubicBezTo>
                  <a:cubicBezTo>
                    <a:pt x="234" y="111"/>
                    <a:pt x="232" y="108"/>
                    <a:pt x="230" y="108"/>
                  </a:cubicBezTo>
                  <a:cubicBezTo>
                    <a:pt x="228" y="109"/>
                    <a:pt x="226" y="104"/>
                    <a:pt x="226" y="101"/>
                  </a:cubicBezTo>
                  <a:cubicBezTo>
                    <a:pt x="227" y="97"/>
                    <a:pt x="225" y="92"/>
                    <a:pt x="223" y="95"/>
                  </a:cubicBezTo>
                  <a:cubicBezTo>
                    <a:pt x="221" y="97"/>
                    <a:pt x="218" y="96"/>
                    <a:pt x="218" y="100"/>
                  </a:cubicBezTo>
                  <a:cubicBezTo>
                    <a:pt x="218" y="104"/>
                    <a:pt x="221" y="109"/>
                    <a:pt x="218" y="112"/>
                  </a:cubicBezTo>
                  <a:cubicBezTo>
                    <a:pt x="215" y="114"/>
                    <a:pt x="201" y="116"/>
                    <a:pt x="198" y="113"/>
                  </a:cubicBezTo>
                  <a:cubicBezTo>
                    <a:pt x="196" y="111"/>
                    <a:pt x="184" y="110"/>
                    <a:pt x="184" y="108"/>
                  </a:cubicBezTo>
                  <a:cubicBezTo>
                    <a:pt x="183" y="105"/>
                    <a:pt x="180" y="101"/>
                    <a:pt x="177" y="101"/>
                  </a:cubicBezTo>
                  <a:cubicBezTo>
                    <a:pt x="175" y="101"/>
                    <a:pt x="169" y="105"/>
                    <a:pt x="167" y="103"/>
                  </a:cubicBezTo>
                  <a:cubicBezTo>
                    <a:pt x="165" y="102"/>
                    <a:pt x="161" y="98"/>
                    <a:pt x="157" y="98"/>
                  </a:cubicBezTo>
                  <a:cubicBezTo>
                    <a:pt x="154" y="97"/>
                    <a:pt x="149" y="95"/>
                    <a:pt x="149" y="93"/>
                  </a:cubicBezTo>
                  <a:cubicBezTo>
                    <a:pt x="149" y="92"/>
                    <a:pt x="141" y="91"/>
                    <a:pt x="140" y="89"/>
                  </a:cubicBezTo>
                  <a:cubicBezTo>
                    <a:pt x="139" y="87"/>
                    <a:pt x="134" y="87"/>
                    <a:pt x="134" y="85"/>
                  </a:cubicBezTo>
                  <a:cubicBezTo>
                    <a:pt x="134" y="82"/>
                    <a:pt x="136" y="79"/>
                    <a:pt x="136" y="76"/>
                  </a:cubicBezTo>
                  <a:cubicBezTo>
                    <a:pt x="136" y="73"/>
                    <a:pt x="141" y="71"/>
                    <a:pt x="141" y="69"/>
                  </a:cubicBezTo>
                  <a:cubicBezTo>
                    <a:pt x="141" y="67"/>
                    <a:pt x="137" y="64"/>
                    <a:pt x="137" y="64"/>
                  </a:cubicBezTo>
                  <a:cubicBezTo>
                    <a:pt x="137" y="64"/>
                    <a:pt x="133" y="58"/>
                    <a:pt x="130" y="58"/>
                  </a:cubicBezTo>
                  <a:cubicBezTo>
                    <a:pt x="126" y="58"/>
                    <a:pt x="124" y="52"/>
                    <a:pt x="120" y="52"/>
                  </a:cubicBezTo>
                  <a:cubicBezTo>
                    <a:pt x="117" y="51"/>
                    <a:pt x="118" y="45"/>
                    <a:pt x="116" y="43"/>
                  </a:cubicBezTo>
                  <a:cubicBezTo>
                    <a:pt x="115" y="40"/>
                    <a:pt x="116" y="35"/>
                    <a:pt x="119" y="38"/>
                  </a:cubicBezTo>
                  <a:cubicBezTo>
                    <a:pt x="122" y="40"/>
                    <a:pt x="128" y="38"/>
                    <a:pt x="126" y="34"/>
                  </a:cubicBezTo>
                  <a:cubicBezTo>
                    <a:pt x="124" y="30"/>
                    <a:pt x="120" y="26"/>
                    <a:pt x="120" y="24"/>
                  </a:cubicBezTo>
                  <a:cubicBezTo>
                    <a:pt x="120" y="22"/>
                    <a:pt x="122" y="15"/>
                    <a:pt x="119" y="13"/>
                  </a:cubicBezTo>
                  <a:cubicBezTo>
                    <a:pt x="116" y="12"/>
                    <a:pt x="113" y="9"/>
                    <a:pt x="112" y="6"/>
                  </a:cubicBezTo>
                  <a:cubicBezTo>
                    <a:pt x="112" y="3"/>
                    <a:pt x="108" y="0"/>
                    <a:pt x="108" y="0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4" y="1"/>
                    <a:pt x="101" y="8"/>
                    <a:pt x="99" y="9"/>
                  </a:cubicBezTo>
                  <a:cubicBezTo>
                    <a:pt x="97" y="10"/>
                    <a:pt x="91" y="11"/>
                    <a:pt x="88" y="13"/>
                  </a:cubicBezTo>
                  <a:cubicBezTo>
                    <a:pt x="85" y="16"/>
                    <a:pt x="76" y="10"/>
                    <a:pt x="71" y="10"/>
                  </a:cubicBezTo>
                  <a:cubicBezTo>
                    <a:pt x="66" y="10"/>
                    <a:pt x="63" y="15"/>
                    <a:pt x="65" y="16"/>
                  </a:cubicBezTo>
                  <a:cubicBezTo>
                    <a:pt x="68" y="18"/>
                    <a:pt x="67" y="27"/>
                    <a:pt x="67" y="27"/>
                  </a:cubicBezTo>
                  <a:cubicBezTo>
                    <a:pt x="67" y="27"/>
                    <a:pt x="70" y="39"/>
                    <a:pt x="74" y="38"/>
                  </a:cubicBezTo>
                  <a:cubicBezTo>
                    <a:pt x="78" y="37"/>
                    <a:pt x="83" y="42"/>
                    <a:pt x="79" y="43"/>
                  </a:cubicBezTo>
                  <a:cubicBezTo>
                    <a:pt x="76" y="44"/>
                    <a:pt x="74" y="48"/>
                    <a:pt x="73" y="51"/>
                  </a:cubicBezTo>
                  <a:cubicBezTo>
                    <a:pt x="73" y="55"/>
                    <a:pt x="74" y="59"/>
                    <a:pt x="71" y="60"/>
                  </a:cubicBezTo>
                  <a:cubicBezTo>
                    <a:pt x="68" y="60"/>
                    <a:pt x="66" y="61"/>
                    <a:pt x="66" y="66"/>
                  </a:cubicBezTo>
                  <a:cubicBezTo>
                    <a:pt x="66" y="71"/>
                    <a:pt x="60" y="69"/>
                    <a:pt x="59" y="71"/>
                  </a:cubicBezTo>
                  <a:cubicBezTo>
                    <a:pt x="58" y="73"/>
                    <a:pt x="56" y="82"/>
                    <a:pt x="55" y="83"/>
                  </a:cubicBezTo>
                  <a:cubicBezTo>
                    <a:pt x="53" y="85"/>
                    <a:pt x="46" y="85"/>
                    <a:pt x="45" y="89"/>
                  </a:cubicBezTo>
                  <a:cubicBezTo>
                    <a:pt x="45" y="93"/>
                    <a:pt x="41" y="98"/>
                    <a:pt x="39" y="97"/>
                  </a:cubicBezTo>
                  <a:cubicBezTo>
                    <a:pt x="37" y="97"/>
                    <a:pt x="33" y="95"/>
                    <a:pt x="31" y="98"/>
                  </a:cubicBezTo>
                  <a:cubicBezTo>
                    <a:pt x="30" y="101"/>
                    <a:pt x="24" y="96"/>
                    <a:pt x="23" y="97"/>
                  </a:cubicBezTo>
                  <a:cubicBezTo>
                    <a:pt x="22" y="98"/>
                    <a:pt x="15" y="104"/>
                    <a:pt x="15" y="108"/>
                  </a:cubicBezTo>
                  <a:cubicBezTo>
                    <a:pt x="15" y="111"/>
                    <a:pt x="22" y="111"/>
                    <a:pt x="22" y="116"/>
                  </a:cubicBezTo>
                  <a:cubicBezTo>
                    <a:pt x="21" y="120"/>
                    <a:pt x="24" y="125"/>
                    <a:pt x="27" y="127"/>
                  </a:cubicBezTo>
                  <a:cubicBezTo>
                    <a:pt x="29" y="130"/>
                    <a:pt x="32" y="135"/>
                    <a:pt x="31" y="138"/>
                  </a:cubicBezTo>
                  <a:cubicBezTo>
                    <a:pt x="29" y="140"/>
                    <a:pt x="26" y="141"/>
                    <a:pt x="22" y="140"/>
                  </a:cubicBezTo>
                  <a:cubicBezTo>
                    <a:pt x="18" y="139"/>
                    <a:pt x="19" y="142"/>
                    <a:pt x="11" y="140"/>
                  </a:cubicBezTo>
                  <a:cubicBezTo>
                    <a:pt x="4" y="139"/>
                    <a:pt x="4" y="144"/>
                    <a:pt x="1" y="147"/>
                  </a:cubicBezTo>
                  <a:cubicBezTo>
                    <a:pt x="1" y="148"/>
                    <a:pt x="1" y="148"/>
                    <a:pt x="0" y="148"/>
                  </a:cubicBezTo>
                  <a:cubicBezTo>
                    <a:pt x="4" y="151"/>
                    <a:pt x="5" y="156"/>
                    <a:pt x="11" y="158"/>
                  </a:cubicBezTo>
                  <a:cubicBezTo>
                    <a:pt x="17" y="160"/>
                    <a:pt x="23" y="154"/>
                    <a:pt x="23" y="158"/>
                  </a:cubicBezTo>
                  <a:cubicBezTo>
                    <a:pt x="23" y="163"/>
                    <a:pt x="8" y="162"/>
                    <a:pt x="8" y="164"/>
                  </a:cubicBezTo>
                  <a:cubicBezTo>
                    <a:pt x="7" y="165"/>
                    <a:pt x="23" y="185"/>
                    <a:pt x="32" y="183"/>
                  </a:cubicBezTo>
                  <a:cubicBezTo>
                    <a:pt x="40" y="182"/>
                    <a:pt x="46" y="173"/>
                    <a:pt x="43" y="172"/>
                  </a:cubicBezTo>
                  <a:cubicBezTo>
                    <a:pt x="41" y="170"/>
                    <a:pt x="45" y="165"/>
                    <a:pt x="47" y="166"/>
                  </a:cubicBezTo>
                  <a:cubicBezTo>
                    <a:pt x="49" y="167"/>
                    <a:pt x="47" y="175"/>
                    <a:pt x="50" y="177"/>
                  </a:cubicBezTo>
                  <a:cubicBezTo>
                    <a:pt x="52" y="179"/>
                    <a:pt x="51" y="183"/>
                    <a:pt x="50" y="188"/>
                  </a:cubicBezTo>
                  <a:cubicBezTo>
                    <a:pt x="48" y="192"/>
                    <a:pt x="51" y="202"/>
                    <a:pt x="52" y="207"/>
                  </a:cubicBezTo>
                  <a:cubicBezTo>
                    <a:pt x="52" y="212"/>
                    <a:pt x="56" y="219"/>
                    <a:pt x="57" y="227"/>
                  </a:cubicBezTo>
                  <a:cubicBezTo>
                    <a:pt x="58" y="235"/>
                    <a:pt x="63" y="249"/>
                    <a:pt x="68" y="257"/>
                  </a:cubicBezTo>
                  <a:cubicBezTo>
                    <a:pt x="72" y="266"/>
                    <a:pt x="76" y="282"/>
                    <a:pt x="79" y="286"/>
                  </a:cubicBezTo>
                  <a:cubicBezTo>
                    <a:pt x="82" y="290"/>
                    <a:pt x="89" y="303"/>
                    <a:pt x="89" y="310"/>
                  </a:cubicBezTo>
                  <a:cubicBezTo>
                    <a:pt x="89" y="318"/>
                    <a:pt x="97" y="328"/>
                    <a:pt x="100" y="330"/>
                  </a:cubicBezTo>
                  <a:cubicBezTo>
                    <a:pt x="103" y="332"/>
                    <a:pt x="109" y="328"/>
                    <a:pt x="111" y="323"/>
                  </a:cubicBezTo>
                  <a:cubicBezTo>
                    <a:pt x="112" y="318"/>
                    <a:pt x="121" y="317"/>
                    <a:pt x="121" y="313"/>
                  </a:cubicBezTo>
                  <a:cubicBezTo>
                    <a:pt x="122" y="309"/>
                    <a:pt x="123" y="305"/>
                    <a:pt x="126" y="305"/>
                  </a:cubicBezTo>
                  <a:cubicBezTo>
                    <a:pt x="129" y="304"/>
                    <a:pt x="129" y="301"/>
                    <a:pt x="129" y="297"/>
                  </a:cubicBezTo>
                  <a:cubicBezTo>
                    <a:pt x="129" y="293"/>
                    <a:pt x="129" y="286"/>
                    <a:pt x="132" y="283"/>
                  </a:cubicBezTo>
                  <a:cubicBezTo>
                    <a:pt x="135" y="279"/>
                    <a:pt x="135" y="268"/>
                    <a:pt x="134" y="264"/>
                  </a:cubicBezTo>
                  <a:cubicBezTo>
                    <a:pt x="132" y="260"/>
                    <a:pt x="133" y="254"/>
                    <a:pt x="134" y="250"/>
                  </a:cubicBezTo>
                  <a:cubicBezTo>
                    <a:pt x="136" y="246"/>
                    <a:pt x="135" y="241"/>
                    <a:pt x="139" y="241"/>
                  </a:cubicBezTo>
                  <a:cubicBezTo>
                    <a:pt x="142" y="240"/>
                    <a:pt x="146" y="238"/>
                    <a:pt x="150" y="233"/>
                  </a:cubicBezTo>
                  <a:cubicBezTo>
                    <a:pt x="153" y="229"/>
                    <a:pt x="163" y="222"/>
                    <a:pt x="167" y="219"/>
                  </a:cubicBezTo>
                  <a:cubicBezTo>
                    <a:pt x="171" y="216"/>
                    <a:pt x="182" y="207"/>
                    <a:pt x="185" y="201"/>
                  </a:cubicBezTo>
                  <a:cubicBezTo>
                    <a:pt x="188" y="196"/>
                    <a:pt x="198" y="194"/>
                    <a:pt x="202" y="189"/>
                  </a:cubicBezTo>
                  <a:cubicBezTo>
                    <a:pt x="207" y="185"/>
                    <a:pt x="205" y="182"/>
                    <a:pt x="206" y="178"/>
                  </a:cubicBezTo>
                  <a:cubicBezTo>
                    <a:pt x="207" y="173"/>
                    <a:pt x="221" y="171"/>
                    <a:pt x="226" y="171"/>
                  </a:cubicBezTo>
                  <a:cubicBezTo>
                    <a:pt x="227" y="171"/>
                    <a:pt x="228" y="171"/>
                    <a:pt x="229" y="170"/>
                  </a:cubicBezTo>
                  <a:cubicBezTo>
                    <a:pt x="229" y="163"/>
                    <a:pt x="226" y="153"/>
                    <a:pt x="225" y="15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396262" y="2616376"/>
              <a:ext cx="809314" cy="350640"/>
            </a:xfrm>
            <a:custGeom>
              <a:avLst/>
              <a:gdLst/>
              <a:ahLst/>
              <a:cxnLst>
                <a:cxn ang="0">
                  <a:pos x="329" y="65"/>
                </a:cxn>
                <a:cxn ang="0">
                  <a:pos x="306" y="63"/>
                </a:cxn>
                <a:cxn ang="0">
                  <a:pos x="308" y="52"/>
                </a:cxn>
                <a:cxn ang="0">
                  <a:pos x="309" y="33"/>
                </a:cxn>
                <a:cxn ang="0">
                  <a:pos x="286" y="30"/>
                </a:cxn>
                <a:cxn ang="0">
                  <a:pos x="268" y="40"/>
                </a:cxn>
                <a:cxn ang="0">
                  <a:pos x="238" y="43"/>
                </a:cxn>
                <a:cxn ang="0">
                  <a:pos x="218" y="34"/>
                </a:cxn>
                <a:cxn ang="0">
                  <a:pos x="200" y="28"/>
                </a:cxn>
                <a:cxn ang="0">
                  <a:pos x="179" y="27"/>
                </a:cxn>
                <a:cxn ang="0">
                  <a:pos x="161" y="28"/>
                </a:cxn>
                <a:cxn ang="0">
                  <a:pos x="153" y="13"/>
                </a:cxn>
                <a:cxn ang="0">
                  <a:pos x="133" y="6"/>
                </a:cxn>
                <a:cxn ang="0">
                  <a:pos x="118" y="1"/>
                </a:cxn>
                <a:cxn ang="0">
                  <a:pos x="108" y="9"/>
                </a:cxn>
                <a:cxn ang="0">
                  <a:pos x="107" y="24"/>
                </a:cxn>
                <a:cxn ang="0">
                  <a:pos x="98" y="35"/>
                </a:cxn>
                <a:cxn ang="0">
                  <a:pos x="81" y="33"/>
                </a:cxn>
                <a:cxn ang="0">
                  <a:pos x="68" y="23"/>
                </a:cxn>
                <a:cxn ang="0">
                  <a:pos x="44" y="22"/>
                </a:cxn>
                <a:cxn ang="0">
                  <a:pos x="29" y="30"/>
                </a:cxn>
                <a:cxn ang="0">
                  <a:pos x="10" y="40"/>
                </a:cxn>
                <a:cxn ang="0">
                  <a:pos x="0" y="44"/>
                </a:cxn>
                <a:cxn ang="0">
                  <a:pos x="9" y="55"/>
                </a:cxn>
                <a:cxn ang="0">
                  <a:pos x="29" y="69"/>
                </a:cxn>
                <a:cxn ang="0">
                  <a:pos x="34" y="88"/>
                </a:cxn>
                <a:cxn ang="0">
                  <a:pos x="57" y="104"/>
                </a:cxn>
                <a:cxn ang="0">
                  <a:pos x="72" y="114"/>
                </a:cxn>
                <a:cxn ang="0">
                  <a:pos x="88" y="135"/>
                </a:cxn>
                <a:cxn ang="0">
                  <a:pos x="129" y="137"/>
                </a:cxn>
                <a:cxn ang="0">
                  <a:pos x="162" y="145"/>
                </a:cxn>
                <a:cxn ang="0">
                  <a:pos x="182" y="152"/>
                </a:cxn>
                <a:cxn ang="0">
                  <a:pos x="227" y="141"/>
                </a:cxn>
                <a:cxn ang="0">
                  <a:pos x="261" y="121"/>
                </a:cxn>
                <a:cxn ang="0">
                  <a:pos x="269" y="105"/>
                </a:cxn>
                <a:cxn ang="0">
                  <a:pos x="304" y="99"/>
                </a:cxn>
                <a:cxn ang="0">
                  <a:pos x="328" y="84"/>
                </a:cxn>
                <a:cxn ang="0">
                  <a:pos x="354" y="79"/>
                </a:cxn>
              </a:cxnLst>
              <a:rect l="0" t="0" r="r" b="b"/>
              <a:pathLst>
                <a:path w="355" h="153">
                  <a:moveTo>
                    <a:pt x="340" y="64"/>
                  </a:moveTo>
                  <a:cubicBezTo>
                    <a:pt x="336" y="60"/>
                    <a:pt x="330" y="62"/>
                    <a:pt x="329" y="65"/>
                  </a:cubicBezTo>
                  <a:cubicBezTo>
                    <a:pt x="327" y="69"/>
                    <a:pt x="324" y="64"/>
                    <a:pt x="318" y="64"/>
                  </a:cubicBezTo>
                  <a:cubicBezTo>
                    <a:pt x="311" y="64"/>
                    <a:pt x="311" y="68"/>
                    <a:pt x="306" y="63"/>
                  </a:cubicBezTo>
                  <a:cubicBezTo>
                    <a:pt x="302" y="59"/>
                    <a:pt x="308" y="57"/>
                    <a:pt x="308" y="57"/>
                  </a:cubicBezTo>
                  <a:cubicBezTo>
                    <a:pt x="308" y="52"/>
                    <a:pt x="308" y="52"/>
                    <a:pt x="308" y="52"/>
                  </a:cubicBezTo>
                  <a:cubicBezTo>
                    <a:pt x="318" y="34"/>
                    <a:pt x="318" y="34"/>
                    <a:pt x="318" y="34"/>
                  </a:cubicBezTo>
                  <a:cubicBezTo>
                    <a:pt x="315" y="33"/>
                    <a:pt x="311" y="32"/>
                    <a:pt x="309" y="33"/>
                  </a:cubicBezTo>
                  <a:cubicBezTo>
                    <a:pt x="307" y="34"/>
                    <a:pt x="300" y="33"/>
                    <a:pt x="300" y="31"/>
                  </a:cubicBezTo>
                  <a:cubicBezTo>
                    <a:pt x="299" y="29"/>
                    <a:pt x="288" y="28"/>
                    <a:pt x="286" y="30"/>
                  </a:cubicBezTo>
                  <a:cubicBezTo>
                    <a:pt x="283" y="32"/>
                    <a:pt x="277" y="34"/>
                    <a:pt x="277" y="36"/>
                  </a:cubicBezTo>
                  <a:cubicBezTo>
                    <a:pt x="276" y="39"/>
                    <a:pt x="270" y="38"/>
                    <a:pt x="268" y="40"/>
                  </a:cubicBezTo>
                  <a:cubicBezTo>
                    <a:pt x="265" y="41"/>
                    <a:pt x="253" y="42"/>
                    <a:pt x="253" y="43"/>
                  </a:cubicBezTo>
                  <a:cubicBezTo>
                    <a:pt x="253" y="45"/>
                    <a:pt x="240" y="45"/>
                    <a:pt x="238" y="43"/>
                  </a:cubicBezTo>
                  <a:cubicBezTo>
                    <a:pt x="236" y="42"/>
                    <a:pt x="225" y="43"/>
                    <a:pt x="224" y="41"/>
                  </a:cubicBezTo>
                  <a:cubicBezTo>
                    <a:pt x="222" y="38"/>
                    <a:pt x="218" y="37"/>
                    <a:pt x="218" y="34"/>
                  </a:cubicBezTo>
                  <a:cubicBezTo>
                    <a:pt x="218" y="32"/>
                    <a:pt x="209" y="32"/>
                    <a:pt x="208" y="30"/>
                  </a:cubicBezTo>
                  <a:cubicBezTo>
                    <a:pt x="207" y="28"/>
                    <a:pt x="201" y="27"/>
                    <a:pt x="200" y="28"/>
                  </a:cubicBezTo>
                  <a:cubicBezTo>
                    <a:pt x="199" y="28"/>
                    <a:pt x="191" y="26"/>
                    <a:pt x="189" y="25"/>
                  </a:cubicBezTo>
                  <a:cubicBezTo>
                    <a:pt x="187" y="25"/>
                    <a:pt x="181" y="27"/>
                    <a:pt x="179" y="27"/>
                  </a:cubicBezTo>
                  <a:cubicBezTo>
                    <a:pt x="177" y="27"/>
                    <a:pt x="173" y="30"/>
                    <a:pt x="171" y="31"/>
                  </a:cubicBezTo>
                  <a:cubicBezTo>
                    <a:pt x="169" y="31"/>
                    <a:pt x="162" y="27"/>
                    <a:pt x="161" y="28"/>
                  </a:cubicBezTo>
                  <a:cubicBezTo>
                    <a:pt x="160" y="29"/>
                    <a:pt x="156" y="24"/>
                    <a:pt x="154" y="22"/>
                  </a:cubicBezTo>
                  <a:cubicBezTo>
                    <a:pt x="152" y="20"/>
                    <a:pt x="154" y="15"/>
                    <a:pt x="153" y="13"/>
                  </a:cubicBezTo>
                  <a:cubicBezTo>
                    <a:pt x="151" y="11"/>
                    <a:pt x="144" y="11"/>
                    <a:pt x="142" y="9"/>
                  </a:cubicBezTo>
                  <a:cubicBezTo>
                    <a:pt x="139" y="8"/>
                    <a:pt x="136" y="6"/>
                    <a:pt x="133" y="6"/>
                  </a:cubicBezTo>
                  <a:cubicBezTo>
                    <a:pt x="131" y="6"/>
                    <a:pt x="127" y="5"/>
                    <a:pt x="126" y="4"/>
                  </a:cubicBezTo>
                  <a:cubicBezTo>
                    <a:pt x="125" y="3"/>
                    <a:pt x="120" y="2"/>
                    <a:pt x="118" y="1"/>
                  </a:cubicBezTo>
                  <a:cubicBezTo>
                    <a:pt x="116" y="0"/>
                    <a:pt x="115" y="3"/>
                    <a:pt x="114" y="5"/>
                  </a:cubicBezTo>
                  <a:cubicBezTo>
                    <a:pt x="113" y="6"/>
                    <a:pt x="109" y="6"/>
                    <a:pt x="108" y="9"/>
                  </a:cubicBezTo>
                  <a:cubicBezTo>
                    <a:pt x="107" y="11"/>
                    <a:pt x="103" y="12"/>
                    <a:pt x="103" y="14"/>
                  </a:cubicBezTo>
                  <a:cubicBezTo>
                    <a:pt x="104" y="17"/>
                    <a:pt x="106" y="22"/>
                    <a:pt x="107" y="24"/>
                  </a:cubicBezTo>
                  <a:cubicBezTo>
                    <a:pt x="109" y="25"/>
                    <a:pt x="108" y="29"/>
                    <a:pt x="107" y="30"/>
                  </a:cubicBezTo>
                  <a:cubicBezTo>
                    <a:pt x="106" y="32"/>
                    <a:pt x="99" y="33"/>
                    <a:pt x="98" y="35"/>
                  </a:cubicBezTo>
                  <a:cubicBezTo>
                    <a:pt x="96" y="37"/>
                    <a:pt x="93" y="35"/>
                    <a:pt x="90" y="33"/>
                  </a:cubicBezTo>
                  <a:cubicBezTo>
                    <a:pt x="86" y="31"/>
                    <a:pt x="82" y="32"/>
                    <a:pt x="81" y="33"/>
                  </a:cubicBezTo>
                  <a:cubicBezTo>
                    <a:pt x="79" y="35"/>
                    <a:pt x="73" y="30"/>
                    <a:pt x="71" y="30"/>
                  </a:cubicBezTo>
                  <a:cubicBezTo>
                    <a:pt x="70" y="29"/>
                    <a:pt x="69" y="23"/>
                    <a:pt x="68" y="23"/>
                  </a:cubicBezTo>
                  <a:cubicBezTo>
                    <a:pt x="66" y="24"/>
                    <a:pt x="54" y="21"/>
                    <a:pt x="52" y="21"/>
                  </a:cubicBezTo>
                  <a:cubicBezTo>
                    <a:pt x="50" y="20"/>
                    <a:pt x="45" y="20"/>
                    <a:pt x="44" y="22"/>
                  </a:cubicBezTo>
                  <a:cubicBezTo>
                    <a:pt x="43" y="24"/>
                    <a:pt x="37" y="23"/>
                    <a:pt x="36" y="25"/>
                  </a:cubicBezTo>
                  <a:cubicBezTo>
                    <a:pt x="35" y="27"/>
                    <a:pt x="31" y="28"/>
                    <a:pt x="29" y="30"/>
                  </a:cubicBezTo>
                  <a:cubicBezTo>
                    <a:pt x="27" y="32"/>
                    <a:pt x="22" y="32"/>
                    <a:pt x="20" y="35"/>
                  </a:cubicBezTo>
                  <a:cubicBezTo>
                    <a:pt x="19" y="38"/>
                    <a:pt x="12" y="40"/>
                    <a:pt x="10" y="40"/>
                  </a:cubicBezTo>
                  <a:cubicBezTo>
                    <a:pt x="8" y="40"/>
                    <a:pt x="3" y="41"/>
                    <a:pt x="2" y="43"/>
                  </a:cubicBezTo>
                  <a:cubicBezTo>
                    <a:pt x="2" y="44"/>
                    <a:pt x="1" y="44"/>
                    <a:pt x="0" y="44"/>
                  </a:cubicBezTo>
                  <a:cubicBezTo>
                    <a:pt x="0" y="44"/>
                    <a:pt x="1" y="44"/>
                    <a:pt x="1" y="45"/>
                  </a:cubicBezTo>
                  <a:cubicBezTo>
                    <a:pt x="2" y="52"/>
                    <a:pt x="5" y="52"/>
                    <a:pt x="9" y="55"/>
                  </a:cubicBezTo>
                  <a:cubicBezTo>
                    <a:pt x="12" y="58"/>
                    <a:pt x="15" y="61"/>
                    <a:pt x="19" y="61"/>
                  </a:cubicBezTo>
                  <a:cubicBezTo>
                    <a:pt x="23" y="61"/>
                    <a:pt x="28" y="65"/>
                    <a:pt x="29" y="69"/>
                  </a:cubicBezTo>
                  <a:cubicBezTo>
                    <a:pt x="29" y="72"/>
                    <a:pt x="33" y="76"/>
                    <a:pt x="35" y="77"/>
                  </a:cubicBezTo>
                  <a:cubicBezTo>
                    <a:pt x="37" y="79"/>
                    <a:pt x="34" y="84"/>
                    <a:pt x="34" y="88"/>
                  </a:cubicBezTo>
                  <a:cubicBezTo>
                    <a:pt x="34" y="93"/>
                    <a:pt x="29" y="94"/>
                    <a:pt x="31" y="98"/>
                  </a:cubicBezTo>
                  <a:cubicBezTo>
                    <a:pt x="34" y="102"/>
                    <a:pt x="52" y="104"/>
                    <a:pt x="57" y="104"/>
                  </a:cubicBezTo>
                  <a:cubicBezTo>
                    <a:pt x="62" y="104"/>
                    <a:pt x="64" y="109"/>
                    <a:pt x="65" y="109"/>
                  </a:cubicBezTo>
                  <a:cubicBezTo>
                    <a:pt x="68" y="110"/>
                    <a:pt x="69" y="113"/>
                    <a:pt x="72" y="114"/>
                  </a:cubicBezTo>
                  <a:cubicBezTo>
                    <a:pt x="76" y="115"/>
                    <a:pt x="80" y="117"/>
                    <a:pt x="81" y="124"/>
                  </a:cubicBezTo>
                  <a:cubicBezTo>
                    <a:pt x="83" y="130"/>
                    <a:pt x="87" y="132"/>
                    <a:pt x="88" y="135"/>
                  </a:cubicBezTo>
                  <a:cubicBezTo>
                    <a:pt x="88" y="138"/>
                    <a:pt x="96" y="136"/>
                    <a:pt x="102" y="137"/>
                  </a:cubicBezTo>
                  <a:cubicBezTo>
                    <a:pt x="108" y="137"/>
                    <a:pt x="125" y="137"/>
                    <a:pt x="129" y="137"/>
                  </a:cubicBezTo>
                  <a:cubicBezTo>
                    <a:pt x="133" y="138"/>
                    <a:pt x="144" y="137"/>
                    <a:pt x="149" y="142"/>
                  </a:cubicBezTo>
                  <a:cubicBezTo>
                    <a:pt x="155" y="146"/>
                    <a:pt x="158" y="142"/>
                    <a:pt x="162" y="145"/>
                  </a:cubicBezTo>
                  <a:cubicBezTo>
                    <a:pt x="165" y="147"/>
                    <a:pt x="168" y="148"/>
                    <a:pt x="173" y="148"/>
                  </a:cubicBezTo>
                  <a:cubicBezTo>
                    <a:pt x="179" y="147"/>
                    <a:pt x="179" y="151"/>
                    <a:pt x="182" y="152"/>
                  </a:cubicBezTo>
                  <a:cubicBezTo>
                    <a:pt x="186" y="153"/>
                    <a:pt x="192" y="146"/>
                    <a:pt x="202" y="142"/>
                  </a:cubicBezTo>
                  <a:cubicBezTo>
                    <a:pt x="211" y="137"/>
                    <a:pt x="222" y="140"/>
                    <a:pt x="227" y="141"/>
                  </a:cubicBezTo>
                  <a:cubicBezTo>
                    <a:pt x="232" y="142"/>
                    <a:pt x="242" y="139"/>
                    <a:pt x="247" y="132"/>
                  </a:cubicBezTo>
                  <a:cubicBezTo>
                    <a:pt x="253" y="126"/>
                    <a:pt x="261" y="127"/>
                    <a:pt x="261" y="121"/>
                  </a:cubicBezTo>
                  <a:cubicBezTo>
                    <a:pt x="262" y="116"/>
                    <a:pt x="255" y="113"/>
                    <a:pt x="258" y="108"/>
                  </a:cubicBezTo>
                  <a:cubicBezTo>
                    <a:pt x="261" y="103"/>
                    <a:pt x="266" y="104"/>
                    <a:pt x="269" y="105"/>
                  </a:cubicBezTo>
                  <a:cubicBezTo>
                    <a:pt x="272" y="107"/>
                    <a:pt x="280" y="109"/>
                    <a:pt x="287" y="104"/>
                  </a:cubicBezTo>
                  <a:cubicBezTo>
                    <a:pt x="295" y="99"/>
                    <a:pt x="298" y="100"/>
                    <a:pt x="304" y="99"/>
                  </a:cubicBezTo>
                  <a:cubicBezTo>
                    <a:pt x="311" y="98"/>
                    <a:pt x="310" y="94"/>
                    <a:pt x="314" y="89"/>
                  </a:cubicBezTo>
                  <a:cubicBezTo>
                    <a:pt x="319" y="85"/>
                    <a:pt x="324" y="84"/>
                    <a:pt x="328" y="84"/>
                  </a:cubicBezTo>
                  <a:cubicBezTo>
                    <a:pt x="332" y="84"/>
                    <a:pt x="338" y="79"/>
                    <a:pt x="343" y="81"/>
                  </a:cubicBezTo>
                  <a:cubicBezTo>
                    <a:pt x="347" y="82"/>
                    <a:pt x="354" y="83"/>
                    <a:pt x="354" y="79"/>
                  </a:cubicBezTo>
                  <a:cubicBezTo>
                    <a:pt x="355" y="76"/>
                    <a:pt x="343" y="68"/>
                    <a:pt x="340" y="6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92489" y="3298158"/>
              <a:ext cx="13268" cy="3601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9"/>
                </a:cxn>
                <a:cxn ang="0">
                  <a:pos x="4" y="16"/>
                </a:cxn>
                <a:cxn ang="0">
                  <a:pos x="5" y="3"/>
                </a:cxn>
                <a:cxn ang="0">
                  <a:pos x="6" y="0"/>
                </a:cxn>
                <a:cxn ang="0">
                  <a:pos x="2" y="0"/>
                </a:cxn>
              </a:cxnLst>
              <a:rect l="0" t="0" r="r" b="b"/>
              <a:pathLst>
                <a:path w="6" h="16">
                  <a:moveTo>
                    <a:pt x="2" y="0"/>
                  </a:moveTo>
                  <a:cubicBezTo>
                    <a:pt x="1" y="1"/>
                    <a:pt x="0" y="8"/>
                    <a:pt x="0" y="9"/>
                  </a:cubicBezTo>
                  <a:cubicBezTo>
                    <a:pt x="0" y="9"/>
                    <a:pt x="1" y="13"/>
                    <a:pt x="4" y="16"/>
                  </a:cubicBezTo>
                  <a:cubicBezTo>
                    <a:pt x="5" y="11"/>
                    <a:pt x="5" y="4"/>
                    <a:pt x="5" y="3"/>
                  </a:cubicBezTo>
                  <a:cubicBezTo>
                    <a:pt x="5" y="2"/>
                    <a:pt x="6" y="1"/>
                    <a:pt x="6" y="0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69745" y="3275413"/>
              <a:ext cx="37907" cy="108035"/>
            </a:xfrm>
            <a:custGeom>
              <a:avLst/>
              <a:gdLst/>
              <a:ahLst/>
              <a:cxnLst>
                <a:cxn ang="0">
                  <a:pos x="8" y="47"/>
                </a:cxn>
                <a:cxn ang="0">
                  <a:pos x="9" y="48"/>
                </a:cxn>
                <a:cxn ang="0">
                  <a:pos x="13" y="31"/>
                </a:cxn>
                <a:cxn ang="0">
                  <a:pos x="14" y="26"/>
                </a:cxn>
                <a:cxn ang="0">
                  <a:pos x="10" y="19"/>
                </a:cxn>
                <a:cxn ang="0">
                  <a:pos x="12" y="10"/>
                </a:cxn>
                <a:cxn ang="0">
                  <a:pos x="16" y="10"/>
                </a:cxn>
                <a:cxn ang="0">
                  <a:pos x="17" y="3"/>
                </a:cxn>
                <a:cxn ang="0">
                  <a:pos x="11" y="0"/>
                </a:cxn>
                <a:cxn ang="0">
                  <a:pos x="9" y="6"/>
                </a:cxn>
                <a:cxn ang="0">
                  <a:pos x="0" y="26"/>
                </a:cxn>
                <a:cxn ang="0">
                  <a:pos x="8" y="46"/>
                </a:cxn>
                <a:cxn ang="0">
                  <a:pos x="8" y="47"/>
                </a:cxn>
              </a:cxnLst>
              <a:rect l="0" t="0" r="r" b="b"/>
              <a:pathLst>
                <a:path w="17" h="48">
                  <a:moveTo>
                    <a:pt x="8" y="47"/>
                  </a:moveTo>
                  <a:cubicBezTo>
                    <a:pt x="8" y="47"/>
                    <a:pt x="9" y="47"/>
                    <a:pt x="9" y="48"/>
                  </a:cubicBezTo>
                  <a:cubicBezTo>
                    <a:pt x="10" y="41"/>
                    <a:pt x="11" y="33"/>
                    <a:pt x="13" y="31"/>
                  </a:cubicBezTo>
                  <a:cubicBezTo>
                    <a:pt x="13" y="30"/>
                    <a:pt x="14" y="28"/>
                    <a:pt x="14" y="26"/>
                  </a:cubicBezTo>
                  <a:cubicBezTo>
                    <a:pt x="11" y="23"/>
                    <a:pt x="10" y="19"/>
                    <a:pt x="10" y="19"/>
                  </a:cubicBezTo>
                  <a:cubicBezTo>
                    <a:pt x="10" y="18"/>
                    <a:pt x="11" y="11"/>
                    <a:pt x="12" y="10"/>
                  </a:cubicBezTo>
                  <a:cubicBezTo>
                    <a:pt x="13" y="10"/>
                    <a:pt x="14" y="10"/>
                    <a:pt x="16" y="10"/>
                  </a:cubicBezTo>
                  <a:cubicBezTo>
                    <a:pt x="16" y="8"/>
                    <a:pt x="16" y="5"/>
                    <a:pt x="17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2"/>
                    <a:pt x="9" y="4"/>
                    <a:pt x="9" y="6"/>
                  </a:cubicBezTo>
                  <a:cubicBezTo>
                    <a:pt x="8" y="12"/>
                    <a:pt x="3" y="22"/>
                    <a:pt x="0" y="26"/>
                  </a:cubicBezTo>
                  <a:cubicBezTo>
                    <a:pt x="8" y="46"/>
                    <a:pt x="8" y="46"/>
                    <a:pt x="8" y="46"/>
                  </a:cubicBezTo>
                  <a:lnTo>
                    <a:pt x="8" y="47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90594" y="3275413"/>
              <a:ext cx="109930" cy="117511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30" y="6"/>
                </a:cxn>
                <a:cxn ang="0">
                  <a:pos x="19" y="12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6" y="13"/>
                </a:cxn>
                <a:cxn ang="0">
                  <a:pos x="4" y="31"/>
                </a:cxn>
                <a:cxn ang="0">
                  <a:pos x="0" y="48"/>
                </a:cxn>
                <a:cxn ang="0">
                  <a:pos x="10" y="52"/>
                </a:cxn>
                <a:cxn ang="0">
                  <a:pos x="19" y="45"/>
                </a:cxn>
                <a:cxn ang="0">
                  <a:pos x="26" y="42"/>
                </a:cxn>
                <a:cxn ang="0">
                  <a:pos x="33" y="37"/>
                </a:cxn>
                <a:cxn ang="0">
                  <a:pos x="24" y="27"/>
                </a:cxn>
                <a:cxn ang="0">
                  <a:pos x="35" y="20"/>
                </a:cxn>
                <a:cxn ang="0">
                  <a:pos x="47" y="16"/>
                </a:cxn>
                <a:cxn ang="0">
                  <a:pos x="48" y="16"/>
                </a:cxn>
                <a:cxn ang="0">
                  <a:pos x="45" y="5"/>
                </a:cxn>
                <a:cxn ang="0">
                  <a:pos x="44" y="0"/>
                </a:cxn>
              </a:cxnLst>
              <a:rect l="0" t="0" r="r" b="b"/>
              <a:pathLst>
                <a:path w="48" h="52">
                  <a:moveTo>
                    <a:pt x="44" y="0"/>
                  </a:moveTo>
                  <a:cubicBezTo>
                    <a:pt x="37" y="3"/>
                    <a:pt x="31" y="6"/>
                    <a:pt x="30" y="6"/>
                  </a:cubicBezTo>
                  <a:cubicBezTo>
                    <a:pt x="27" y="7"/>
                    <a:pt x="19" y="12"/>
                    <a:pt x="19" y="12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7"/>
                    <a:pt x="7" y="11"/>
                    <a:pt x="6" y="13"/>
                  </a:cubicBezTo>
                  <a:cubicBezTo>
                    <a:pt x="6" y="15"/>
                    <a:pt x="6" y="29"/>
                    <a:pt x="4" y="31"/>
                  </a:cubicBezTo>
                  <a:cubicBezTo>
                    <a:pt x="2" y="33"/>
                    <a:pt x="1" y="41"/>
                    <a:pt x="0" y="48"/>
                  </a:cubicBezTo>
                  <a:cubicBezTo>
                    <a:pt x="4" y="50"/>
                    <a:pt x="8" y="52"/>
                    <a:pt x="10" y="52"/>
                  </a:cubicBezTo>
                  <a:cubicBezTo>
                    <a:pt x="14" y="52"/>
                    <a:pt x="19" y="48"/>
                    <a:pt x="19" y="45"/>
                  </a:cubicBezTo>
                  <a:cubicBezTo>
                    <a:pt x="19" y="43"/>
                    <a:pt x="23" y="42"/>
                    <a:pt x="26" y="42"/>
                  </a:cubicBezTo>
                  <a:cubicBezTo>
                    <a:pt x="30" y="42"/>
                    <a:pt x="30" y="38"/>
                    <a:pt x="33" y="37"/>
                  </a:cubicBezTo>
                  <a:cubicBezTo>
                    <a:pt x="35" y="35"/>
                    <a:pt x="27" y="28"/>
                    <a:pt x="24" y="27"/>
                  </a:cubicBezTo>
                  <a:cubicBezTo>
                    <a:pt x="22" y="26"/>
                    <a:pt x="27" y="20"/>
                    <a:pt x="35" y="20"/>
                  </a:cubicBezTo>
                  <a:cubicBezTo>
                    <a:pt x="44" y="19"/>
                    <a:pt x="42" y="16"/>
                    <a:pt x="47" y="16"/>
                  </a:cubicBezTo>
                  <a:cubicBezTo>
                    <a:pt x="47" y="16"/>
                    <a:pt x="47" y="16"/>
                    <a:pt x="48" y="16"/>
                  </a:cubicBezTo>
                  <a:cubicBezTo>
                    <a:pt x="47" y="12"/>
                    <a:pt x="46" y="8"/>
                    <a:pt x="45" y="5"/>
                  </a:cubicBezTo>
                  <a:cubicBezTo>
                    <a:pt x="45" y="4"/>
                    <a:pt x="44" y="2"/>
                    <a:pt x="44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5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088989" y="2979739"/>
              <a:ext cx="280511" cy="123198"/>
            </a:xfrm>
            <a:custGeom>
              <a:avLst/>
              <a:gdLst/>
              <a:ahLst/>
              <a:cxnLst>
                <a:cxn ang="0">
                  <a:pos x="114" y="10"/>
                </a:cxn>
                <a:cxn ang="0">
                  <a:pos x="103" y="7"/>
                </a:cxn>
                <a:cxn ang="0">
                  <a:pos x="74" y="6"/>
                </a:cxn>
                <a:cxn ang="0">
                  <a:pos x="59" y="1"/>
                </a:cxn>
                <a:cxn ang="0">
                  <a:pos x="47" y="6"/>
                </a:cxn>
                <a:cxn ang="0">
                  <a:pos x="37" y="8"/>
                </a:cxn>
                <a:cxn ang="0">
                  <a:pos x="22" y="8"/>
                </a:cxn>
                <a:cxn ang="0">
                  <a:pos x="15" y="16"/>
                </a:cxn>
                <a:cxn ang="0">
                  <a:pos x="12" y="22"/>
                </a:cxn>
                <a:cxn ang="0">
                  <a:pos x="16" y="26"/>
                </a:cxn>
                <a:cxn ang="0">
                  <a:pos x="25" y="25"/>
                </a:cxn>
                <a:cxn ang="0">
                  <a:pos x="40" y="32"/>
                </a:cxn>
                <a:cxn ang="0">
                  <a:pos x="35" y="38"/>
                </a:cxn>
                <a:cxn ang="0">
                  <a:pos x="25" y="40"/>
                </a:cxn>
                <a:cxn ang="0">
                  <a:pos x="8" y="42"/>
                </a:cxn>
                <a:cxn ang="0">
                  <a:pos x="0" y="49"/>
                </a:cxn>
                <a:cxn ang="0">
                  <a:pos x="16" y="50"/>
                </a:cxn>
                <a:cxn ang="0">
                  <a:pos x="26" y="50"/>
                </a:cxn>
                <a:cxn ang="0">
                  <a:pos x="36" y="52"/>
                </a:cxn>
                <a:cxn ang="0">
                  <a:pos x="51" y="51"/>
                </a:cxn>
                <a:cxn ang="0">
                  <a:pos x="52" y="46"/>
                </a:cxn>
                <a:cxn ang="0">
                  <a:pos x="57" y="43"/>
                </a:cxn>
                <a:cxn ang="0">
                  <a:pos x="64" y="39"/>
                </a:cxn>
                <a:cxn ang="0">
                  <a:pos x="70" y="37"/>
                </a:cxn>
                <a:cxn ang="0">
                  <a:pos x="77" y="39"/>
                </a:cxn>
                <a:cxn ang="0">
                  <a:pos x="84" y="34"/>
                </a:cxn>
                <a:cxn ang="0">
                  <a:pos x="94" y="31"/>
                </a:cxn>
                <a:cxn ang="0">
                  <a:pos x="103" y="26"/>
                </a:cxn>
                <a:cxn ang="0">
                  <a:pos x="112" y="21"/>
                </a:cxn>
                <a:cxn ang="0">
                  <a:pos x="122" y="16"/>
                </a:cxn>
                <a:cxn ang="0">
                  <a:pos x="123" y="14"/>
                </a:cxn>
                <a:cxn ang="0">
                  <a:pos x="114" y="10"/>
                </a:cxn>
              </a:cxnLst>
              <a:rect l="0" t="0" r="r" b="b"/>
              <a:pathLst>
                <a:path w="123" h="54">
                  <a:moveTo>
                    <a:pt x="114" y="10"/>
                  </a:moveTo>
                  <a:cubicBezTo>
                    <a:pt x="109" y="5"/>
                    <a:pt x="108" y="9"/>
                    <a:pt x="103" y="7"/>
                  </a:cubicBezTo>
                  <a:cubicBezTo>
                    <a:pt x="98" y="6"/>
                    <a:pt x="78" y="4"/>
                    <a:pt x="74" y="6"/>
                  </a:cubicBezTo>
                  <a:cubicBezTo>
                    <a:pt x="70" y="7"/>
                    <a:pt x="62" y="3"/>
                    <a:pt x="59" y="1"/>
                  </a:cubicBezTo>
                  <a:cubicBezTo>
                    <a:pt x="56" y="0"/>
                    <a:pt x="48" y="1"/>
                    <a:pt x="47" y="6"/>
                  </a:cubicBezTo>
                  <a:cubicBezTo>
                    <a:pt x="47" y="11"/>
                    <a:pt x="43" y="11"/>
                    <a:pt x="37" y="8"/>
                  </a:cubicBezTo>
                  <a:cubicBezTo>
                    <a:pt x="31" y="5"/>
                    <a:pt x="22" y="5"/>
                    <a:pt x="22" y="8"/>
                  </a:cubicBezTo>
                  <a:cubicBezTo>
                    <a:pt x="22" y="11"/>
                    <a:pt x="17" y="15"/>
                    <a:pt x="15" y="16"/>
                  </a:cubicBezTo>
                  <a:cubicBezTo>
                    <a:pt x="14" y="16"/>
                    <a:pt x="13" y="19"/>
                    <a:pt x="12" y="22"/>
                  </a:cubicBezTo>
                  <a:cubicBezTo>
                    <a:pt x="13" y="22"/>
                    <a:pt x="15" y="24"/>
                    <a:pt x="16" y="26"/>
                  </a:cubicBezTo>
                  <a:cubicBezTo>
                    <a:pt x="18" y="28"/>
                    <a:pt x="24" y="28"/>
                    <a:pt x="25" y="25"/>
                  </a:cubicBezTo>
                  <a:cubicBezTo>
                    <a:pt x="26" y="22"/>
                    <a:pt x="35" y="28"/>
                    <a:pt x="40" y="32"/>
                  </a:cubicBezTo>
                  <a:cubicBezTo>
                    <a:pt x="46" y="37"/>
                    <a:pt x="38" y="34"/>
                    <a:pt x="35" y="38"/>
                  </a:cubicBezTo>
                  <a:cubicBezTo>
                    <a:pt x="33" y="42"/>
                    <a:pt x="26" y="38"/>
                    <a:pt x="25" y="40"/>
                  </a:cubicBezTo>
                  <a:cubicBezTo>
                    <a:pt x="23" y="42"/>
                    <a:pt x="11" y="42"/>
                    <a:pt x="8" y="42"/>
                  </a:cubicBezTo>
                  <a:cubicBezTo>
                    <a:pt x="5" y="42"/>
                    <a:pt x="0" y="46"/>
                    <a:pt x="0" y="49"/>
                  </a:cubicBezTo>
                  <a:cubicBezTo>
                    <a:pt x="1" y="51"/>
                    <a:pt x="12" y="47"/>
                    <a:pt x="16" y="50"/>
                  </a:cubicBezTo>
                  <a:cubicBezTo>
                    <a:pt x="20" y="53"/>
                    <a:pt x="24" y="47"/>
                    <a:pt x="26" y="50"/>
                  </a:cubicBezTo>
                  <a:cubicBezTo>
                    <a:pt x="29" y="54"/>
                    <a:pt x="34" y="51"/>
                    <a:pt x="36" y="52"/>
                  </a:cubicBezTo>
                  <a:cubicBezTo>
                    <a:pt x="38" y="53"/>
                    <a:pt x="50" y="51"/>
                    <a:pt x="51" y="51"/>
                  </a:cubicBezTo>
                  <a:cubicBezTo>
                    <a:pt x="52" y="50"/>
                    <a:pt x="52" y="48"/>
                    <a:pt x="52" y="46"/>
                  </a:cubicBezTo>
                  <a:cubicBezTo>
                    <a:pt x="52" y="43"/>
                    <a:pt x="55" y="44"/>
                    <a:pt x="57" y="43"/>
                  </a:cubicBezTo>
                  <a:cubicBezTo>
                    <a:pt x="60" y="42"/>
                    <a:pt x="62" y="39"/>
                    <a:pt x="64" y="39"/>
                  </a:cubicBezTo>
                  <a:cubicBezTo>
                    <a:pt x="66" y="39"/>
                    <a:pt x="68" y="36"/>
                    <a:pt x="70" y="37"/>
                  </a:cubicBezTo>
                  <a:cubicBezTo>
                    <a:pt x="72" y="37"/>
                    <a:pt x="75" y="41"/>
                    <a:pt x="77" y="39"/>
                  </a:cubicBezTo>
                  <a:cubicBezTo>
                    <a:pt x="80" y="37"/>
                    <a:pt x="81" y="39"/>
                    <a:pt x="84" y="34"/>
                  </a:cubicBezTo>
                  <a:cubicBezTo>
                    <a:pt x="88" y="30"/>
                    <a:pt x="90" y="31"/>
                    <a:pt x="94" y="31"/>
                  </a:cubicBezTo>
                  <a:cubicBezTo>
                    <a:pt x="100" y="32"/>
                    <a:pt x="102" y="29"/>
                    <a:pt x="103" y="26"/>
                  </a:cubicBezTo>
                  <a:cubicBezTo>
                    <a:pt x="105" y="23"/>
                    <a:pt x="109" y="23"/>
                    <a:pt x="112" y="21"/>
                  </a:cubicBezTo>
                  <a:cubicBezTo>
                    <a:pt x="115" y="19"/>
                    <a:pt x="120" y="17"/>
                    <a:pt x="122" y="16"/>
                  </a:cubicBezTo>
                  <a:cubicBezTo>
                    <a:pt x="123" y="16"/>
                    <a:pt x="123" y="15"/>
                    <a:pt x="123" y="14"/>
                  </a:cubicBezTo>
                  <a:cubicBezTo>
                    <a:pt x="119" y="11"/>
                    <a:pt x="117" y="14"/>
                    <a:pt x="114" y="1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317582" y="2966471"/>
              <a:ext cx="178163" cy="79605"/>
            </a:xfrm>
            <a:custGeom>
              <a:avLst/>
              <a:gdLst/>
              <a:ahLst/>
              <a:cxnLst>
                <a:cxn ang="0">
                  <a:pos x="31" y="27"/>
                </a:cxn>
                <a:cxn ang="0">
                  <a:pos x="39" y="33"/>
                </a:cxn>
                <a:cxn ang="0">
                  <a:pos x="40" y="34"/>
                </a:cxn>
                <a:cxn ang="0">
                  <a:pos x="51" y="32"/>
                </a:cxn>
                <a:cxn ang="0">
                  <a:pos x="61" y="33"/>
                </a:cxn>
                <a:cxn ang="0">
                  <a:pos x="60" y="30"/>
                </a:cxn>
                <a:cxn ang="0">
                  <a:pos x="68" y="33"/>
                </a:cxn>
                <a:cxn ang="0">
                  <a:pos x="77" y="33"/>
                </a:cxn>
                <a:cxn ang="0">
                  <a:pos x="73" y="28"/>
                </a:cxn>
                <a:cxn ang="0">
                  <a:pos x="75" y="24"/>
                </a:cxn>
                <a:cxn ang="0">
                  <a:pos x="68" y="21"/>
                </a:cxn>
                <a:cxn ang="0">
                  <a:pos x="65" y="14"/>
                </a:cxn>
                <a:cxn ang="0">
                  <a:pos x="61" y="12"/>
                </a:cxn>
                <a:cxn ang="0">
                  <a:pos x="49" y="14"/>
                </a:cxn>
                <a:cxn ang="0">
                  <a:pos x="42" y="10"/>
                </a:cxn>
                <a:cxn ang="0">
                  <a:pos x="35" y="6"/>
                </a:cxn>
                <a:cxn ang="0">
                  <a:pos x="18" y="4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18" y="12"/>
                </a:cxn>
                <a:cxn ang="0">
                  <a:pos x="22" y="23"/>
                </a:cxn>
                <a:cxn ang="0">
                  <a:pos x="19" y="27"/>
                </a:cxn>
                <a:cxn ang="0">
                  <a:pos x="31" y="27"/>
                </a:cxn>
              </a:cxnLst>
              <a:rect l="0" t="0" r="r" b="b"/>
              <a:pathLst>
                <a:path w="78" h="35">
                  <a:moveTo>
                    <a:pt x="31" y="27"/>
                  </a:moveTo>
                  <a:cubicBezTo>
                    <a:pt x="35" y="25"/>
                    <a:pt x="36" y="29"/>
                    <a:pt x="39" y="33"/>
                  </a:cubicBezTo>
                  <a:cubicBezTo>
                    <a:pt x="39" y="33"/>
                    <a:pt x="39" y="34"/>
                    <a:pt x="40" y="34"/>
                  </a:cubicBezTo>
                  <a:cubicBezTo>
                    <a:pt x="44" y="33"/>
                    <a:pt x="47" y="32"/>
                    <a:pt x="51" y="32"/>
                  </a:cubicBezTo>
                  <a:cubicBezTo>
                    <a:pt x="54" y="31"/>
                    <a:pt x="58" y="32"/>
                    <a:pt x="61" y="33"/>
                  </a:cubicBezTo>
                  <a:cubicBezTo>
                    <a:pt x="60" y="32"/>
                    <a:pt x="60" y="31"/>
                    <a:pt x="60" y="30"/>
                  </a:cubicBezTo>
                  <a:cubicBezTo>
                    <a:pt x="61" y="28"/>
                    <a:pt x="66" y="31"/>
                    <a:pt x="68" y="33"/>
                  </a:cubicBezTo>
                  <a:cubicBezTo>
                    <a:pt x="70" y="34"/>
                    <a:pt x="75" y="35"/>
                    <a:pt x="77" y="33"/>
                  </a:cubicBezTo>
                  <a:cubicBezTo>
                    <a:pt x="78" y="32"/>
                    <a:pt x="74" y="30"/>
                    <a:pt x="73" y="28"/>
                  </a:cubicBezTo>
                  <a:cubicBezTo>
                    <a:pt x="73" y="27"/>
                    <a:pt x="74" y="26"/>
                    <a:pt x="75" y="24"/>
                  </a:cubicBezTo>
                  <a:cubicBezTo>
                    <a:pt x="72" y="22"/>
                    <a:pt x="69" y="20"/>
                    <a:pt x="68" y="21"/>
                  </a:cubicBezTo>
                  <a:cubicBezTo>
                    <a:pt x="67" y="21"/>
                    <a:pt x="67" y="14"/>
                    <a:pt x="65" y="14"/>
                  </a:cubicBezTo>
                  <a:cubicBezTo>
                    <a:pt x="63" y="14"/>
                    <a:pt x="63" y="12"/>
                    <a:pt x="61" y="12"/>
                  </a:cubicBezTo>
                  <a:cubicBezTo>
                    <a:pt x="59" y="12"/>
                    <a:pt x="51" y="12"/>
                    <a:pt x="49" y="14"/>
                  </a:cubicBezTo>
                  <a:cubicBezTo>
                    <a:pt x="47" y="15"/>
                    <a:pt x="45" y="10"/>
                    <a:pt x="42" y="10"/>
                  </a:cubicBezTo>
                  <a:cubicBezTo>
                    <a:pt x="40" y="10"/>
                    <a:pt x="37" y="8"/>
                    <a:pt x="35" y="6"/>
                  </a:cubicBezTo>
                  <a:cubicBezTo>
                    <a:pt x="34" y="4"/>
                    <a:pt x="21" y="7"/>
                    <a:pt x="18" y="4"/>
                  </a:cubicBezTo>
                  <a:cubicBezTo>
                    <a:pt x="14" y="2"/>
                    <a:pt x="8" y="0"/>
                    <a:pt x="4" y="0"/>
                  </a:cubicBezTo>
                  <a:cubicBezTo>
                    <a:pt x="3" y="0"/>
                    <a:pt x="2" y="1"/>
                    <a:pt x="0" y="2"/>
                  </a:cubicBezTo>
                  <a:cubicBezTo>
                    <a:pt x="7" y="6"/>
                    <a:pt x="16" y="5"/>
                    <a:pt x="18" y="12"/>
                  </a:cubicBezTo>
                  <a:cubicBezTo>
                    <a:pt x="19" y="20"/>
                    <a:pt x="24" y="17"/>
                    <a:pt x="22" y="23"/>
                  </a:cubicBezTo>
                  <a:cubicBezTo>
                    <a:pt x="22" y="25"/>
                    <a:pt x="21" y="26"/>
                    <a:pt x="19" y="27"/>
                  </a:cubicBezTo>
                  <a:cubicBezTo>
                    <a:pt x="24" y="28"/>
                    <a:pt x="29" y="28"/>
                    <a:pt x="31" y="2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1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961257" y="3010065"/>
              <a:ext cx="485209" cy="191431"/>
            </a:xfrm>
            <a:custGeom>
              <a:avLst/>
              <a:gdLst/>
              <a:ahLst/>
              <a:cxnLst>
                <a:cxn ang="0">
                  <a:pos x="206" y="59"/>
                </a:cxn>
                <a:cxn ang="0">
                  <a:pos x="206" y="47"/>
                </a:cxn>
                <a:cxn ang="0">
                  <a:pos x="206" y="37"/>
                </a:cxn>
                <a:cxn ang="0">
                  <a:pos x="209" y="32"/>
                </a:cxn>
                <a:cxn ang="0">
                  <a:pos x="207" y="28"/>
                </a:cxn>
                <a:cxn ang="0">
                  <a:pos x="198" y="24"/>
                </a:cxn>
                <a:cxn ang="0">
                  <a:pos x="195" y="14"/>
                </a:cxn>
                <a:cxn ang="0">
                  <a:pos x="187" y="8"/>
                </a:cxn>
                <a:cxn ang="0">
                  <a:pos x="175" y="8"/>
                </a:cxn>
                <a:cxn ang="0">
                  <a:pos x="154" y="15"/>
                </a:cxn>
                <a:cxn ang="0">
                  <a:pos x="135" y="16"/>
                </a:cxn>
                <a:cxn ang="0">
                  <a:pos x="121" y="11"/>
                </a:cxn>
                <a:cxn ang="0">
                  <a:pos x="111" y="7"/>
                </a:cxn>
                <a:cxn ang="0">
                  <a:pos x="95" y="2"/>
                </a:cxn>
                <a:cxn ang="0">
                  <a:pos x="60" y="13"/>
                </a:cxn>
                <a:cxn ang="0">
                  <a:pos x="36" y="14"/>
                </a:cxn>
                <a:cxn ang="0">
                  <a:pos x="30" y="23"/>
                </a:cxn>
                <a:cxn ang="0">
                  <a:pos x="6" y="25"/>
                </a:cxn>
                <a:cxn ang="0">
                  <a:pos x="4" y="33"/>
                </a:cxn>
                <a:cxn ang="0">
                  <a:pos x="9" y="36"/>
                </a:cxn>
                <a:cxn ang="0">
                  <a:pos x="10" y="45"/>
                </a:cxn>
                <a:cxn ang="0">
                  <a:pos x="10" y="53"/>
                </a:cxn>
                <a:cxn ang="0">
                  <a:pos x="10" y="59"/>
                </a:cxn>
                <a:cxn ang="0">
                  <a:pos x="16" y="65"/>
                </a:cxn>
                <a:cxn ang="0">
                  <a:pos x="23" y="69"/>
                </a:cxn>
                <a:cxn ang="0">
                  <a:pos x="29" y="71"/>
                </a:cxn>
                <a:cxn ang="0">
                  <a:pos x="36" y="78"/>
                </a:cxn>
                <a:cxn ang="0">
                  <a:pos x="50" y="75"/>
                </a:cxn>
                <a:cxn ang="0">
                  <a:pos x="59" y="71"/>
                </a:cxn>
                <a:cxn ang="0">
                  <a:pos x="75" y="80"/>
                </a:cxn>
                <a:cxn ang="0">
                  <a:pos x="86" y="78"/>
                </a:cxn>
                <a:cxn ang="0">
                  <a:pos x="97" y="71"/>
                </a:cxn>
                <a:cxn ang="0">
                  <a:pos x="106" y="74"/>
                </a:cxn>
                <a:cxn ang="0">
                  <a:pos x="114" y="71"/>
                </a:cxn>
                <a:cxn ang="0">
                  <a:pos x="111" y="80"/>
                </a:cxn>
                <a:cxn ang="0">
                  <a:pos x="111" y="84"/>
                </a:cxn>
                <a:cxn ang="0">
                  <a:pos x="118" y="76"/>
                </a:cxn>
                <a:cxn ang="0">
                  <a:pos x="123" y="74"/>
                </a:cxn>
                <a:cxn ang="0">
                  <a:pos x="133" y="74"/>
                </a:cxn>
                <a:cxn ang="0">
                  <a:pos x="140" y="72"/>
                </a:cxn>
                <a:cxn ang="0">
                  <a:pos x="153" y="73"/>
                </a:cxn>
                <a:cxn ang="0">
                  <a:pos x="168" y="68"/>
                </a:cxn>
                <a:cxn ang="0">
                  <a:pos x="180" y="66"/>
                </a:cxn>
                <a:cxn ang="0">
                  <a:pos x="185" y="68"/>
                </a:cxn>
                <a:cxn ang="0">
                  <a:pos x="190" y="64"/>
                </a:cxn>
                <a:cxn ang="0">
                  <a:pos x="200" y="66"/>
                </a:cxn>
                <a:cxn ang="0">
                  <a:pos x="212" y="68"/>
                </a:cxn>
                <a:cxn ang="0">
                  <a:pos x="206" y="59"/>
                </a:cxn>
                <a:cxn ang="0">
                  <a:pos x="19" y="16"/>
                </a:cxn>
                <a:cxn ang="0">
                  <a:pos x="34" y="14"/>
                </a:cxn>
                <a:cxn ang="0">
                  <a:pos x="25" y="8"/>
                </a:cxn>
                <a:cxn ang="0">
                  <a:pos x="22" y="2"/>
                </a:cxn>
                <a:cxn ang="0">
                  <a:pos x="18" y="3"/>
                </a:cxn>
                <a:cxn ang="0">
                  <a:pos x="6" y="3"/>
                </a:cxn>
                <a:cxn ang="0">
                  <a:pos x="7" y="10"/>
                </a:cxn>
                <a:cxn ang="0">
                  <a:pos x="4" y="15"/>
                </a:cxn>
                <a:cxn ang="0">
                  <a:pos x="1" y="19"/>
                </a:cxn>
                <a:cxn ang="0">
                  <a:pos x="8" y="22"/>
                </a:cxn>
                <a:cxn ang="0">
                  <a:pos x="19" y="16"/>
                </a:cxn>
              </a:cxnLst>
              <a:rect l="0" t="0" r="r" b="b"/>
              <a:pathLst>
                <a:path w="212" h="84">
                  <a:moveTo>
                    <a:pt x="206" y="59"/>
                  </a:moveTo>
                  <a:cubicBezTo>
                    <a:pt x="204" y="58"/>
                    <a:pt x="207" y="49"/>
                    <a:pt x="206" y="47"/>
                  </a:cubicBezTo>
                  <a:cubicBezTo>
                    <a:pt x="205" y="45"/>
                    <a:pt x="203" y="37"/>
                    <a:pt x="206" y="37"/>
                  </a:cubicBezTo>
                  <a:cubicBezTo>
                    <a:pt x="208" y="37"/>
                    <a:pt x="206" y="32"/>
                    <a:pt x="209" y="32"/>
                  </a:cubicBezTo>
                  <a:cubicBezTo>
                    <a:pt x="208" y="30"/>
                    <a:pt x="207" y="28"/>
                    <a:pt x="207" y="28"/>
                  </a:cubicBezTo>
                  <a:cubicBezTo>
                    <a:pt x="205" y="26"/>
                    <a:pt x="200" y="29"/>
                    <a:pt x="198" y="24"/>
                  </a:cubicBezTo>
                  <a:cubicBezTo>
                    <a:pt x="196" y="19"/>
                    <a:pt x="198" y="18"/>
                    <a:pt x="195" y="14"/>
                  </a:cubicBezTo>
                  <a:cubicBezTo>
                    <a:pt x="192" y="10"/>
                    <a:pt x="191" y="6"/>
                    <a:pt x="187" y="8"/>
                  </a:cubicBezTo>
                  <a:cubicBezTo>
                    <a:pt x="185" y="9"/>
                    <a:pt x="180" y="9"/>
                    <a:pt x="175" y="8"/>
                  </a:cubicBezTo>
                  <a:cubicBezTo>
                    <a:pt x="170" y="13"/>
                    <a:pt x="158" y="17"/>
                    <a:pt x="154" y="15"/>
                  </a:cubicBezTo>
                  <a:cubicBezTo>
                    <a:pt x="150" y="14"/>
                    <a:pt x="141" y="16"/>
                    <a:pt x="135" y="16"/>
                  </a:cubicBezTo>
                  <a:cubicBezTo>
                    <a:pt x="128" y="16"/>
                    <a:pt x="126" y="11"/>
                    <a:pt x="121" y="11"/>
                  </a:cubicBezTo>
                  <a:cubicBezTo>
                    <a:pt x="116" y="12"/>
                    <a:pt x="116" y="7"/>
                    <a:pt x="111" y="7"/>
                  </a:cubicBezTo>
                  <a:cubicBezTo>
                    <a:pt x="106" y="7"/>
                    <a:pt x="110" y="4"/>
                    <a:pt x="95" y="2"/>
                  </a:cubicBezTo>
                  <a:cubicBezTo>
                    <a:pt x="79" y="0"/>
                    <a:pt x="65" y="9"/>
                    <a:pt x="60" y="13"/>
                  </a:cubicBezTo>
                  <a:cubicBezTo>
                    <a:pt x="55" y="17"/>
                    <a:pt x="37" y="13"/>
                    <a:pt x="36" y="14"/>
                  </a:cubicBezTo>
                  <a:cubicBezTo>
                    <a:pt x="34" y="15"/>
                    <a:pt x="36" y="21"/>
                    <a:pt x="30" y="23"/>
                  </a:cubicBezTo>
                  <a:cubicBezTo>
                    <a:pt x="24" y="25"/>
                    <a:pt x="11" y="23"/>
                    <a:pt x="6" y="25"/>
                  </a:cubicBezTo>
                  <a:cubicBezTo>
                    <a:pt x="2" y="27"/>
                    <a:pt x="0" y="34"/>
                    <a:pt x="4" y="33"/>
                  </a:cubicBezTo>
                  <a:cubicBezTo>
                    <a:pt x="8" y="33"/>
                    <a:pt x="10" y="35"/>
                    <a:pt x="9" y="36"/>
                  </a:cubicBezTo>
                  <a:cubicBezTo>
                    <a:pt x="8" y="38"/>
                    <a:pt x="12" y="43"/>
                    <a:pt x="10" y="45"/>
                  </a:cubicBezTo>
                  <a:cubicBezTo>
                    <a:pt x="8" y="47"/>
                    <a:pt x="7" y="51"/>
                    <a:pt x="10" y="53"/>
                  </a:cubicBezTo>
                  <a:cubicBezTo>
                    <a:pt x="13" y="55"/>
                    <a:pt x="13" y="58"/>
                    <a:pt x="10" y="59"/>
                  </a:cubicBezTo>
                  <a:cubicBezTo>
                    <a:pt x="7" y="59"/>
                    <a:pt x="16" y="63"/>
                    <a:pt x="16" y="65"/>
                  </a:cubicBezTo>
                  <a:cubicBezTo>
                    <a:pt x="16" y="66"/>
                    <a:pt x="23" y="67"/>
                    <a:pt x="23" y="69"/>
                  </a:cubicBezTo>
                  <a:cubicBezTo>
                    <a:pt x="23" y="71"/>
                    <a:pt x="25" y="72"/>
                    <a:pt x="29" y="71"/>
                  </a:cubicBezTo>
                  <a:cubicBezTo>
                    <a:pt x="32" y="70"/>
                    <a:pt x="34" y="75"/>
                    <a:pt x="36" y="78"/>
                  </a:cubicBezTo>
                  <a:cubicBezTo>
                    <a:pt x="38" y="81"/>
                    <a:pt x="50" y="79"/>
                    <a:pt x="50" y="75"/>
                  </a:cubicBezTo>
                  <a:cubicBezTo>
                    <a:pt x="50" y="72"/>
                    <a:pt x="54" y="71"/>
                    <a:pt x="59" y="71"/>
                  </a:cubicBezTo>
                  <a:cubicBezTo>
                    <a:pt x="65" y="72"/>
                    <a:pt x="72" y="79"/>
                    <a:pt x="75" y="80"/>
                  </a:cubicBezTo>
                  <a:cubicBezTo>
                    <a:pt x="77" y="81"/>
                    <a:pt x="83" y="78"/>
                    <a:pt x="86" y="78"/>
                  </a:cubicBezTo>
                  <a:cubicBezTo>
                    <a:pt x="90" y="78"/>
                    <a:pt x="95" y="73"/>
                    <a:pt x="97" y="71"/>
                  </a:cubicBezTo>
                  <a:cubicBezTo>
                    <a:pt x="99" y="70"/>
                    <a:pt x="102" y="75"/>
                    <a:pt x="106" y="74"/>
                  </a:cubicBezTo>
                  <a:cubicBezTo>
                    <a:pt x="109" y="72"/>
                    <a:pt x="112" y="70"/>
                    <a:pt x="114" y="71"/>
                  </a:cubicBezTo>
                  <a:cubicBezTo>
                    <a:pt x="116" y="72"/>
                    <a:pt x="109" y="78"/>
                    <a:pt x="111" y="80"/>
                  </a:cubicBezTo>
                  <a:cubicBezTo>
                    <a:pt x="112" y="81"/>
                    <a:pt x="112" y="83"/>
                    <a:pt x="111" y="84"/>
                  </a:cubicBezTo>
                  <a:cubicBezTo>
                    <a:pt x="118" y="83"/>
                    <a:pt x="118" y="78"/>
                    <a:pt x="118" y="76"/>
                  </a:cubicBezTo>
                  <a:cubicBezTo>
                    <a:pt x="119" y="74"/>
                    <a:pt x="120" y="72"/>
                    <a:pt x="123" y="74"/>
                  </a:cubicBezTo>
                  <a:cubicBezTo>
                    <a:pt x="125" y="75"/>
                    <a:pt x="128" y="76"/>
                    <a:pt x="133" y="74"/>
                  </a:cubicBezTo>
                  <a:cubicBezTo>
                    <a:pt x="138" y="71"/>
                    <a:pt x="138" y="70"/>
                    <a:pt x="140" y="72"/>
                  </a:cubicBezTo>
                  <a:cubicBezTo>
                    <a:pt x="142" y="74"/>
                    <a:pt x="146" y="73"/>
                    <a:pt x="153" y="73"/>
                  </a:cubicBezTo>
                  <a:cubicBezTo>
                    <a:pt x="160" y="73"/>
                    <a:pt x="161" y="68"/>
                    <a:pt x="168" y="68"/>
                  </a:cubicBezTo>
                  <a:cubicBezTo>
                    <a:pt x="175" y="69"/>
                    <a:pt x="180" y="66"/>
                    <a:pt x="180" y="66"/>
                  </a:cubicBezTo>
                  <a:cubicBezTo>
                    <a:pt x="185" y="68"/>
                    <a:pt x="185" y="68"/>
                    <a:pt x="185" y="68"/>
                  </a:cubicBezTo>
                  <a:cubicBezTo>
                    <a:pt x="186" y="66"/>
                    <a:pt x="186" y="64"/>
                    <a:pt x="190" y="64"/>
                  </a:cubicBezTo>
                  <a:cubicBezTo>
                    <a:pt x="195" y="63"/>
                    <a:pt x="197" y="67"/>
                    <a:pt x="200" y="66"/>
                  </a:cubicBezTo>
                  <a:cubicBezTo>
                    <a:pt x="202" y="65"/>
                    <a:pt x="211" y="74"/>
                    <a:pt x="212" y="68"/>
                  </a:cubicBezTo>
                  <a:cubicBezTo>
                    <a:pt x="212" y="66"/>
                    <a:pt x="208" y="59"/>
                    <a:pt x="206" y="59"/>
                  </a:cubicBezTo>
                  <a:close/>
                  <a:moveTo>
                    <a:pt x="19" y="16"/>
                  </a:moveTo>
                  <a:cubicBezTo>
                    <a:pt x="23" y="14"/>
                    <a:pt x="32" y="16"/>
                    <a:pt x="34" y="14"/>
                  </a:cubicBezTo>
                  <a:cubicBezTo>
                    <a:pt x="36" y="12"/>
                    <a:pt x="28" y="10"/>
                    <a:pt x="25" y="8"/>
                  </a:cubicBezTo>
                  <a:cubicBezTo>
                    <a:pt x="24" y="6"/>
                    <a:pt x="23" y="4"/>
                    <a:pt x="22" y="2"/>
                  </a:cubicBezTo>
                  <a:cubicBezTo>
                    <a:pt x="21" y="3"/>
                    <a:pt x="19" y="3"/>
                    <a:pt x="18" y="3"/>
                  </a:cubicBezTo>
                  <a:cubicBezTo>
                    <a:pt x="15" y="1"/>
                    <a:pt x="8" y="2"/>
                    <a:pt x="6" y="3"/>
                  </a:cubicBezTo>
                  <a:cubicBezTo>
                    <a:pt x="5" y="3"/>
                    <a:pt x="7" y="7"/>
                    <a:pt x="7" y="10"/>
                  </a:cubicBezTo>
                  <a:cubicBezTo>
                    <a:pt x="7" y="13"/>
                    <a:pt x="4" y="14"/>
                    <a:pt x="4" y="15"/>
                  </a:cubicBezTo>
                  <a:cubicBezTo>
                    <a:pt x="4" y="17"/>
                    <a:pt x="3" y="18"/>
                    <a:pt x="1" y="19"/>
                  </a:cubicBezTo>
                  <a:cubicBezTo>
                    <a:pt x="4" y="21"/>
                    <a:pt x="6" y="22"/>
                    <a:pt x="8" y="22"/>
                  </a:cubicBezTo>
                  <a:cubicBezTo>
                    <a:pt x="13" y="22"/>
                    <a:pt x="15" y="17"/>
                    <a:pt x="19" y="1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312639" y="3203390"/>
              <a:ext cx="60651" cy="5686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8"/>
                </a:cxn>
                <a:cxn ang="0">
                  <a:pos x="1" y="11"/>
                </a:cxn>
                <a:cxn ang="0">
                  <a:pos x="8" y="18"/>
                </a:cxn>
                <a:cxn ang="0">
                  <a:pos x="9" y="25"/>
                </a:cxn>
                <a:cxn ang="0">
                  <a:pos x="14" y="25"/>
                </a:cxn>
                <a:cxn ang="0">
                  <a:pos x="25" y="11"/>
                </a:cxn>
                <a:cxn ang="0">
                  <a:pos x="12" y="0"/>
                </a:cxn>
              </a:cxnLst>
              <a:rect l="0" t="0" r="r" b="b"/>
              <a:pathLst>
                <a:path w="26" h="25">
                  <a:moveTo>
                    <a:pt x="12" y="0"/>
                  </a:moveTo>
                  <a:cubicBezTo>
                    <a:pt x="8" y="0"/>
                    <a:pt x="1" y="4"/>
                    <a:pt x="0" y="8"/>
                  </a:cubicBezTo>
                  <a:cubicBezTo>
                    <a:pt x="0" y="8"/>
                    <a:pt x="1" y="10"/>
                    <a:pt x="1" y="11"/>
                  </a:cubicBezTo>
                  <a:cubicBezTo>
                    <a:pt x="2" y="14"/>
                    <a:pt x="5" y="17"/>
                    <a:pt x="8" y="18"/>
                  </a:cubicBezTo>
                  <a:cubicBezTo>
                    <a:pt x="10" y="19"/>
                    <a:pt x="10" y="22"/>
                    <a:pt x="9" y="25"/>
                  </a:cubicBezTo>
                  <a:cubicBezTo>
                    <a:pt x="11" y="25"/>
                    <a:pt x="13" y="25"/>
                    <a:pt x="14" y="25"/>
                  </a:cubicBezTo>
                  <a:cubicBezTo>
                    <a:pt x="17" y="24"/>
                    <a:pt x="24" y="14"/>
                    <a:pt x="25" y="11"/>
                  </a:cubicBezTo>
                  <a:cubicBezTo>
                    <a:pt x="26" y="8"/>
                    <a:pt x="17" y="1"/>
                    <a:pt x="12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474486" y="2989216"/>
              <a:ext cx="176268" cy="168686"/>
            </a:xfrm>
            <a:custGeom>
              <a:avLst/>
              <a:gdLst/>
              <a:ahLst/>
              <a:cxnLst>
                <a:cxn ang="0">
                  <a:pos x="74" y="4"/>
                </a:cxn>
                <a:cxn ang="0">
                  <a:pos x="65" y="0"/>
                </a:cxn>
                <a:cxn ang="0">
                  <a:pos x="58" y="9"/>
                </a:cxn>
                <a:cxn ang="0">
                  <a:pos x="50" y="15"/>
                </a:cxn>
                <a:cxn ang="0">
                  <a:pos x="46" y="19"/>
                </a:cxn>
                <a:cxn ang="0">
                  <a:pos x="38" y="21"/>
                </a:cxn>
                <a:cxn ang="0">
                  <a:pos x="31" y="18"/>
                </a:cxn>
                <a:cxn ang="0">
                  <a:pos x="24" y="26"/>
                </a:cxn>
                <a:cxn ang="0">
                  <a:pos x="3" y="38"/>
                </a:cxn>
                <a:cxn ang="0">
                  <a:pos x="0" y="43"/>
                </a:cxn>
                <a:cxn ang="0">
                  <a:pos x="13" y="49"/>
                </a:cxn>
                <a:cxn ang="0">
                  <a:pos x="6" y="62"/>
                </a:cxn>
                <a:cxn ang="0">
                  <a:pos x="8" y="68"/>
                </a:cxn>
                <a:cxn ang="0">
                  <a:pos x="14" y="71"/>
                </a:cxn>
                <a:cxn ang="0">
                  <a:pos x="22" y="70"/>
                </a:cxn>
                <a:cxn ang="0">
                  <a:pos x="25" y="71"/>
                </a:cxn>
                <a:cxn ang="0">
                  <a:pos x="31" y="66"/>
                </a:cxn>
                <a:cxn ang="0">
                  <a:pos x="42" y="64"/>
                </a:cxn>
                <a:cxn ang="0">
                  <a:pos x="48" y="62"/>
                </a:cxn>
                <a:cxn ang="0">
                  <a:pos x="38" y="52"/>
                </a:cxn>
                <a:cxn ang="0">
                  <a:pos x="41" y="42"/>
                </a:cxn>
                <a:cxn ang="0">
                  <a:pos x="61" y="30"/>
                </a:cxn>
                <a:cxn ang="0">
                  <a:pos x="65" y="17"/>
                </a:cxn>
                <a:cxn ang="0">
                  <a:pos x="77" y="4"/>
                </a:cxn>
                <a:cxn ang="0">
                  <a:pos x="74" y="4"/>
                </a:cxn>
              </a:cxnLst>
              <a:rect l="0" t="0" r="r" b="b"/>
              <a:pathLst>
                <a:path w="77" h="74">
                  <a:moveTo>
                    <a:pt x="74" y="4"/>
                  </a:moveTo>
                  <a:cubicBezTo>
                    <a:pt x="70" y="5"/>
                    <a:pt x="68" y="0"/>
                    <a:pt x="65" y="0"/>
                  </a:cubicBezTo>
                  <a:cubicBezTo>
                    <a:pt x="61" y="0"/>
                    <a:pt x="62" y="9"/>
                    <a:pt x="58" y="9"/>
                  </a:cubicBezTo>
                  <a:cubicBezTo>
                    <a:pt x="54" y="9"/>
                    <a:pt x="55" y="14"/>
                    <a:pt x="50" y="15"/>
                  </a:cubicBezTo>
                  <a:cubicBezTo>
                    <a:pt x="45" y="16"/>
                    <a:pt x="43" y="16"/>
                    <a:pt x="46" y="19"/>
                  </a:cubicBezTo>
                  <a:cubicBezTo>
                    <a:pt x="48" y="23"/>
                    <a:pt x="43" y="21"/>
                    <a:pt x="38" y="21"/>
                  </a:cubicBezTo>
                  <a:cubicBezTo>
                    <a:pt x="34" y="21"/>
                    <a:pt x="34" y="18"/>
                    <a:pt x="31" y="18"/>
                  </a:cubicBezTo>
                  <a:cubicBezTo>
                    <a:pt x="28" y="18"/>
                    <a:pt x="26" y="24"/>
                    <a:pt x="24" y="26"/>
                  </a:cubicBezTo>
                  <a:cubicBezTo>
                    <a:pt x="22" y="29"/>
                    <a:pt x="7" y="36"/>
                    <a:pt x="3" y="38"/>
                  </a:cubicBezTo>
                  <a:cubicBezTo>
                    <a:pt x="2" y="39"/>
                    <a:pt x="1" y="41"/>
                    <a:pt x="0" y="43"/>
                  </a:cubicBezTo>
                  <a:cubicBezTo>
                    <a:pt x="5" y="43"/>
                    <a:pt x="10" y="46"/>
                    <a:pt x="13" y="49"/>
                  </a:cubicBezTo>
                  <a:cubicBezTo>
                    <a:pt x="16" y="53"/>
                    <a:pt x="9" y="58"/>
                    <a:pt x="6" y="62"/>
                  </a:cubicBezTo>
                  <a:cubicBezTo>
                    <a:pt x="3" y="65"/>
                    <a:pt x="8" y="65"/>
                    <a:pt x="8" y="68"/>
                  </a:cubicBezTo>
                  <a:cubicBezTo>
                    <a:pt x="8" y="71"/>
                    <a:pt x="12" y="74"/>
                    <a:pt x="14" y="71"/>
                  </a:cubicBezTo>
                  <a:cubicBezTo>
                    <a:pt x="15" y="69"/>
                    <a:pt x="18" y="70"/>
                    <a:pt x="22" y="70"/>
                  </a:cubicBezTo>
                  <a:cubicBezTo>
                    <a:pt x="24" y="70"/>
                    <a:pt x="24" y="70"/>
                    <a:pt x="25" y="71"/>
                  </a:cubicBezTo>
                  <a:cubicBezTo>
                    <a:pt x="27" y="69"/>
                    <a:pt x="30" y="67"/>
                    <a:pt x="31" y="66"/>
                  </a:cubicBezTo>
                  <a:cubicBezTo>
                    <a:pt x="33" y="64"/>
                    <a:pt x="38" y="64"/>
                    <a:pt x="42" y="64"/>
                  </a:cubicBezTo>
                  <a:cubicBezTo>
                    <a:pt x="44" y="64"/>
                    <a:pt x="46" y="63"/>
                    <a:pt x="48" y="62"/>
                  </a:cubicBezTo>
                  <a:cubicBezTo>
                    <a:pt x="43" y="57"/>
                    <a:pt x="39" y="53"/>
                    <a:pt x="38" y="52"/>
                  </a:cubicBezTo>
                  <a:cubicBezTo>
                    <a:pt x="34" y="50"/>
                    <a:pt x="36" y="43"/>
                    <a:pt x="41" y="42"/>
                  </a:cubicBezTo>
                  <a:cubicBezTo>
                    <a:pt x="46" y="41"/>
                    <a:pt x="57" y="32"/>
                    <a:pt x="61" y="30"/>
                  </a:cubicBezTo>
                  <a:cubicBezTo>
                    <a:pt x="64" y="28"/>
                    <a:pt x="62" y="22"/>
                    <a:pt x="65" y="17"/>
                  </a:cubicBezTo>
                  <a:cubicBezTo>
                    <a:pt x="66" y="14"/>
                    <a:pt x="72" y="9"/>
                    <a:pt x="77" y="4"/>
                  </a:cubicBezTo>
                  <a:cubicBezTo>
                    <a:pt x="76" y="4"/>
                    <a:pt x="75" y="4"/>
                    <a:pt x="74" y="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365709" y="3366390"/>
              <a:ext cx="199012" cy="113721"/>
            </a:xfrm>
            <a:custGeom>
              <a:avLst/>
              <a:gdLst/>
              <a:ahLst/>
              <a:cxnLst>
                <a:cxn ang="0">
                  <a:pos x="85" y="32"/>
                </a:cxn>
                <a:cxn ang="0">
                  <a:pos x="83" y="32"/>
                </a:cxn>
                <a:cxn ang="0">
                  <a:pos x="68" y="29"/>
                </a:cxn>
                <a:cxn ang="0">
                  <a:pos x="46" y="20"/>
                </a:cxn>
                <a:cxn ang="0">
                  <a:pos x="23" y="3"/>
                </a:cxn>
                <a:cxn ang="0">
                  <a:pos x="14" y="2"/>
                </a:cxn>
                <a:cxn ang="0">
                  <a:pos x="7" y="4"/>
                </a:cxn>
                <a:cxn ang="0">
                  <a:pos x="2" y="10"/>
                </a:cxn>
                <a:cxn ang="0">
                  <a:pos x="0" y="19"/>
                </a:cxn>
                <a:cxn ang="0">
                  <a:pos x="6" y="23"/>
                </a:cxn>
                <a:cxn ang="0">
                  <a:pos x="15" y="27"/>
                </a:cxn>
                <a:cxn ang="0">
                  <a:pos x="23" y="32"/>
                </a:cxn>
                <a:cxn ang="0">
                  <a:pos x="33" y="37"/>
                </a:cxn>
                <a:cxn ang="0">
                  <a:pos x="43" y="35"/>
                </a:cxn>
                <a:cxn ang="0">
                  <a:pos x="50" y="42"/>
                </a:cxn>
                <a:cxn ang="0">
                  <a:pos x="64" y="47"/>
                </a:cxn>
                <a:cxn ang="0">
                  <a:pos x="84" y="46"/>
                </a:cxn>
                <a:cxn ang="0">
                  <a:pos x="84" y="34"/>
                </a:cxn>
                <a:cxn ang="0">
                  <a:pos x="85" y="32"/>
                </a:cxn>
              </a:cxnLst>
              <a:rect l="0" t="0" r="r" b="b"/>
              <a:pathLst>
                <a:path w="87" h="50">
                  <a:moveTo>
                    <a:pt x="85" y="32"/>
                  </a:moveTo>
                  <a:cubicBezTo>
                    <a:pt x="84" y="32"/>
                    <a:pt x="84" y="31"/>
                    <a:pt x="83" y="32"/>
                  </a:cubicBezTo>
                  <a:cubicBezTo>
                    <a:pt x="76" y="32"/>
                    <a:pt x="72" y="29"/>
                    <a:pt x="68" y="29"/>
                  </a:cubicBezTo>
                  <a:cubicBezTo>
                    <a:pt x="64" y="29"/>
                    <a:pt x="51" y="24"/>
                    <a:pt x="46" y="20"/>
                  </a:cubicBezTo>
                  <a:cubicBezTo>
                    <a:pt x="41" y="16"/>
                    <a:pt x="27" y="7"/>
                    <a:pt x="23" y="3"/>
                  </a:cubicBezTo>
                  <a:cubicBezTo>
                    <a:pt x="20" y="0"/>
                    <a:pt x="15" y="0"/>
                    <a:pt x="14" y="2"/>
                  </a:cubicBezTo>
                  <a:cubicBezTo>
                    <a:pt x="14" y="3"/>
                    <a:pt x="11" y="3"/>
                    <a:pt x="7" y="4"/>
                  </a:cubicBezTo>
                  <a:cubicBezTo>
                    <a:pt x="6" y="5"/>
                    <a:pt x="2" y="8"/>
                    <a:pt x="2" y="10"/>
                  </a:cubicBezTo>
                  <a:cubicBezTo>
                    <a:pt x="2" y="13"/>
                    <a:pt x="0" y="16"/>
                    <a:pt x="0" y="19"/>
                  </a:cubicBezTo>
                  <a:cubicBezTo>
                    <a:pt x="0" y="21"/>
                    <a:pt x="5" y="21"/>
                    <a:pt x="6" y="23"/>
                  </a:cubicBezTo>
                  <a:cubicBezTo>
                    <a:pt x="7" y="25"/>
                    <a:pt x="15" y="26"/>
                    <a:pt x="15" y="27"/>
                  </a:cubicBezTo>
                  <a:cubicBezTo>
                    <a:pt x="15" y="29"/>
                    <a:pt x="20" y="31"/>
                    <a:pt x="23" y="32"/>
                  </a:cubicBezTo>
                  <a:cubicBezTo>
                    <a:pt x="27" y="32"/>
                    <a:pt x="31" y="36"/>
                    <a:pt x="33" y="37"/>
                  </a:cubicBezTo>
                  <a:cubicBezTo>
                    <a:pt x="35" y="39"/>
                    <a:pt x="41" y="35"/>
                    <a:pt x="43" y="35"/>
                  </a:cubicBezTo>
                  <a:cubicBezTo>
                    <a:pt x="46" y="35"/>
                    <a:pt x="49" y="39"/>
                    <a:pt x="50" y="42"/>
                  </a:cubicBezTo>
                  <a:cubicBezTo>
                    <a:pt x="50" y="44"/>
                    <a:pt x="62" y="45"/>
                    <a:pt x="64" y="47"/>
                  </a:cubicBezTo>
                  <a:cubicBezTo>
                    <a:pt x="67" y="50"/>
                    <a:pt x="81" y="48"/>
                    <a:pt x="84" y="46"/>
                  </a:cubicBezTo>
                  <a:cubicBezTo>
                    <a:pt x="87" y="43"/>
                    <a:pt x="84" y="38"/>
                    <a:pt x="84" y="34"/>
                  </a:cubicBezTo>
                  <a:cubicBezTo>
                    <a:pt x="84" y="33"/>
                    <a:pt x="85" y="32"/>
                    <a:pt x="85" y="3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653802" y="3417564"/>
              <a:ext cx="217965" cy="487105"/>
            </a:xfrm>
            <a:custGeom>
              <a:avLst/>
              <a:gdLst/>
              <a:ahLst/>
              <a:cxnLst>
                <a:cxn ang="0">
                  <a:pos x="78" y="193"/>
                </a:cxn>
                <a:cxn ang="0">
                  <a:pos x="74" y="185"/>
                </a:cxn>
                <a:cxn ang="0">
                  <a:pos x="70" y="171"/>
                </a:cxn>
                <a:cxn ang="0">
                  <a:pos x="66" y="159"/>
                </a:cxn>
                <a:cxn ang="0">
                  <a:pos x="67" y="151"/>
                </a:cxn>
                <a:cxn ang="0">
                  <a:pos x="68" y="146"/>
                </a:cxn>
                <a:cxn ang="0">
                  <a:pos x="66" y="138"/>
                </a:cxn>
                <a:cxn ang="0">
                  <a:pos x="57" y="128"/>
                </a:cxn>
                <a:cxn ang="0">
                  <a:pos x="59" y="110"/>
                </a:cxn>
                <a:cxn ang="0">
                  <a:pos x="66" y="106"/>
                </a:cxn>
                <a:cxn ang="0">
                  <a:pos x="74" y="104"/>
                </a:cxn>
                <a:cxn ang="0">
                  <a:pos x="84" y="98"/>
                </a:cxn>
                <a:cxn ang="0">
                  <a:pos x="90" y="93"/>
                </a:cxn>
                <a:cxn ang="0">
                  <a:pos x="96" y="84"/>
                </a:cxn>
                <a:cxn ang="0">
                  <a:pos x="96" y="84"/>
                </a:cxn>
                <a:cxn ang="0">
                  <a:pos x="91" y="85"/>
                </a:cxn>
                <a:cxn ang="0">
                  <a:pos x="84" y="81"/>
                </a:cxn>
                <a:cxn ang="0">
                  <a:pos x="78" y="78"/>
                </a:cxn>
                <a:cxn ang="0">
                  <a:pos x="78" y="71"/>
                </a:cxn>
                <a:cxn ang="0">
                  <a:pos x="74" y="66"/>
                </a:cxn>
                <a:cxn ang="0">
                  <a:pos x="70" y="56"/>
                </a:cxn>
                <a:cxn ang="0">
                  <a:pos x="60" y="54"/>
                </a:cxn>
                <a:cxn ang="0">
                  <a:pos x="58" y="49"/>
                </a:cxn>
                <a:cxn ang="0">
                  <a:pos x="67" y="33"/>
                </a:cxn>
                <a:cxn ang="0">
                  <a:pos x="70" y="17"/>
                </a:cxn>
                <a:cxn ang="0">
                  <a:pos x="65" y="11"/>
                </a:cxn>
                <a:cxn ang="0">
                  <a:pos x="63" y="5"/>
                </a:cxn>
                <a:cxn ang="0">
                  <a:pos x="55" y="2"/>
                </a:cxn>
                <a:cxn ang="0">
                  <a:pos x="53" y="3"/>
                </a:cxn>
                <a:cxn ang="0">
                  <a:pos x="54" y="3"/>
                </a:cxn>
                <a:cxn ang="0">
                  <a:pos x="51" y="8"/>
                </a:cxn>
                <a:cxn ang="0">
                  <a:pos x="52" y="16"/>
                </a:cxn>
                <a:cxn ang="0">
                  <a:pos x="47" y="16"/>
                </a:cxn>
                <a:cxn ang="0">
                  <a:pos x="38" y="20"/>
                </a:cxn>
                <a:cxn ang="0">
                  <a:pos x="30" y="28"/>
                </a:cxn>
                <a:cxn ang="0">
                  <a:pos x="27" y="42"/>
                </a:cxn>
                <a:cxn ang="0">
                  <a:pos x="23" y="56"/>
                </a:cxn>
                <a:cxn ang="0">
                  <a:pos x="14" y="56"/>
                </a:cxn>
                <a:cxn ang="0">
                  <a:pos x="12" y="67"/>
                </a:cxn>
                <a:cxn ang="0">
                  <a:pos x="9" y="79"/>
                </a:cxn>
                <a:cxn ang="0">
                  <a:pos x="4" y="87"/>
                </a:cxn>
                <a:cxn ang="0">
                  <a:pos x="0" y="91"/>
                </a:cxn>
                <a:cxn ang="0">
                  <a:pos x="10" y="102"/>
                </a:cxn>
                <a:cxn ang="0">
                  <a:pos x="23" y="125"/>
                </a:cxn>
                <a:cxn ang="0">
                  <a:pos x="22" y="143"/>
                </a:cxn>
                <a:cxn ang="0">
                  <a:pos x="26" y="149"/>
                </a:cxn>
                <a:cxn ang="0">
                  <a:pos x="37" y="148"/>
                </a:cxn>
                <a:cxn ang="0">
                  <a:pos x="47" y="136"/>
                </a:cxn>
                <a:cxn ang="0">
                  <a:pos x="53" y="141"/>
                </a:cxn>
                <a:cxn ang="0">
                  <a:pos x="57" y="153"/>
                </a:cxn>
                <a:cxn ang="0">
                  <a:pos x="63" y="178"/>
                </a:cxn>
                <a:cxn ang="0">
                  <a:pos x="67" y="195"/>
                </a:cxn>
                <a:cxn ang="0">
                  <a:pos x="69" y="209"/>
                </a:cxn>
                <a:cxn ang="0">
                  <a:pos x="68" y="212"/>
                </a:cxn>
                <a:cxn ang="0">
                  <a:pos x="78" y="193"/>
                </a:cxn>
              </a:cxnLst>
              <a:rect l="0" t="0" r="r" b="b"/>
              <a:pathLst>
                <a:path w="96" h="213">
                  <a:moveTo>
                    <a:pt x="78" y="193"/>
                  </a:moveTo>
                  <a:cubicBezTo>
                    <a:pt x="78" y="189"/>
                    <a:pt x="74" y="188"/>
                    <a:pt x="74" y="185"/>
                  </a:cubicBezTo>
                  <a:cubicBezTo>
                    <a:pt x="74" y="181"/>
                    <a:pt x="74" y="175"/>
                    <a:pt x="70" y="171"/>
                  </a:cubicBezTo>
                  <a:cubicBezTo>
                    <a:pt x="65" y="167"/>
                    <a:pt x="63" y="161"/>
                    <a:pt x="66" y="159"/>
                  </a:cubicBezTo>
                  <a:cubicBezTo>
                    <a:pt x="68" y="157"/>
                    <a:pt x="66" y="150"/>
                    <a:pt x="67" y="151"/>
                  </a:cubicBezTo>
                  <a:cubicBezTo>
                    <a:pt x="69" y="151"/>
                    <a:pt x="71" y="147"/>
                    <a:pt x="68" y="146"/>
                  </a:cubicBezTo>
                  <a:cubicBezTo>
                    <a:pt x="65" y="144"/>
                    <a:pt x="68" y="139"/>
                    <a:pt x="66" y="138"/>
                  </a:cubicBezTo>
                  <a:cubicBezTo>
                    <a:pt x="63" y="137"/>
                    <a:pt x="57" y="130"/>
                    <a:pt x="57" y="128"/>
                  </a:cubicBezTo>
                  <a:cubicBezTo>
                    <a:pt x="57" y="126"/>
                    <a:pt x="59" y="113"/>
                    <a:pt x="59" y="110"/>
                  </a:cubicBezTo>
                  <a:cubicBezTo>
                    <a:pt x="60" y="107"/>
                    <a:pt x="64" y="106"/>
                    <a:pt x="66" y="106"/>
                  </a:cubicBezTo>
                  <a:cubicBezTo>
                    <a:pt x="67" y="106"/>
                    <a:pt x="72" y="107"/>
                    <a:pt x="74" y="104"/>
                  </a:cubicBezTo>
                  <a:cubicBezTo>
                    <a:pt x="76" y="101"/>
                    <a:pt x="83" y="100"/>
                    <a:pt x="84" y="98"/>
                  </a:cubicBezTo>
                  <a:cubicBezTo>
                    <a:pt x="85" y="96"/>
                    <a:pt x="90" y="96"/>
                    <a:pt x="90" y="93"/>
                  </a:cubicBezTo>
                  <a:cubicBezTo>
                    <a:pt x="90" y="90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3"/>
                    <a:pt x="94" y="84"/>
                    <a:pt x="91" y="85"/>
                  </a:cubicBezTo>
                  <a:cubicBezTo>
                    <a:pt x="86" y="87"/>
                    <a:pt x="84" y="84"/>
                    <a:pt x="84" y="81"/>
                  </a:cubicBezTo>
                  <a:cubicBezTo>
                    <a:pt x="85" y="78"/>
                    <a:pt x="81" y="78"/>
                    <a:pt x="78" y="78"/>
                  </a:cubicBezTo>
                  <a:cubicBezTo>
                    <a:pt x="75" y="78"/>
                    <a:pt x="77" y="74"/>
                    <a:pt x="78" y="71"/>
                  </a:cubicBezTo>
                  <a:cubicBezTo>
                    <a:pt x="79" y="68"/>
                    <a:pt x="77" y="66"/>
                    <a:pt x="74" y="66"/>
                  </a:cubicBezTo>
                  <a:cubicBezTo>
                    <a:pt x="70" y="65"/>
                    <a:pt x="69" y="58"/>
                    <a:pt x="70" y="56"/>
                  </a:cubicBezTo>
                  <a:cubicBezTo>
                    <a:pt x="71" y="54"/>
                    <a:pt x="63" y="53"/>
                    <a:pt x="60" y="54"/>
                  </a:cubicBezTo>
                  <a:cubicBezTo>
                    <a:pt x="56" y="56"/>
                    <a:pt x="59" y="51"/>
                    <a:pt x="58" y="49"/>
                  </a:cubicBezTo>
                  <a:cubicBezTo>
                    <a:pt x="57" y="46"/>
                    <a:pt x="62" y="38"/>
                    <a:pt x="67" y="33"/>
                  </a:cubicBezTo>
                  <a:cubicBezTo>
                    <a:pt x="72" y="28"/>
                    <a:pt x="70" y="22"/>
                    <a:pt x="70" y="17"/>
                  </a:cubicBezTo>
                  <a:cubicBezTo>
                    <a:pt x="70" y="11"/>
                    <a:pt x="68" y="11"/>
                    <a:pt x="65" y="11"/>
                  </a:cubicBezTo>
                  <a:cubicBezTo>
                    <a:pt x="63" y="11"/>
                    <a:pt x="63" y="8"/>
                    <a:pt x="63" y="5"/>
                  </a:cubicBezTo>
                  <a:cubicBezTo>
                    <a:pt x="63" y="2"/>
                    <a:pt x="58" y="0"/>
                    <a:pt x="55" y="2"/>
                  </a:cubicBezTo>
                  <a:cubicBezTo>
                    <a:pt x="55" y="2"/>
                    <a:pt x="54" y="2"/>
                    <a:pt x="53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3" y="7"/>
                    <a:pt x="51" y="8"/>
                  </a:cubicBezTo>
                  <a:cubicBezTo>
                    <a:pt x="49" y="9"/>
                    <a:pt x="49" y="12"/>
                    <a:pt x="52" y="16"/>
                  </a:cubicBezTo>
                  <a:cubicBezTo>
                    <a:pt x="55" y="20"/>
                    <a:pt x="48" y="18"/>
                    <a:pt x="47" y="16"/>
                  </a:cubicBezTo>
                  <a:cubicBezTo>
                    <a:pt x="46" y="13"/>
                    <a:pt x="41" y="17"/>
                    <a:pt x="38" y="20"/>
                  </a:cubicBezTo>
                  <a:cubicBezTo>
                    <a:pt x="35" y="22"/>
                    <a:pt x="30" y="24"/>
                    <a:pt x="30" y="28"/>
                  </a:cubicBezTo>
                  <a:cubicBezTo>
                    <a:pt x="30" y="33"/>
                    <a:pt x="26" y="38"/>
                    <a:pt x="27" y="42"/>
                  </a:cubicBezTo>
                  <a:cubicBezTo>
                    <a:pt x="28" y="46"/>
                    <a:pt x="23" y="54"/>
                    <a:pt x="23" y="56"/>
                  </a:cubicBezTo>
                  <a:cubicBezTo>
                    <a:pt x="23" y="58"/>
                    <a:pt x="15" y="56"/>
                    <a:pt x="14" y="56"/>
                  </a:cubicBezTo>
                  <a:cubicBezTo>
                    <a:pt x="13" y="56"/>
                    <a:pt x="14" y="64"/>
                    <a:pt x="12" y="67"/>
                  </a:cubicBezTo>
                  <a:cubicBezTo>
                    <a:pt x="10" y="69"/>
                    <a:pt x="11" y="79"/>
                    <a:pt x="9" y="79"/>
                  </a:cubicBezTo>
                  <a:cubicBezTo>
                    <a:pt x="6" y="79"/>
                    <a:pt x="4" y="87"/>
                    <a:pt x="4" y="87"/>
                  </a:cubicBezTo>
                  <a:cubicBezTo>
                    <a:pt x="4" y="87"/>
                    <a:pt x="2" y="89"/>
                    <a:pt x="0" y="91"/>
                  </a:cubicBezTo>
                  <a:cubicBezTo>
                    <a:pt x="2" y="95"/>
                    <a:pt x="6" y="100"/>
                    <a:pt x="10" y="102"/>
                  </a:cubicBezTo>
                  <a:cubicBezTo>
                    <a:pt x="17" y="104"/>
                    <a:pt x="21" y="118"/>
                    <a:pt x="23" y="125"/>
                  </a:cubicBezTo>
                  <a:cubicBezTo>
                    <a:pt x="25" y="132"/>
                    <a:pt x="24" y="139"/>
                    <a:pt x="22" y="143"/>
                  </a:cubicBezTo>
                  <a:cubicBezTo>
                    <a:pt x="19" y="147"/>
                    <a:pt x="22" y="147"/>
                    <a:pt x="26" y="149"/>
                  </a:cubicBezTo>
                  <a:cubicBezTo>
                    <a:pt x="30" y="151"/>
                    <a:pt x="34" y="152"/>
                    <a:pt x="37" y="148"/>
                  </a:cubicBezTo>
                  <a:cubicBezTo>
                    <a:pt x="40" y="144"/>
                    <a:pt x="46" y="141"/>
                    <a:pt x="47" y="136"/>
                  </a:cubicBezTo>
                  <a:cubicBezTo>
                    <a:pt x="48" y="132"/>
                    <a:pt x="50" y="138"/>
                    <a:pt x="53" y="141"/>
                  </a:cubicBezTo>
                  <a:cubicBezTo>
                    <a:pt x="55" y="143"/>
                    <a:pt x="57" y="148"/>
                    <a:pt x="57" y="153"/>
                  </a:cubicBezTo>
                  <a:cubicBezTo>
                    <a:pt x="58" y="159"/>
                    <a:pt x="58" y="173"/>
                    <a:pt x="63" y="178"/>
                  </a:cubicBezTo>
                  <a:cubicBezTo>
                    <a:pt x="68" y="182"/>
                    <a:pt x="69" y="192"/>
                    <a:pt x="67" y="195"/>
                  </a:cubicBezTo>
                  <a:cubicBezTo>
                    <a:pt x="66" y="199"/>
                    <a:pt x="70" y="205"/>
                    <a:pt x="69" y="209"/>
                  </a:cubicBezTo>
                  <a:cubicBezTo>
                    <a:pt x="68" y="209"/>
                    <a:pt x="68" y="211"/>
                    <a:pt x="68" y="212"/>
                  </a:cubicBezTo>
                  <a:cubicBezTo>
                    <a:pt x="72" y="213"/>
                    <a:pt x="78" y="193"/>
                    <a:pt x="78" y="19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577988" y="3425145"/>
              <a:ext cx="77710" cy="47384"/>
            </a:xfrm>
            <a:custGeom>
              <a:avLst/>
              <a:gdLst/>
              <a:ahLst/>
              <a:cxnLst>
                <a:cxn ang="0">
                  <a:pos x="33" y="7"/>
                </a:cxn>
                <a:cxn ang="0">
                  <a:pos x="20" y="3"/>
                </a:cxn>
                <a:cxn ang="0">
                  <a:pos x="11" y="2"/>
                </a:cxn>
                <a:cxn ang="0">
                  <a:pos x="3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21" y="19"/>
                </a:cxn>
                <a:cxn ang="0">
                  <a:pos x="32" y="17"/>
                </a:cxn>
                <a:cxn ang="0">
                  <a:pos x="31" y="8"/>
                </a:cxn>
                <a:cxn ang="0">
                  <a:pos x="33" y="7"/>
                </a:cxn>
              </a:cxnLst>
              <a:rect l="0" t="0" r="r" b="b"/>
              <a:pathLst>
                <a:path w="34" h="21">
                  <a:moveTo>
                    <a:pt x="33" y="7"/>
                  </a:moveTo>
                  <a:cubicBezTo>
                    <a:pt x="26" y="1"/>
                    <a:pt x="24" y="6"/>
                    <a:pt x="20" y="3"/>
                  </a:cubicBezTo>
                  <a:cubicBezTo>
                    <a:pt x="15" y="1"/>
                    <a:pt x="13" y="0"/>
                    <a:pt x="11" y="2"/>
                  </a:cubicBezTo>
                  <a:cubicBezTo>
                    <a:pt x="8" y="4"/>
                    <a:pt x="5" y="3"/>
                    <a:pt x="3" y="9"/>
                  </a:cubicBezTo>
                  <a:cubicBezTo>
                    <a:pt x="2" y="11"/>
                    <a:pt x="1" y="12"/>
                    <a:pt x="0" y="14"/>
                  </a:cubicBezTo>
                  <a:cubicBezTo>
                    <a:pt x="1" y="15"/>
                    <a:pt x="2" y="16"/>
                    <a:pt x="3" y="16"/>
                  </a:cubicBezTo>
                  <a:cubicBezTo>
                    <a:pt x="5" y="16"/>
                    <a:pt x="7" y="19"/>
                    <a:pt x="11" y="18"/>
                  </a:cubicBezTo>
                  <a:cubicBezTo>
                    <a:pt x="14" y="17"/>
                    <a:pt x="16" y="20"/>
                    <a:pt x="21" y="19"/>
                  </a:cubicBezTo>
                  <a:cubicBezTo>
                    <a:pt x="26" y="17"/>
                    <a:pt x="31" y="21"/>
                    <a:pt x="32" y="17"/>
                  </a:cubicBezTo>
                  <a:cubicBezTo>
                    <a:pt x="34" y="14"/>
                    <a:pt x="31" y="8"/>
                    <a:pt x="31" y="8"/>
                  </a:cubicBezTo>
                  <a:cubicBezTo>
                    <a:pt x="31" y="8"/>
                    <a:pt x="32" y="7"/>
                    <a:pt x="33" y="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900197" y="3559715"/>
              <a:ext cx="191431" cy="396128"/>
            </a:xfrm>
            <a:custGeom>
              <a:avLst/>
              <a:gdLst/>
              <a:ahLst/>
              <a:cxnLst>
                <a:cxn ang="0">
                  <a:pos x="62" y="22"/>
                </a:cxn>
                <a:cxn ang="0">
                  <a:pos x="51" y="13"/>
                </a:cxn>
                <a:cxn ang="0">
                  <a:pos x="48" y="7"/>
                </a:cxn>
                <a:cxn ang="0">
                  <a:pos x="38" y="2"/>
                </a:cxn>
                <a:cxn ang="0">
                  <a:pos x="29" y="7"/>
                </a:cxn>
                <a:cxn ang="0">
                  <a:pos x="22" y="9"/>
                </a:cxn>
                <a:cxn ang="0">
                  <a:pos x="12" y="9"/>
                </a:cxn>
                <a:cxn ang="0">
                  <a:pos x="4" y="10"/>
                </a:cxn>
                <a:cxn ang="0">
                  <a:pos x="0" y="12"/>
                </a:cxn>
                <a:cxn ang="0">
                  <a:pos x="5" y="18"/>
                </a:cxn>
                <a:cxn ang="0">
                  <a:pos x="10" y="27"/>
                </a:cxn>
                <a:cxn ang="0">
                  <a:pos x="20" y="32"/>
                </a:cxn>
                <a:cxn ang="0">
                  <a:pos x="27" y="34"/>
                </a:cxn>
                <a:cxn ang="0">
                  <a:pos x="31" y="42"/>
                </a:cxn>
                <a:cxn ang="0">
                  <a:pos x="22" y="47"/>
                </a:cxn>
                <a:cxn ang="0">
                  <a:pos x="35" y="58"/>
                </a:cxn>
                <a:cxn ang="0">
                  <a:pos x="40" y="68"/>
                </a:cxn>
                <a:cxn ang="0">
                  <a:pos x="50" y="80"/>
                </a:cxn>
                <a:cxn ang="0">
                  <a:pos x="59" y="89"/>
                </a:cxn>
                <a:cxn ang="0">
                  <a:pos x="61" y="100"/>
                </a:cxn>
                <a:cxn ang="0">
                  <a:pos x="65" y="119"/>
                </a:cxn>
                <a:cxn ang="0">
                  <a:pos x="57" y="132"/>
                </a:cxn>
                <a:cxn ang="0">
                  <a:pos x="47" y="138"/>
                </a:cxn>
                <a:cxn ang="0">
                  <a:pos x="47" y="148"/>
                </a:cxn>
                <a:cxn ang="0">
                  <a:pos x="34" y="148"/>
                </a:cxn>
                <a:cxn ang="0">
                  <a:pos x="27" y="153"/>
                </a:cxn>
                <a:cxn ang="0">
                  <a:pos x="32" y="157"/>
                </a:cxn>
                <a:cxn ang="0">
                  <a:pos x="29" y="167"/>
                </a:cxn>
                <a:cxn ang="0">
                  <a:pos x="34" y="172"/>
                </a:cxn>
                <a:cxn ang="0">
                  <a:pos x="45" y="164"/>
                </a:cxn>
                <a:cxn ang="0">
                  <a:pos x="47" y="159"/>
                </a:cxn>
                <a:cxn ang="0">
                  <a:pos x="50" y="153"/>
                </a:cxn>
                <a:cxn ang="0">
                  <a:pos x="57" y="152"/>
                </a:cxn>
                <a:cxn ang="0">
                  <a:pos x="73" y="145"/>
                </a:cxn>
                <a:cxn ang="0">
                  <a:pos x="81" y="130"/>
                </a:cxn>
                <a:cxn ang="0">
                  <a:pos x="79" y="104"/>
                </a:cxn>
                <a:cxn ang="0">
                  <a:pos x="68" y="86"/>
                </a:cxn>
                <a:cxn ang="0">
                  <a:pos x="50" y="71"/>
                </a:cxn>
                <a:cxn ang="0">
                  <a:pos x="45" y="62"/>
                </a:cxn>
                <a:cxn ang="0">
                  <a:pos x="42" y="47"/>
                </a:cxn>
                <a:cxn ang="0">
                  <a:pos x="50" y="37"/>
                </a:cxn>
                <a:cxn ang="0">
                  <a:pos x="54" y="30"/>
                </a:cxn>
                <a:cxn ang="0">
                  <a:pos x="63" y="24"/>
                </a:cxn>
                <a:cxn ang="0">
                  <a:pos x="64" y="24"/>
                </a:cxn>
                <a:cxn ang="0">
                  <a:pos x="62" y="22"/>
                </a:cxn>
              </a:cxnLst>
              <a:rect l="0" t="0" r="r" b="b"/>
              <a:pathLst>
                <a:path w="84" h="174">
                  <a:moveTo>
                    <a:pt x="62" y="22"/>
                  </a:moveTo>
                  <a:cubicBezTo>
                    <a:pt x="59" y="21"/>
                    <a:pt x="51" y="15"/>
                    <a:pt x="51" y="13"/>
                  </a:cubicBezTo>
                  <a:cubicBezTo>
                    <a:pt x="51" y="11"/>
                    <a:pt x="55" y="7"/>
                    <a:pt x="48" y="7"/>
                  </a:cubicBezTo>
                  <a:cubicBezTo>
                    <a:pt x="40" y="6"/>
                    <a:pt x="40" y="3"/>
                    <a:pt x="38" y="2"/>
                  </a:cubicBezTo>
                  <a:cubicBezTo>
                    <a:pt x="37" y="0"/>
                    <a:pt x="31" y="4"/>
                    <a:pt x="29" y="7"/>
                  </a:cubicBezTo>
                  <a:cubicBezTo>
                    <a:pt x="28" y="11"/>
                    <a:pt x="26" y="7"/>
                    <a:pt x="22" y="9"/>
                  </a:cubicBezTo>
                  <a:cubicBezTo>
                    <a:pt x="18" y="11"/>
                    <a:pt x="14" y="6"/>
                    <a:pt x="12" y="9"/>
                  </a:cubicBezTo>
                  <a:cubicBezTo>
                    <a:pt x="10" y="12"/>
                    <a:pt x="6" y="7"/>
                    <a:pt x="4" y="10"/>
                  </a:cubicBezTo>
                  <a:cubicBezTo>
                    <a:pt x="3" y="11"/>
                    <a:pt x="2" y="11"/>
                    <a:pt x="0" y="12"/>
                  </a:cubicBezTo>
                  <a:cubicBezTo>
                    <a:pt x="2" y="14"/>
                    <a:pt x="5" y="16"/>
                    <a:pt x="5" y="18"/>
                  </a:cubicBezTo>
                  <a:cubicBezTo>
                    <a:pt x="5" y="21"/>
                    <a:pt x="10" y="23"/>
                    <a:pt x="10" y="27"/>
                  </a:cubicBezTo>
                  <a:cubicBezTo>
                    <a:pt x="10" y="30"/>
                    <a:pt x="17" y="33"/>
                    <a:pt x="20" y="32"/>
                  </a:cubicBezTo>
                  <a:cubicBezTo>
                    <a:pt x="22" y="30"/>
                    <a:pt x="27" y="29"/>
                    <a:pt x="27" y="34"/>
                  </a:cubicBezTo>
                  <a:cubicBezTo>
                    <a:pt x="28" y="39"/>
                    <a:pt x="31" y="39"/>
                    <a:pt x="31" y="42"/>
                  </a:cubicBezTo>
                  <a:cubicBezTo>
                    <a:pt x="31" y="46"/>
                    <a:pt x="24" y="44"/>
                    <a:pt x="22" y="47"/>
                  </a:cubicBezTo>
                  <a:cubicBezTo>
                    <a:pt x="21" y="51"/>
                    <a:pt x="35" y="55"/>
                    <a:pt x="35" y="58"/>
                  </a:cubicBezTo>
                  <a:cubicBezTo>
                    <a:pt x="35" y="61"/>
                    <a:pt x="39" y="64"/>
                    <a:pt x="40" y="68"/>
                  </a:cubicBezTo>
                  <a:cubicBezTo>
                    <a:pt x="42" y="72"/>
                    <a:pt x="48" y="76"/>
                    <a:pt x="50" y="80"/>
                  </a:cubicBezTo>
                  <a:cubicBezTo>
                    <a:pt x="51" y="84"/>
                    <a:pt x="57" y="87"/>
                    <a:pt x="59" y="89"/>
                  </a:cubicBezTo>
                  <a:cubicBezTo>
                    <a:pt x="61" y="91"/>
                    <a:pt x="62" y="96"/>
                    <a:pt x="61" y="100"/>
                  </a:cubicBezTo>
                  <a:cubicBezTo>
                    <a:pt x="60" y="104"/>
                    <a:pt x="60" y="112"/>
                    <a:pt x="65" y="119"/>
                  </a:cubicBezTo>
                  <a:cubicBezTo>
                    <a:pt x="69" y="125"/>
                    <a:pt x="60" y="128"/>
                    <a:pt x="57" y="132"/>
                  </a:cubicBezTo>
                  <a:cubicBezTo>
                    <a:pt x="54" y="135"/>
                    <a:pt x="55" y="140"/>
                    <a:pt x="47" y="138"/>
                  </a:cubicBezTo>
                  <a:cubicBezTo>
                    <a:pt x="38" y="136"/>
                    <a:pt x="48" y="145"/>
                    <a:pt x="47" y="148"/>
                  </a:cubicBezTo>
                  <a:cubicBezTo>
                    <a:pt x="45" y="151"/>
                    <a:pt x="34" y="145"/>
                    <a:pt x="34" y="148"/>
                  </a:cubicBezTo>
                  <a:cubicBezTo>
                    <a:pt x="34" y="150"/>
                    <a:pt x="30" y="152"/>
                    <a:pt x="27" y="153"/>
                  </a:cubicBezTo>
                  <a:cubicBezTo>
                    <a:pt x="28" y="155"/>
                    <a:pt x="30" y="156"/>
                    <a:pt x="32" y="157"/>
                  </a:cubicBezTo>
                  <a:cubicBezTo>
                    <a:pt x="35" y="159"/>
                    <a:pt x="29" y="162"/>
                    <a:pt x="29" y="167"/>
                  </a:cubicBezTo>
                  <a:cubicBezTo>
                    <a:pt x="29" y="172"/>
                    <a:pt x="33" y="174"/>
                    <a:pt x="34" y="172"/>
                  </a:cubicBezTo>
                  <a:cubicBezTo>
                    <a:pt x="36" y="169"/>
                    <a:pt x="42" y="165"/>
                    <a:pt x="45" y="164"/>
                  </a:cubicBezTo>
                  <a:cubicBezTo>
                    <a:pt x="47" y="163"/>
                    <a:pt x="45" y="159"/>
                    <a:pt x="47" y="159"/>
                  </a:cubicBezTo>
                  <a:cubicBezTo>
                    <a:pt x="50" y="160"/>
                    <a:pt x="49" y="156"/>
                    <a:pt x="50" y="153"/>
                  </a:cubicBezTo>
                  <a:cubicBezTo>
                    <a:pt x="51" y="151"/>
                    <a:pt x="53" y="152"/>
                    <a:pt x="57" y="152"/>
                  </a:cubicBezTo>
                  <a:cubicBezTo>
                    <a:pt x="61" y="152"/>
                    <a:pt x="67" y="149"/>
                    <a:pt x="73" y="145"/>
                  </a:cubicBezTo>
                  <a:cubicBezTo>
                    <a:pt x="78" y="141"/>
                    <a:pt x="79" y="140"/>
                    <a:pt x="81" y="130"/>
                  </a:cubicBezTo>
                  <a:cubicBezTo>
                    <a:pt x="84" y="119"/>
                    <a:pt x="79" y="107"/>
                    <a:pt x="79" y="104"/>
                  </a:cubicBezTo>
                  <a:cubicBezTo>
                    <a:pt x="79" y="101"/>
                    <a:pt x="71" y="86"/>
                    <a:pt x="68" y="86"/>
                  </a:cubicBezTo>
                  <a:cubicBezTo>
                    <a:pt x="65" y="86"/>
                    <a:pt x="52" y="73"/>
                    <a:pt x="50" y="71"/>
                  </a:cubicBezTo>
                  <a:cubicBezTo>
                    <a:pt x="48" y="69"/>
                    <a:pt x="48" y="65"/>
                    <a:pt x="45" y="62"/>
                  </a:cubicBezTo>
                  <a:cubicBezTo>
                    <a:pt x="42" y="59"/>
                    <a:pt x="41" y="52"/>
                    <a:pt x="42" y="47"/>
                  </a:cubicBezTo>
                  <a:cubicBezTo>
                    <a:pt x="43" y="42"/>
                    <a:pt x="50" y="40"/>
                    <a:pt x="50" y="37"/>
                  </a:cubicBezTo>
                  <a:cubicBezTo>
                    <a:pt x="50" y="33"/>
                    <a:pt x="51" y="30"/>
                    <a:pt x="54" y="30"/>
                  </a:cubicBezTo>
                  <a:cubicBezTo>
                    <a:pt x="58" y="30"/>
                    <a:pt x="62" y="27"/>
                    <a:pt x="63" y="24"/>
                  </a:cubicBezTo>
                  <a:cubicBezTo>
                    <a:pt x="63" y="24"/>
                    <a:pt x="64" y="24"/>
                    <a:pt x="64" y="24"/>
                  </a:cubicBezTo>
                  <a:cubicBezTo>
                    <a:pt x="63" y="22"/>
                    <a:pt x="62" y="22"/>
                    <a:pt x="62" y="2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900197" y="3796633"/>
              <a:ext cx="157314" cy="111826"/>
            </a:xfrm>
            <a:custGeom>
              <a:avLst/>
              <a:gdLst/>
              <a:ahLst/>
              <a:cxnLst>
                <a:cxn ang="0">
                  <a:pos x="34" y="44"/>
                </a:cxn>
                <a:cxn ang="0">
                  <a:pos x="47" y="44"/>
                </a:cxn>
                <a:cxn ang="0">
                  <a:pos x="47" y="34"/>
                </a:cxn>
                <a:cxn ang="0">
                  <a:pos x="57" y="28"/>
                </a:cxn>
                <a:cxn ang="0">
                  <a:pos x="65" y="15"/>
                </a:cxn>
                <a:cxn ang="0">
                  <a:pos x="61" y="1"/>
                </a:cxn>
                <a:cxn ang="0">
                  <a:pos x="53" y="2"/>
                </a:cxn>
                <a:cxn ang="0">
                  <a:pos x="45" y="5"/>
                </a:cxn>
                <a:cxn ang="0">
                  <a:pos x="42" y="8"/>
                </a:cxn>
                <a:cxn ang="0">
                  <a:pos x="35" y="3"/>
                </a:cxn>
                <a:cxn ang="0">
                  <a:pos x="20" y="3"/>
                </a:cxn>
                <a:cxn ang="0">
                  <a:pos x="4" y="10"/>
                </a:cxn>
                <a:cxn ang="0">
                  <a:pos x="5" y="21"/>
                </a:cxn>
                <a:cxn ang="0">
                  <a:pos x="6" y="29"/>
                </a:cxn>
                <a:cxn ang="0">
                  <a:pos x="6" y="30"/>
                </a:cxn>
                <a:cxn ang="0">
                  <a:pos x="9" y="40"/>
                </a:cxn>
                <a:cxn ang="0">
                  <a:pos x="16" y="41"/>
                </a:cxn>
                <a:cxn ang="0">
                  <a:pos x="17" y="47"/>
                </a:cxn>
                <a:cxn ang="0">
                  <a:pos x="26" y="48"/>
                </a:cxn>
                <a:cxn ang="0">
                  <a:pos x="27" y="49"/>
                </a:cxn>
                <a:cxn ang="0">
                  <a:pos x="34" y="44"/>
                </a:cxn>
              </a:cxnLst>
              <a:rect l="0" t="0" r="r" b="b"/>
              <a:pathLst>
                <a:path w="69" h="49">
                  <a:moveTo>
                    <a:pt x="34" y="44"/>
                  </a:moveTo>
                  <a:cubicBezTo>
                    <a:pt x="34" y="41"/>
                    <a:pt x="45" y="47"/>
                    <a:pt x="47" y="44"/>
                  </a:cubicBezTo>
                  <a:cubicBezTo>
                    <a:pt x="48" y="41"/>
                    <a:pt x="38" y="32"/>
                    <a:pt x="47" y="34"/>
                  </a:cubicBezTo>
                  <a:cubicBezTo>
                    <a:pt x="55" y="36"/>
                    <a:pt x="54" y="31"/>
                    <a:pt x="57" y="28"/>
                  </a:cubicBezTo>
                  <a:cubicBezTo>
                    <a:pt x="60" y="24"/>
                    <a:pt x="69" y="21"/>
                    <a:pt x="65" y="15"/>
                  </a:cubicBezTo>
                  <a:cubicBezTo>
                    <a:pt x="61" y="10"/>
                    <a:pt x="61" y="5"/>
                    <a:pt x="61" y="1"/>
                  </a:cubicBezTo>
                  <a:cubicBezTo>
                    <a:pt x="58" y="3"/>
                    <a:pt x="54" y="3"/>
                    <a:pt x="53" y="2"/>
                  </a:cubicBezTo>
                  <a:cubicBezTo>
                    <a:pt x="50" y="1"/>
                    <a:pt x="45" y="1"/>
                    <a:pt x="45" y="5"/>
                  </a:cubicBezTo>
                  <a:cubicBezTo>
                    <a:pt x="45" y="9"/>
                    <a:pt x="41" y="9"/>
                    <a:pt x="42" y="8"/>
                  </a:cubicBezTo>
                  <a:cubicBezTo>
                    <a:pt x="42" y="6"/>
                    <a:pt x="38" y="6"/>
                    <a:pt x="35" y="3"/>
                  </a:cubicBezTo>
                  <a:cubicBezTo>
                    <a:pt x="33" y="0"/>
                    <a:pt x="24" y="4"/>
                    <a:pt x="20" y="3"/>
                  </a:cubicBezTo>
                  <a:cubicBezTo>
                    <a:pt x="16" y="1"/>
                    <a:pt x="9" y="5"/>
                    <a:pt x="4" y="10"/>
                  </a:cubicBezTo>
                  <a:cubicBezTo>
                    <a:pt x="0" y="16"/>
                    <a:pt x="5" y="16"/>
                    <a:pt x="5" y="21"/>
                  </a:cubicBezTo>
                  <a:cubicBezTo>
                    <a:pt x="5" y="25"/>
                    <a:pt x="8" y="25"/>
                    <a:pt x="6" y="29"/>
                  </a:cubicBezTo>
                  <a:cubicBezTo>
                    <a:pt x="6" y="29"/>
                    <a:pt x="6" y="29"/>
                    <a:pt x="6" y="30"/>
                  </a:cubicBezTo>
                  <a:cubicBezTo>
                    <a:pt x="11" y="31"/>
                    <a:pt x="9" y="37"/>
                    <a:pt x="9" y="40"/>
                  </a:cubicBezTo>
                  <a:cubicBezTo>
                    <a:pt x="10" y="43"/>
                    <a:pt x="14" y="41"/>
                    <a:pt x="16" y="41"/>
                  </a:cubicBezTo>
                  <a:cubicBezTo>
                    <a:pt x="19" y="41"/>
                    <a:pt x="15" y="45"/>
                    <a:pt x="17" y="47"/>
                  </a:cubicBezTo>
                  <a:cubicBezTo>
                    <a:pt x="19" y="49"/>
                    <a:pt x="25" y="45"/>
                    <a:pt x="26" y="48"/>
                  </a:cubicBezTo>
                  <a:cubicBezTo>
                    <a:pt x="26" y="48"/>
                    <a:pt x="26" y="49"/>
                    <a:pt x="27" y="49"/>
                  </a:cubicBezTo>
                  <a:cubicBezTo>
                    <a:pt x="30" y="48"/>
                    <a:pt x="34" y="46"/>
                    <a:pt x="34" y="4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6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849022" y="3584354"/>
              <a:ext cx="191431" cy="233128"/>
            </a:xfrm>
            <a:custGeom>
              <a:avLst/>
              <a:gdLst/>
              <a:ahLst/>
              <a:cxnLst>
                <a:cxn ang="0">
                  <a:pos x="57" y="47"/>
                </a:cxn>
                <a:cxn ang="0">
                  <a:pos x="44" y="36"/>
                </a:cxn>
                <a:cxn ang="0">
                  <a:pos x="53" y="31"/>
                </a:cxn>
                <a:cxn ang="0">
                  <a:pos x="49" y="23"/>
                </a:cxn>
                <a:cxn ang="0">
                  <a:pos x="42" y="21"/>
                </a:cxn>
                <a:cxn ang="0">
                  <a:pos x="32" y="16"/>
                </a:cxn>
                <a:cxn ang="0">
                  <a:pos x="27" y="7"/>
                </a:cxn>
                <a:cxn ang="0">
                  <a:pos x="22" y="1"/>
                </a:cxn>
                <a:cxn ang="0">
                  <a:pos x="18" y="1"/>
                </a:cxn>
                <a:cxn ang="0">
                  <a:pos x="16" y="7"/>
                </a:cxn>
                <a:cxn ang="0">
                  <a:pos x="16" y="16"/>
                </a:cxn>
                <a:cxn ang="0">
                  <a:pos x="10" y="11"/>
                </a:cxn>
                <a:cxn ang="0">
                  <a:pos x="4" y="20"/>
                </a:cxn>
                <a:cxn ang="0">
                  <a:pos x="0" y="23"/>
                </a:cxn>
                <a:cxn ang="0">
                  <a:pos x="2" y="25"/>
                </a:cxn>
                <a:cxn ang="0">
                  <a:pos x="3" y="34"/>
                </a:cxn>
                <a:cxn ang="0">
                  <a:pos x="11" y="37"/>
                </a:cxn>
                <a:cxn ang="0">
                  <a:pos x="10" y="49"/>
                </a:cxn>
                <a:cxn ang="0">
                  <a:pos x="7" y="58"/>
                </a:cxn>
                <a:cxn ang="0">
                  <a:pos x="17" y="54"/>
                </a:cxn>
                <a:cxn ang="0">
                  <a:pos x="26" y="53"/>
                </a:cxn>
                <a:cxn ang="0">
                  <a:pos x="33" y="51"/>
                </a:cxn>
                <a:cxn ang="0">
                  <a:pos x="43" y="51"/>
                </a:cxn>
                <a:cxn ang="0">
                  <a:pos x="52" y="59"/>
                </a:cxn>
                <a:cxn ang="0">
                  <a:pos x="52" y="73"/>
                </a:cxn>
                <a:cxn ang="0">
                  <a:pos x="60" y="85"/>
                </a:cxn>
                <a:cxn ang="0">
                  <a:pos x="59" y="97"/>
                </a:cxn>
                <a:cxn ang="0">
                  <a:pos x="64" y="101"/>
                </a:cxn>
                <a:cxn ang="0">
                  <a:pos x="67" y="98"/>
                </a:cxn>
                <a:cxn ang="0">
                  <a:pos x="75" y="95"/>
                </a:cxn>
                <a:cxn ang="0">
                  <a:pos x="83" y="94"/>
                </a:cxn>
                <a:cxn ang="0">
                  <a:pos x="83" y="89"/>
                </a:cxn>
                <a:cxn ang="0">
                  <a:pos x="81" y="78"/>
                </a:cxn>
                <a:cxn ang="0">
                  <a:pos x="72" y="69"/>
                </a:cxn>
                <a:cxn ang="0">
                  <a:pos x="62" y="57"/>
                </a:cxn>
                <a:cxn ang="0">
                  <a:pos x="57" y="47"/>
                </a:cxn>
              </a:cxnLst>
              <a:rect l="0" t="0" r="r" b="b"/>
              <a:pathLst>
                <a:path w="84" h="102">
                  <a:moveTo>
                    <a:pt x="57" y="47"/>
                  </a:moveTo>
                  <a:cubicBezTo>
                    <a:pt x="57" y="44"/>
                    <a:pt x="43" y="40"/>
                    <a:pt x="44" y="36"/>
                  </a:cubicBezTo>
                  <a:cubicBezTo>
                    <a:pt x="46" y="33"/>
                    <a:pt x="53" y="35"/>
                    <a:pt x="53" y="31"/>
                  </a:cubicBezTo>
                  <a:cubicBezTo>
                    <a:pt x="53" y="28"/>
                    <a:pt x="50" y="28"/>
                    <a:pt x="49" y="23"/>
                  </a:cubicBezTo>
                  <a:cubicBezTo>
                    <a:pt x="49" y="18"/>
                    <a:pt x="44" y="19"/>
                    <a:pt x="42" y="21"/>
                  </a:cubicBezTo>
                  <a:cubicBezTo>
                    <a:pt x="39" y="22"/>
                    <a:pt x="32" y="19"/>
                    <a:pt x="32" y="16"/>
                  </a:cubicBezTo>
                  <a:cubicBezTo>
                    <a:pt x="32" y="12"/>
                    <a:pt x="27" y="10"/>
                    <a:pt x="27" y="7"/>
                  </a:cubicBezTo>
                  <a:cubicBezTo>
                    <a:pt x="27" y="5"/>
                    <a:pt x="24" y="3"/>
                    <a:pt x="22" y="1"/>
                  </a:cubicBezTo>
                  <a:cubicBezTo>
                    <a:pt x="21" y="2"/>
                    <a:pt x="19" y="2"/>
                    <a:pt x="18" y="1"/>
                  </a:cubicBezTo>
                  <a:cubicBezTo>
                    <a:pt x="17" y="0"/>
                    <a:pt x="15" y="6"/>
                    <a:pt x="16" y="7"/>
                  </a:cubicBezTo>
                  <a:cubicBezTo>
                    <a:pt x="18" y="8"/>
                    <a:pt x="19" y="17"/>
                    <a:pt x="16" y="16"/>
                  </a:cubicBezTo>
                  <a:cubicBezTo>
                    <a:pt x="12" y="15"/>
                    <a:pt x="12" y="10"/>
                    <a:pt x="10" y="11"/>
                  </a:cubicBezTo>
                  <a:cubicBezTo>
                    <a:pt x="10" y="11"/>
                    <a:pt x="4" y="17"/>
                    <a:pt x="4" y="20"/>
                  </a:cubicBezTo>
                  <a:cubicBezTo>
                    <a:pt x="4" y="22"/>
                    <a:pt x="2" y="22"/>
                    <a:pt x="0" y="23"/>
                  </a:cubicBezTo>
                  <a:cubicBezTo>
                    <a:pt x="1" y="24"/>
                    <a:pt x="2" y="25"/>
                    <a:pt x="2" y="25"/>
                  </a:cubicBezTo>
                  <a:cubicBezTo>
                    <a:pt x="3" y="27"/>
                    <a:pt x="2" y="31"/>
                    <a:pt x="3" y="34"/>
                  </a:cubicBezTo>
                  <a:cubicBezTo>
                    <a:pt x="5" y="38"/>
                    <a:pt x="10" y="32"/>
                    <a:pt x="11" y="37"/>
                  </a:cubicBezTo>
                  <a:cubicBezTo>
                    <a:pt x="13" y="42"/>
                    <a:pt x="10" y="44"/>
                    <a:pt x="10" y="49"/>
                  </a:cubicBezTo>
                  <a:cubicBezTo>
                    <a:pt x="10" y="54"/>
                    <a:pt x="6" y="53"/>
                    <a:pt x="7" y="58"/>
                  </a:cubicBezTo>
                  <a:cubicBezTo>
                    <a:pt x="8" y="62"/>
                    <a:pt x="14" y="57"/>
                    <a:pt x="17" y="54"/>
                  </a:cubicBezTo>
                  <a:cubicBezTo>
                    <a:pt x="21" y="51"/>
                    <a:pt x="24" y="51"/>
                    <a:pt x="26" y="53"/>
                  </a:cubicBezTo>
                  <a:cubicBezTo>
                    <a:pt x="27" y="55"/>
                    <a:pt x="32" y="54"/>
                    <a:pt x="33" y="51"/>
                  </a:cubicBezTo>
                  <a:cubicBezTo>
                    <a:pt x="34" y="49"/>
                    <a:pt x="41" y="48"/>
                    <a:pt x="43" y="51"/>
                  </a:cubicBezTo>
                  <a:cubicBezTo>
                    <a:pt x="46" y="54"/>
                    <a:pt x="48" y="57"/>
                    <a:pt x="52" y="59"/>
                  </a:cubicBezTo>
                  <a:cubicBezTo>
                    <a:pt x="55" y="61"/>
                    <a:pt x="49" y="72"/>
                    <a:pt x="52" y="73"/>
                  </a:cubicBezTo>
                  <a:cubicBezTo>
                    <a:pt x="56" y="74"/>
                    <a:pt x="61" y="79"/>
                    <a:pt x="60" y="85"/>
                  </a:cubicBezTo>
                  <a:cubicBezTo>
                    <a:pt x="60" y="90"/>
                    <a:pt x="63" y="93"/>
                    <a:pt x="59" y="97"/>
                  </a:cubicBezTo>
                  <a:cubicBezTo>
                    <a:pt x="61" y="99"/>
                    <a:pt x="64" y="99"/>
                    <a:pt x="64" y="101"/>
                  </a:cubicBezTo>
                  <a:cubicBezTo>
                    <a:pt x="63" y="102"/>
                    <a:pt x="67" y="102"/>
                    <a:pt x="67" y="98"/>
                  </a:cubicBezTo>
                  <a:cubicBezTo>
                    <a:pt x="67" y="94"/>
                    <a:pt x="72" y="94"/>
                    <a:pt x="75" y="95"/>
                  </a:cubicBezTo>
                  <a:cubicBezTo>
                    <a:pt x="76" y="96"/>
                    <a:pt x="80" y="96"/>
                    <a:pt x="83" y="94"/>
                  </a:cubicBezTo>
                  <a:cubicBezTo>
                    <a:pt x="83" y="92"/>
                    <a:pt x="83" y="90"/>
                    <a:pt x="83" y="89"/>
                  </a:cubicBezTo>
                  <a:cubicBezTo>
                    <a:pt x="84" y="85"/>
                    <a:pt x="83" y="80"/>
                    <a:pt x="81" y="78"/>
                  </a:cubicBezTo>
                  <a:cubicBezTo>
                    <a:pt x="79" y="76"/>
                    <a:pt x="73" y="73"/>
                    <a:pt x="72" y="69"/>
                  </a:cubicBezTo>
                  <a:cubicBezTo>
                    <a:pt x="70" y="65"/>
                    <a:pt x="64" y="61"/>
                    <a:pt x="62" y="57"/>
                  </a:cubicBezTo>
                  <a:cubicBezTo>
                    <a:pt x="61" y="53"/>
                    <a:pt x="57" y="50"/>
                    <a:pt x="57" y="4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782685" y="3637424"/>
              <a:ext cx="210384" cy="392337"/>
            </a:xfrm>
            <a:custGeom>
              <a:avLst/>
              <a:gdLst/>
              <a:ahLst/>
              <a:cxnLst>
                <a:cxn ang="0">
                  <a:pos x="56" y="91"/>
                </a:cxn>
                <a:cxn ang="0">
                  <a:pos x="55" y="80"/>
                </a:cxn>
                <a:cxn ang="0">
                  <a:pos x="71" y="73"/>
                </a:cxn>
                <a:cxn ang="0">
                  <a:pos x="86" y="73"/>
                </a:cxn>
                <a:cxn ang="0">
                  <a:pos x="88" y="74"/>
                </a:cxn>
                <a:cxn ang="0">
                  <a:pos x="89" y="62"/>
                </a:cxn>
                <a:cxn ang="0">
                  <a:pos x="81" y="50"/>
                </a:cxn>
                <a:cxn ang="0">
                  <a:pos x="81" y="36"/>
                </a:cxn>
                <a:cxn ang="0">
                  <a:pos x="72" y="28"/>
                </a:cxn>
                <a:cxn ang="0">
                  <a:pos x="62" y="28"/>
                </a:cxn>
                <a:cxn ang="0">
                  <a:pos x="55" y="30"/>
                </a:cxn>
                <a:cxn ang="0">
                  <a:pos x="46" y="31"/>
                </a:cxn>
                <a:cxn ang="0">
                  <a:pos x="36" y="35"/>
                </a:cxn>
                <a:cxn ang="0">
                  <a:pos x="39" y="26"/>
                </a:cxn>
                <a:cxn ang="0">
                  <a:pos x="40" y="14"/>
                </a:cxn>
                <a:cxn ang="0">
                  <a:pos x="32" y="11"/>
                </a:cxn>
                <a:cxn ang="0">
                  <a:pos x="31" y="2"/>
                </a:cxn>
                <a:cxn ang="0">
                  <a:pos x="29" y="0"/>
                </a:cxn>
                <a:cxn ang="0">
                  <a:pos x="27" y="2"/>
                </a:cxn>
                <a:cxn ang="0">
                  <a:pos x="17" y="8"/>
                </a:cxn>
                <a:cxn ang="0">
                  <a:pos x="9" y="10"/>
                </a:cxn>
                <a:cxn ang="0">
                  <a:pos x="2" y="14"/>
                </a:cxn>
                <a:cxn ang="0">
                  <a:pos x="0" y="32"/>
                </a:cxn>
                <a:cxn ang="0">
                  <a:pos x="9" y="42"/>
                </a:cxn>
                <a:cxn ang="0">
                  <a:pos x="11" y="50"/>
                </a:cxn>
                <a:cxn ang="0">
                  <a:pos x="10" y="55"/>
                </a:cxn>
                <a:cxn ang="0">
                  <a:pos x="9" y="63"/>
                </a:cxn>
                <a:cxn ang="0">
                  <a:pos x="13" y="75"/>
                </a:cxn>
                <a:cxn ang="0">
                  <a:pos x="17" y="89"/>
                </a:cxn>
                <a:cxn ang="0">
                  <a:pos x="21" y="97"/>
                </a:cxn>
                <a:cxn ang="0">
                  <a:pos x="11" y="116"/>
                </a:cxn>
                <a:cxn ang="0">
                  <a:pos x="8" y="132"/>
                </a:cxn>
                <a:cxn ang="0">
                  <a:pos x="9" y="142"/>
                </a:cxn>
                <a:cxn ang="0">
                  <a:pos x="23" y="157"/>
                </a:cxn>
                <a:cxn ang="0">
                  <a:pos x="27" y="162"/>
                </a:cxn>
                <a:cxn ang="0">
                  <a:pos x="33" y="163"/>
                </a:cxn>
                <a:cxn ang="0">
                  <a:pos x="39" y="170"/>
                </a:cxn>
                <a:cxn ang="0">
                  <a:pos x="48" y="171"/>
                </a:cxn>
                <a:cxn ang="0">
                  <a:pos x="51" y="166"/>
                </a:cxn>
                <a:cxn ang="0">
                  <a:pos x="38" y="159"/>
                </a:cxn>
                <a:cxn ang="0">
                  <a:pos x="30" y="146"/>
                </a:cxn>
                <a:cxn ang="0">
                  <a:pos x="26" y="135"/>
                </a:cxn>
                <a:cxn ang="0">
                  <a:pos x="19" y="130"/>
                </a:cxn>
                <a:cxn ang="0">
                  <a:pos x="20" y="112"/>
                </a:cxn>
                <a:cxn ang="0">
                  <a:pos x="27" y="89"/>
                </a:cxn>
                <a:cxn ang="0">
                  <a:pos x="36" y="86"/>
                </a:cxn>
                <a:cxn ang="0">
                  <a:pos x="45" y="93"/>
                </a:cxn>
                <a:cxn ang="0">
                  <a:pos x="57" y="99"/>
                </a:cxn>
                <a:cxn ang="0">
                  <a:pos x="57" y="100"/>
                </a:cxn>
                <a:cxn ang="0">
                  <a:pos x="57" y="99"/>
                </a:cxn>
                <a:cxn ang="0">
                  <a:pos x="56" y="91"/>
                </a:cxn>
              </a:cxnLst>
              <a:rect l="0" t="0" r="r" b="b"/>
              <a:pathLst>
                <a:path w="92" h="172">
                  <a:moveTo>
                    <a:pt x="56" y="91"/>
                  </a:moveTo>
                  <a:cubicBezTo>
                    <a:pt x="56" y="86"/>
                    <a:pt x="51" y="86"/>
                    <a:pt x="55" y="80"/>
                  </a:cubicBezTo>
                  <a:cubicBezTo>
                    <a:pt x="60" y="75"/>
                    <a:pt x="67" y="71"/>
                    <a:pt x="71" y="73"/>
                  </a:cubicBezTo>
                  <a:cubicBezTo>
                    <a:pt x="75" y="74"/>
                    <a:pt x="84" y="70"/>
                    <a:pt x="86" y="73"/>
                  </a:cubicBezTo>
                  <a:cubicBezTo>
                    <a:pt x="87" y="74"/>
                    <a:pt x="87" y="74"/>
                    <a:pt x="88" y="74"/>
                  </a:cubicBezTo>
                  <a:cubicBezTo>
                    <a:pt x="92" y="70"/>
                    <a:pt x="89" y="67"/>
                    <a:pt x="89" y="62"/>
                  </a:cubicBezTo>
                  <a:cubicBezTo>
                    <a:pt x="90" y="56"/>
                    <a:pt x="85" y="51"/>
                    <a:pt x="81" y="50"/>
                  </a:cubicBezTo>
                  <a:cubicBezTo>
                    <a:pt x="78" y="49"/>
                    <a:pt x="84" y="38"/>
                    <a:pt x="81" y="36"/>
                  </a:cubicBezTo>
                  <a:cubicBezTo>
                    <a:pt x="77" y="34"/>
                    <a:pt x="75" y="31"/>
                    <a:pt x="72" y="28"/>
                  </a:cubicBezTo>
                  <a:cubicBezTo>
                    <a:pt x="70" y="25"/>
                    <a:pt x="63" y="26"/>
                    <a:pt x="62" y="28"/>
                  </a:cubicBezTo>
                  <a:cubicBezTo>
                    <a:pt x="61" y="31"/>
                    <a:pt x="56" y="32"/>
                    <a:pt x="55" y="30"/>
                  </a:cubicBezTo>
                  <a:cubicBezTo>
                    <a:pt x="53" y="28"/>
                    <a:pt x="50" y="28"/>
                    <a:pt x="46" y="31"/>
                  </a:cubicBezTo>
                  <a:cubicBezTo>
                    <a:pt x="43" y="34"/>
                    <a:pt x="37" y="39"/>
                    <a:pt x="36" y="35"/>
                  </a:cubicBezTo>
                  <a:cubicBezTo>
                    <a:pt x="35" y="30"/>
                    <a:pt x="39" y="31"/>
                    <a:pt x="39" y="26"/>
                  </a:cubicBezTo>
                  <a:cubicBezTo>
                    <a:pt x="39" y="21"/>
                    <a:pt x="42" y="19"/>
                    <a:pt x="40" y="14"/>
                  </a:cubicBezTo>
                  <a:cubicBezTo>
                    <a:pt x="39" y="9"/>
                    <a:pt x="34" y="15"/>
                    <a:pt x="32" y="11"/>
                  </a:cubicBezTo>
                  <a:cubicBezTo>
                    <a:pt x="31" y="8"/>
                    <a:pt x="32" y="4"/>
                    <a:pt x="31" y="2"/>
                  </a:cubicBezTo>
                  <a:cubicBezTo>
                    <a:pt x="31" y="2"/>
                    <a:pt x="30" y="1"/>
                    <a:pt x="29" y="0"/>
                  </a:cubicBezTo>
                  <a:cubicBezTo>
                    <a:pt x="28" y="1"/>
                    <a:pt x="28" y="1"/>
                    <a:pt x="27" y="2"/>
                  </a:cubicBezTo>
                  <a:cubicBezTo>
                    <a:pt x="26" y="4"/>
                    <a:pt x="19" y="5"/>
                    <a:pt x="17" y="8"/>
                  </a:cubicBezTo>
                  <a:cubicBezTo>
                    <a:pt x="15" y="11"/>
                    <a:pt x="10" y="10"/>
                    <a:pt x="9" y="10"/>
                  </a:cubicBezTo>
                  <a:cubicBezTo>
                    <a:pt x="7" y="10"/>
                    <a:pt x="3" y="11"/>
                    <a:pt x="2" y="14"/>
                  </a:cubicBezTo>
                  <a:cubicBezTo>
                    <a:pt x="2" y="17"/>
                    <a:pt x="0" y="30"/>
                    <a:pt x="0" y="32"/>
                  </a:cubicBezTo>
                  <a:cubicBezTo>
                    <a:pt x="0" y="34"/>
                    <a:pt x="6" y="41"/>
                    <a:pt x="9" y="42"/>
                  </a:cubicBezTo>
                  <a:cubicBezTo>
                    <a:pt x="11" y="43"/>
                    <a:pt x="8" y="48"/>
                    <a:pt x="11" y="50"/>
                  </a:cubicBezTo>
                  <a:cubicBezTo>
                    <a:pt x="14" y="51"/>
                    <a:pt x="12" y="55"/>
                    <a:pt x="10" y="55"/>
                  </a:cubicBezTo>
                  <a:cubicBezTo>
                    <a:pt x="9" y="54"/>
                    <a:pt x="11" y="61"/>
                    <a:pt x="9" y="63"/>
                  </a:cubicBezTo>
                  <a:cubicBezTo>
                    <a:pt x="6" y="65"/>
                    <a:pt x="8" y="71"/>
                    <a:pt x="13" y="75"/>
                  </a:cubicBezTo>
                  <a:cubicBezTo>
                    <a:pt x="17" y="79"/>
                    <a:pt x="17" y="85"/>
                    <a:pt x="17" y="89"/>
                  </a:cubicBezTo>
                  <a:cubicBezTo>
                    <a:pt x="17" y="92"/>
                    <a:pt x="21" y="93"/>
                    <a:pt x="21" y="97"/>
                  </a:cubicBezTo>
                  <a:cubicBezTo>
                    <a:pt x="21" y="97"/>
                    <a:pt x="15" y="117"/>
                    <a:pt x="11" y="116"/>
                  </a:cubicBezTo>
                  <a:cubicBezTo>
                    <a:pt x="10" y="121"/>
                    <a:pt x="9" y="128"/>
                    <a:pt x="8" y="132"/>
                  </a:cubicBezTo>
                  <a:cubicBezTo>
                    <a:pt x="7" y="138"/>
                    <a:pt x="6" y="142"/>
                    <a:pt x="9" y="142"/>
                  </a:cubicBezTo>
                  <a:cubicBezTo>
                    <a:pt x="12" y="143"/>
                    <a:pt x="18" y="150"/>
                    <a:pt x="23" y="157"/>
                  </a:cubicBezTo>
                  <a:cubicBezTo>
                    <a:pt x="25" y="159"/>
                    <a:pt x="26" y="161"/>
                    <a:pt x="27" y="162"/>
                  </a:cubicBezTo>
                  <a:cubicBezTo>
                    <a:pt x="29" y="162"/>
                    <a:pt x="31" y="162"/>
                    <a:pt x="33" y="163"/>
                  </a:cubicBezTo>
                  <a:cubicBezTo>
                    <a:pt x="38" y="164"/>
                    <a:pt x="39" y="167"/>
                    <a:pt x="39" y="170"/>
                  </a:cubicBezTo>
                  <a:cubicBezTo>
                    <a:pt x="39" y="172"/>
                    <a:pt x="46" y="171"/>
                    <a:pt x="48" y="171"/>
                  </a:cubicBezTo>
                  <a:cubicBezTo>
                    <a:pt x="49" y="170"/>
                    <a:pt x="47" y="167"/>
                    <a:pt x="51" y="166"/>
                  </a:cubicBezTo>
                  <a:cubicBezTo>
                    <a:pt x="49" y="163"/>
                    <a:pt x="43" y="159"/>
                    <a:pt x="38" y="159"/>
                  </a:cubicBezTo>
                  <a:cubicBezTo>
                    <a:pt x="33" y="158"/>
                    <a:pt x="30" y="150"/>
                    <a:pt x="30" y="146"/>
                  </a:cubicBezTo>
                  <a:cubicBezTo>
                    <a:pt x="31" y="142"/>
                    <a:pt x="26" y="139"/>
                    <a:pt x="26" y="135"/>
                  </a:cubicBezTo>
                  <a:cubicBezTo>
                    <a:pt x="26" y="132"/>
                    <a:pt x="23" y="132"/>
                    <a:pt x="19" y="130"/>
                  </a:cubicBezTo>
                  <a:cubicBezTo>
                    <a:pt x="15" y="128"/>
                    <a:pt x="20" y="117"/>
                    <a:pt x="20" y="112"/>
                  </a:cubicBezTo>
                  <a:cubicBezTo>
                    <a:pt x="21" y="107"/>
                    <a:pt x="29" y="93"/>
                    <a:pt x="27" y="89"/>
                  </a:cubicBezTo>
                  <a:cubicBezTo>
                    <a:pt x="24" y="85"/>
                    <a:pt x="35" y="81"/>
                    <a:pt x="36" y="86"/>
                  </a:cubicBezTo>
                  <a:cubicBezTo>
                    <a:pt x="37" y="91"/>
                    <a:pt x="38" y="93"/>
                    <a:pt x="45" y="93"/>
                  </a:cubicBezTo>
                  <a:cubicBezTo>
                    <a:pt x="51" y="93"/>
                    <a:pt x="51" y="98"/>
                    <a:pt x="57" y="99"/>
                  </a:cubicBezTo>
                  <a:cubicBezTo>
                    <a:pt x="57" y="99"/>
                    <a:pt x="57" y="99"/>
                    <a:pt x="57" y="100"/>
                  </a:cubicBezTo>
                  <a:cubicBezTo>
                    <a:pt x="57" y="99"/>
                    <a:pt x="57" y="99"/>
                    <a:pt x="57" y="99"/>
                  </a:cubicBezTo>
                  <a:cubicBezTo>
                    <a:pt x="59" y="95"/>
                    <a:pt x="56" y="95"/>
                    <a:pt x="56" y="9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67479" y="2581717"/>
              <a:ext cx="248291" cy="202803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2" y="31"/>
                </a:cxn>
                <a:cxn ang="0">
                  <a:pos x="3" y="36"/>
                </a:cxn>
                <a:cxn ang="0">
                  <a:pos x="5" y="41"/>
                </a:cxn>
                <a:cxn ang="0">
                  <a:pos x="7" y="47"/>
                </a:cxn>
                <a:cxn ang="0">
                  <a:pos x="10" y="56"/>
                </a:cxn>
                <a:cxn ang="0">
                  <a:pos x="10" y="61"/>
                </a:cxn>
                <a:cxn ang="0">
                  <a:pos x="16" y="65"/>
                </a:cxn>
                <a:cxn ang="0">
                  <a:pos x="24" y="70"/>
                </a:cxn>
                <a:cxn ang="0">
                  <a:pos x="30" y="73"/>
                </a:cxn>
                <a:cxn ang="0">
                  <a:pos x="36" y="72"/>
                </a:cxn>
                <a:cxn ang="0">
                  <a:pos x="39" y="76"/>
                </a:cxn>
                <a:cxn ang="0">
                  <a:pos x="47" y="78"/>
                </a:cxn>
                <a:cxn ang="0">
                  <a:pos x="52" y="84"/>
                </a:cxn>
                <a:cxn ang="0">
                  <a:pos x="59" y="83"/>
                </a:cxn>
                <a:cxn ang="0">
                  <a:pos x="68" y="85"/>
                </a:cxn>
                <a:cxn ang="0">
                  <a:pos x="77" y="85"/>
                </a:cxn>
                <a:cxn ang="0">
                  <a:pos x="86" y="88"/>
                </a:cxn>
                <a:cxn ang="0">
                  <a:pos x="93" y="89"/>
                </a:cxn>
                <a:cxn ang="0">
                  <a:pos x="93" y="82"/>
                </a:cxn>
                <a:cxn ang="0">
                  <a:pos x="103" y="71"/>
                </a:cxn>
                <a:cxn ang="0">
                  <a:pos x="108" y="67"/>
                </a:cxn>
                <a:cxn ang="0">
                  <a:pos x="104" y="56"/>
                </a:cxn>
                <a:cxn ang="0">
                  <a:pos x="103" y="46"/>
                </a:cxn>
                <a:cxn ang="0">
                  <a:pos x="99" y="40"/>
                </a:cxn>
                <a:cxn ang="0">
                  <a:pos x="106" y="35"/>
                </a:cxn>
                <a:cxn ang="0">
                  <a:pos x="105" y="25"/>
                </a:cxn>
                <a:cxn ang="0">
                  <a:pos x="103" y="16"/>
                </a:cxn>
                <a:cxn ang="0">
                  <a:pos x="95" y="10"/>
                </a:cxn>
                <a:cxn ang="0">
                  <a:pos x="94" y="9"/>
                </a:cxn>
                <a:cxn ang="0">
                  <a:pos x="65" y="8"/>
                </a:cxn>
                <a:cxn ang="0">
                  <a:pos x="59" y="6"/>
                </a:cxn>
                <a:cxn ang="0">
                  <a:pos x="53" y="9"/>
                </a:cxn>
                <a:cxn ang="0">
                  <a:pos x="48" y="2"/>
                </a:cxn>
                <a:cxn ang="0">
                  <a:pos x="23" y="9"/>
                </a:cxn>
                <a:cxn ang="0">
                  <a:pos x="6" y="15"/>
                </a:cxn>
                <a:cxn ang="0">
                  <a:pos x="2" y="18"/>
                </a:cxn>
                <a:cxn ang="0">
                  <a:pos x="2" y="19"/>
                </a:cxn>
              </a:cxnLst>
              <a:rect l="0" t="0" r="r" b="b"/>
              <a:pathLst>
                <a:path w="109" h="89">
                  <a:moveTo>
                    <a:pt x="2" y="19"/>
                  </a:moveTo>
                  <a:cubicBezTo>
                    <a:pt x="3" y="21"/>
                    <a:pt x="4" y="28"/>
                    <a:pt x="2" y="31"/>
                  </a:cubicBezTo>
                  <a:cubicBezTo>
                    <a:pt x="0" y="34"/>
                    <a:pt x="1" y="35"/>
                    <a:pt x="3" y="36"/>
                  </a:cubicBezTo>
                  <a:cubicBezTo>
                    <a:pt x="5" y="37"/>
                    <a:pt x="5" y="39"/>
                    <a:pt x="5" y="41"/>
                  </a:cubicBezTo>
                  <a:cubicBezTo>
                    <a:pt x="5" y="43"/>
                    <a:pt x="7" y="43"/>
                    <a:pt x="7" y="47"/>
                  </a:cubicBezTo>
                  <a:cubicBezTo>
                    <a:pt x="7" y="51"/>
                    <a:pt x="8" y="54"/>
                    <a:pt x="10" y="56"/>
                  </a:cubicBezTo>
                  <a:cubicBezTo>
                    <a:pt x="11" y="57"/>
                    <a:pt x="11" y="59"/>
                    <a:pt x="10" y="61"/>
                  </a:cubicBezTo>
                  <a:cubicBezTo>
                    <a:pt x="12" y="63"/>
                    <a:pt x="14" y="64"/>
                    <a:pt x="16" y="65"/>
                  </a:cubicBezTo>
                  <a:cubicBezTo>
                    <a:pt x="22" y="67"/>
                    <a:pt x="24" y="68"/>
                    <a:pt x="24" y="70"/>
                  </a:cubicBezTo>
                  <a:cubicBezTo>
                    <a:pt x="24" y="72"/>
                    <a:pt x="29" y="75"/>
                    <a:pt x="30" y="73"/>
                  </a:cubicBezTo>
                  <a:cubicBezTo>
                    <a:pt x="31" y="70"/>
                    <a:pt x="34" y="72"/>
                    <a:pt x="36" y="72"/>
                  </a:cubicBezTo>
                  <a:cubicBezTo>
                    <a:pt x="38" y="72"/>
                    <a:pt x="39" y="74"/>
                    <a:pt x="39" y="76"/>
                  </a:cubicBezTo>
                  <a:cubicBezTo>
                    <a:pt x="40" y="77"/>
                    <a:pt x="45" y="76"/>
                    <a:pt x="47" y="78"/>
                  </a:cubicBezTo>
                  <a:cubicBezTo>
                    <a:pt x="48" y="79"/>
                    <a:pt x="49" y="83"/>
                    <a:pt x="52" y="84"/>
                  </a:cubicBezTo>
                  <a:cubicBezTo>
                    <a:pt x="54" y="86"/>
                    <a:pt x="57" y="82"/>
                    <a:pt x="59" y="83"/>
                  </a:cubicBezTo>
                  <a:cubicBezTo>
                    <a:pt x="60" y="85"/>
                    <a:pt x="65" y="86"/>
                    <a:pt x="68" y="85"/>
                  </a:cubicBezTo>
                  <a:cubicBezTo>
                    <a:pt x="71" y="83"/>
                    <a:pt x="73" y="86"/>
                    <a:pt x="77" y="85"/>
                  </a:cubicBezTo>
                  <a:cubicBezTo>
                    <a:pt x="81" y="85"/>
                    <a:pt x="85" y="86"/>
                    <a:pt x="86" y="88"/>
                  </a:cubicBezTo>
                  <a:cubicBezTo>
                    <a:pt x="87" y="88"/>
                    <a:pt x="90" y="89"/>
                    <a:pt x="93" y="89"/>
                  </a:cubicBezTo>
                  <a:cubicBezTo>
                    <a:pt x="94" y="88"/>
                    <a:pt x="92" y="83"/>
                    <a:pt x="93" y="82"/>
                  </a:cubicBezTo>
                  <a:cubicBezTo>
                    <a:pt x="93" y="81"/>
                    <a:pt x="102" y="73"/>
                    <a:pt x="103" y="71"/>
                  </a:cubicBezTo>
                  <a:cubicBezTo>
                    <a:pt x="105" y="69"/>
                    <a:pt x="107" y="69"/>
                    <a:pt x="108" y="67"/>
                  </a:cubicBezTo>
                  <a:cubicBezTo>
                    <a:pt x="109" y="65"/>
                    <a:pt x="105" y="58"/>
                    <a:pt x="104" y="56"/>
                  </a:cubicBezTo>
                  <a:cubicBezTo>
                    <a:pt x="103" y="55"/>
                    <a:pt x="102" y="49"/>
                    <a:pt x="103" y="46"/>
                  </a:cubicBezTo>
                  <a:cubicBezTo>
                    <a:pt x="104" y="44"/>
                    <a:pt x="99" y="42"/>
                    <a:pt x="99" y="40"/>
                  </a:cubicBezTo>
                  <a:cubicBezTo>
                    <a:pt x="99" y="39"/>
                    <a:pt x="103" y="36"/>
                    <a:pt x="106" y="35"/>
                  </a:cubicBezTo>
                  <a:cubicBezTo>
                    <a:pt x="108" y="34"/>
                    <a:pt x="107" y="27"/>
                    <a:pt x="105" y="25"/>
                  </a:cubicBezTo>
                  <a:cubicBezTo>
                    <a:pt x="103" y="23"/>
                    <a:pt x="102" y="20"/>
                    <a:pt x="103" y="16"/>
                  </a:cubicBezTo>
                  <a:cubicBezTo>
                    <a:pt x="105" y="13"/>
                    <a:pt x="96" y="10"/>
                    <a:pt x="95" y="10"/>
                  </a:cubicBezTo>
                  <a:cubicBezTo>
                    <a:pt x="94" y="10"/>
                    <a:pt x="94" y="10"/>
                    <a:pt x="94" y="9"/>
                  </a:cubicBezTo>
                  <a:cubicBezTo>
                    <a:pt x="86" y="11"/>
                    <a:pt x="66" y="9"/>
                    <a:pt x="65" y="8"/>
                  </a:cubicBezTo>
                  <a:cubicBezTo>
                    <a:pt x="64" y="8"/>
                    <a:pt x="61" y="7"/>
                    <a:pt x="59" y="6"/>
                  </a:cubicBezTo>
                  <a:cubicBezTo>
                    <a:pt x="58" y="8"/>
                    <a:pt x="56" y="9"/>
                    <a:pt x="53" y="9"/>
                  </a:cubicBezTo>
                  <a:cubicBezTo>
                    <a:pt x="48" y="9"/>
                    <a:pt x="48" y="5"/>
                    <a:pt x="48" y="2"/>
                  </a:cubicBezTo>
                  <a:cubicBezTo>
                    <a:pt x="48" y="0"/>
                    <a:pt x="28" y="4"/>
                    <a:pt x="23" y="9"/>
                  </a:cubicBezTo>
                  <a:cubicBezTo>
                    <a:pt x="18" y="15"/>
                    <a:pt x="6" y="13"/>
                    <a:pt x="6" y="15"/>
                  </a:cubicBezTo>
                  <a:cubicBezTo>
                    <a:pt x="5" y="17"/>
                    <a:pt x="3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703490" y="2911507"/>
              <a:ext cx="94767" cy="89082"/>
            </a:xfrm>
            <a:custGeom>
              <a:avLst/>
              <a:gdLst/>
              <a:ahLst/>
              <a:cxnLst>
                <a:cxn ang="0">
                  <a:pos x="31" y="35"/>
                </a:cxn>
                <a:cxn ang="0">
                  <a:pos x="39" y="23"/>
                </a:cxn>
                <a:cxn ang="0">
                  <a:pos x="40" y="8"/>
                </a:cxn>
                <a:cxn ang="0">
                  <a:pos x="30" y="2"/>
                </a:cxn>
                <a:cxn ang="0">
                  <a:pos x="13" y="1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6" y="13"/>
                </a:cxn>
                <a:cxn ang="0">
                  <a:pos x="15" y="24"/>
                </a:cxn>
                <a:cxn ang="0">
                  <a:pos x="24" y="34"/>
                </a:cxn>
                <a:cxn ang="0">
                  <a:pos x="30" y="39"/>
                </a:cxn>
                <a:cxn ang="0">
                  <a:pos x="31" y="35"/>
                </a:cxn>
              </a:cxnLst>
              <a:rect l="0" t="0" r="r" b="b"/>
              <a:pathLst>
                <a:path w="41" h="39">
                  <a:moveTo>
                    <a:pt x="31" y="35"/>
                  </a:moveTo>
                  <a:cubicBezTo>
                    <a:pt x="30" y="33"/>
                    <a:pt x="37" y="23"/>
                    <a:pt x="39" y="23"/>
                  </a:cubicBezTo>
                  <a:cubicBezTo>
                    <a:pt x="41" y="23"/>
                    <a:pt x="41" y="13"/>
                    <a:pt x="40" y="8"/>
                  </a:cubicBezTo>
                  <a:cubicBezTo>
                    <a:pt x="35" y="4"/>
                    <a:pt x="30" y="2"/>
                    <a:pt x="30" y="2"/>
                  </a:cubicBezTo>
                  <a:cubicBezTo>
                    <a:pt x="30" y="2"/>
                    <a:pt x="15" y="2"/>
                    <a:pt x="13" y="1"/>
                  </a:cubicBezTo>
                  <a:cubicBezTo>
                    <a:pt x="10" y="0"/>
                    <a:pt x="8" y="4"/>
                    <a:pt x="6" y="2"/>
                  </a:cubicBezTo>
                  <a:cubicBezTo>
                    <a:pt x="3" y="0"/>
                    <a:pt x="0" y="3"/>
                    <a:pt x="1" y="5"/>
                  </a:cubicBezTo>
                  <a:cubicBezTo>
                    <a:pt x="1" y="8"/>
                    <a:pt x="6" y="9"/>
                    <a:pt x="6" y="13"/>
                  </a:cubicBezTo>
                  <a:cubicBezTo>
                    <a:pt x="6" y="17"/>
                    <a:pt x="15" y="22"/>
                    <a:pt x="15" y="24"/>
                  </a:cubicBezTo>
                  <a:cubicBezTo>
                    <a:pt x="15" y="25"/>
                    <a:pt x="21" y="29"/>
                    <a:pt x="24" y="34"/>
                  </a:cubicBezTo>
                  <a:cubicBezTo>
                    <a:pt x="26" y="35"/>
                    <a:pt x="28" y="37"/>
                    <a:pt x="30" y="39"/>
                  </a:cubicBezTo>
                  <a:cubicBezTo>
                    <a:pt x="30" y="37"/>
                    <a:pt x="31" y="36"/>
                    <a:pt x="31" y="3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58001" y="2871704"/>
              <a:ext cx="136465" cy="117511"/>
            </a:xfrm>
            <a:custGeom>
              <a:avLst/>
              <a:gdLst/>
              <a:ahLst/>
              <a:cxnLst>
                <a:cxn ang="0">
                  <a:pos x="35" y="42"/>
                </a:cxn>
                <a:cxn ang="0">
                  <a:pos x="26" y="31"/>
                </a:cxn>
                <a:cxn ang="0">
                  <a:pos x="21" y="23"/>
                </a:cxn>
                <a:cxn ang="0">
                  <a:pos x="26" y="20"/>
                </a:cxn>
                <a:cxn ang="0">
                  <a:pos x="33" y="19"/>
                </a:cxn>
                <a:cxn ang="0">
                  <a:pos x="50" y="20"/>
                </a:cxn>
                <a:cxn ang="0">
                  <a:pos x="60" y="26"/>
                </a:cxn>
                <a:cxn ang="0">
                  <a:pos x="60" y="23"/>
                </a:cxn>
                <a:cxn ang="0">
                  <a:pos x="56" y="15"/>
                </a:cxn>
                <a:cxn ang="0">
                  <a:pos x="53" y="8"/>
                </a:cxn>
                <a:cxn ang="0">
                  <a:pos x="50" y="9"/>
                </a:cxn>
                <a:cxn ang="0">
                  <a:pos x="38" y="7"/>
                </a:cxn>
                <a:cxn ang="0">
                  <a:pos x="29" y="0"/>
                </a:cxn>
                <a:cxn ang="0">
                  <a:pos x="22" y="4"/>
                </a:cxn>
                <a:cxn ang="0">
                  <a:pos x="19" y="10"/>
                </a:cxn>
                <a:cxn ang="0">
                  <a:pos x="15" y="15"/>
                </a:cxn>
                <a:cxn ang="0">
                  <a:pos x="8" y="15"/>
                </a:cxn>
                <a:cxn ang="0">
                  <a:pos x="0" y="16"/>
                </a:cxn>
                <a:cxn ang="0">
                  <a:pos x="2" y="21"/>
                </a:cxn>
                <a:cxn ang="0">
                  <a:pos x="11" y="25"/>
                </a:cxn>
                <a:cxn ang="0">
                  <a:pos x="21" y="40"/>
                </a:cxn>
                <a:cxn ang="0">
                  <a:pos x="30" y="45"/>
                </a:cxn>
                <a:cxn ang="0">
                  <a:pos x="40" y="50"/>
                </a:cxn>
                <a:cxn ang="0">
                  <a:pos x="44" y="52"/>
                </a:cxn>
                <a:cxn ang="0">
                  <a:pos x="35" y="42"/>
                </a:cxn>
              </a:cxnLst>
              <a:rect l="0" t="0" r="r" b="b"/>
              <a:pathLst>
                <a:path w="60" h="52">
                  <a:moveTo>
                    <a:pt x="35" y="42"/>
                  </a:moveTo>
                  <a:cubicBezTo>
                    <a:pt x="35" y="40"/>
                    <a:pt x="26" y="35"/>
                    <a:pt x="26" y="31"/>
                  </a:cubicBezTo>
                  <a:cubicBezTo>
                    <a:pt x="26" y="27"/>
                    <a:pt x="21" y="26"/>
                    <a:pt x="21" y="23"/>
                  </a:cubicBezTo>
                  <a:cubicBezTo>
                    <a:pt x="20" y="21"/>
                    <a:pt x="23" y="18"/>
                    <a:pt x="26" y="20"/>
                  </a:cubicBezTo>
                  <a:cubicBezTo>
                    <a:pt x="28" y="22"/>
                    <a:pt x="30" y="18"/>
                    <a:pt x="33" y="19"/>
                  </a:cubicBezTo>
                  <a:cubicBezTo>
                    <a:pt x="35" y="20"/>
                    <a:pt x="50" y="20"/>
                    <a:pt x="50" y="20"/>
                  </a:cubicBezTo>
                  <a:cubicBezTo>
                    <a:pt x="50" y="20"/>
                    <a:pt x="55" y="22"/>
                    <a:pt x="60" y="26"/>
                  </a:cubicBezTo>
                  <a:cubicBezTo>
                    <a:pt x="60" y="24"/>
                    <a:pt x="60" y="24"/>
                    <a:pt x="60" y="23"/>
                  </a:cubicBezTo>
                  <a:cubicBezTo>
                    <a:pt x="59" y="20"/>
                    <a:pt x="60" y="16"/>
                    <a:pt x="56" y="15"/>
                  </a:cubicBezTo>
                  <a:cubicBezTo>
                    <a:pt x="55" y="14"/>
                    <a:pt x="54" y="11"/>
                    <a:pt x="53" y="8"/>
                  </a:cubicBezTo>
                  <a:cubicBezTo>
                    <a:pt x="52" y="9"/>
                    <a:pt x="50" y="9"/>
                    <a:pt x="50" y="9"/>
                  </a:cubicBezTo>
                  <a:cubicBezTo>
                    <a:pt x="47" y="10"/>
                    <a:pt x="40" y="10"/>
                    <a:pt x="38" y="7"/>
                  </a:cubicBezTo>
                  <a:cubicBezTo>
                    <a:pt x="36" y="5"/>
                    <a:pt x="31" y="1"/>
                    <a:pt x="29" y="0"/>
                  </a:cubicBezTo>
                  <a:cubicBezTo>
                    <a:pt x="28" y="1"/>
                    <a:pt x="24" y="4"/>
                    <a:pt x="22" y="4"/>
                  </a:cubicBezTo>
                  <a:cubicBezTo>
                    <a:pt x="20" y="5"/>
                    <a:pt x="21" y="10"/>
                    <a:pt x="19" y="10"/>
                  </a:cubicBezTo>
                  <a:cubicBezTo>
                    <a:pt x="17" y="10"/>
                    <a:pt x="16" y="13"/>
                    <a:pt x="15" y="15"/>
                  </a:cubicBezTo>
                  <a:cubicBezTo>
                    <a:pt x="15" y="16"/>
                    <a:pt x="10" y="14"/>
                    <a:pt x="8" y="15"/>
                  </a:cubicBezTo>
                  <a:cubicBezTo>
                    <a:pt x="7" y="15"/>
                    <a:pt x="2" y="16"/>
                    <a:pt x="0" y="16"/>
                  </a:cubicBezTo>
                  <a:cubicBezTo>
                    <a:pt x="1" y="18"/>
                    <a:pt x="0" y="21"/>
                    <a:pt x="2" y="21"/>
                  </a:cubicBezTo>
                  <a:cubicBezTo>
                    <a:pt x="5" y="21"/>
                    <a:pt x="11" y="21"/>
                    <a:pt x="11" y="25"/>
                  </a:cubicBezTo>
                  <a:cubicBezTo>
                    <a:pt x="11" y="29"/>
                    <a:pt x="18" y="37"/>
                    <a:pt x="21" y="40"/>
                  </a:cubicBezTo>
                  <a:cubicBezTo>
                    <a:pt x="24" y="43"/>
                    <a:pt x="30" y="43"/>
                    <a:pt x="30" y="45"/>
                  </a:cubicBezTo>
                  <a:cubicBezTo>
                    <a:pt x="30" y="48"/>
                    <a:pt x="35" y="50"/>
                    <a:pt x="40" y="50"/>
                  </a:cubicBezTo>
                  <a:cubicBezTo>
                    <a:pt x="41" y="50"/>
                    <a:pt x="43" y="51"/>
                    <a:pt x="44" y="52"/>
                  </a:cubicBezTo>
                  <a:cubicBezTo>
                    <a:pt x="41" y="47"/>
                    <a:pt x="35" y="43"/>
                    <a:pt x="35" y="4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790675" y="2996797"/>
              <a:ext cx="47384" cy="92873"/>
            </a:xfrm>
            <a:custGeom>
              <a:avLst/>
              <a:gdLst/>
              <a:ahLst/>
              <a:cxnLst>
                <a:cxn ang="0">
                  <a:pos x="14" y="35"/>
                </a:cxn>
                <a:cxn ang="0">
                  <a:pos x="17" y="31"/>
                </a:cxn>
                <a:cxn ang="0">
                  <a:pos x="21" y="24"/>
                </a:cxn>
                <a:cxn ang="0">
                  <a:pos x="21" y="24"/>
                </a:cxn>
                <a:cxn ang="0">
                  <a:pos x="15" y="17"/>
                </a:cxn>
                <a:cxn ang="0">
                  <a:pos x="16" y="5"/>
                </a:cxn>
                <a:cxn ang="0">
                  <a:pos x="6" y="0"/>
                </a:cxn>
                <a:cxn ang="0">
                  <a:pos x="1" y="8"/>
                </a:cxn>
                <a:cxn ang="0">
                  <a:pos x="4" y="15"/>
                </a:cxn>
                <a:cxn ang="0">
                  <a:pos x="3" y="32"/>
                </a:cxn>
                <a:cxn ang="0">
                  <a:pos x="11" y="41"/>
                </a:cxn>
                <a:cxn ang="0">
                  <a:pos x="14" y="35"/>
                </a:cxn>
              </a:cxnLst>
              <a:rect l="0" t="0" r="r" b="b"/>
              <a:pathLst>
                <a:path w="21" h="41">
                  <a:moveTo>
                    <a:pt x="14" y="35"/>
                  </a:moveTo>
                  <a:cubicBezTo>
                    <a:pt x="17" y="35"/>
                    <a:pt x="15" y="33"/>
                    <a:pt x="17" y="31"/>
                  </a:cubicBezTo>
                  <a:cubicBezTo>
                    <a:pt x="19" y="29"/>
                    <a:pt x="21" y="26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1"/>
                    <a:pt x="15" y="20"/>
                    <a:pt x="15" y="17"/>
                  </a:cubicBezTo>
                  <a:cubicBezTo>
                    <a:pt x="14" y="14"/>
                    <a:pt x="15" y="9"/>
                    <a:pt x="16" y="5"/>
                  </a:cubicBezTo>
                  <a:cubicBezTo>
                    <a:pt x="14" y="4"/>
                    <a:pt x="8" y="0"/>
                    <a:pt x="6" y="0"/>
                  </a:cubicBezTo>
                  <a:cubicBezTo>
                    <a:pt x="4" y="0"/>
                    <a:pt x="1" y="4"/>
                    <a:pt x="1" y="8"/>
                  </a:cubicBezTo>
                  <a:cubicBezTo>
                    <a:pt x="5" y="10"/>
                    <a:pt x="7" y="12"/>
                    <a:pt x="4" y="15"/>
                  </a:cubicBezTo>
                  <a:cubicBezTo>
                    <a:pt x="1" y="18"/>
                    <a:pt x="0" y="29"/>
                    <a:pt x="3" y="32"/>
                  </a:cubicBezTo>
                  <a:cubicBezTo>
                    <a:pt x="7" y="34"/>
                    <a:pt x="8" y="40"/>
                    <a:pt x="11" y="41"/>
                  </a:cubicBezTo>
                  <a:cubicBezTo>
                    <a:pt x="12" y="38"/>
                    <a:pt x="12" y="35"/>
                    <a:pt x="14" y="3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553758" y="2788309"/>
              <a:ext cx="191431" cy="85291"/>
            </a:xfrm>
            <a:custGeom>
              <a:avLst/>
              <a:gdLst/>
              <a:ahLst/>
              <a:cxnLst>
                <a:cxn ang="0">
                  <a:pos x="71" y="3"/>
                </a:cxn>
                <a:cxn ang="0">
                  <a:pos x="60" y="0"/>
                </a:cxn>
                <a:cxn ang="0">
                  <a:pos x="58" y="5"/>
                </a:cxn>
                <a:cxn ang="0">
                  <a:pos x="48" y="5"/>
                </a:cxn>
                <a:cxn ang="0">
                  <a:pos x="42" y="10"/>
                </a:cxn>
                <a:cxn ang="0">
                  <a:pos x="38" y="17"/>
                </a:cxn>
                <a:cxn ang="0">
                  <a:pos x="33" y="20"/>
                </a:cxn>
                <a:cxn ang="0">
                  <a:pos x="22" y="22"/>
                </a:cxn>
                <a:cxn ang="0">
                  <a:pos x="15" y="23"/>
                </a:cxn>
                <a:cxn ang="0">
                  <a:pos x="9" y="24"/>
                </a:cxn>
                <a:cxn ang="0">
                  <a:pos x="2" y="22"/>
                </a:cxn>
                <a:cxn ang="0">
                  <a:pos x="1" y="28"/>
                </a:cxn>
                <a:cxn ang="0">
                  <a:pos x="7" y="31"/>
                </a:cxn>
                <a:cxn ang="0">
                  <a:pos x="14" y="32"/>
                </a:cxn>
                <a:cxn ang="0">
                  <a:pos x="21" y="30"/>
                </a:cxn>
                <a:cxn ang="0">
                  <a:pos x="30" y="29"/>
                </a:cxn>
                <a:cxn ang="0">
                  <a:pos x="32" y="34"/>
                </a:cxn>
                <a:cxn ang="0">
                  <a:pos x="42" y="35"/>
                </a:cxn>
                <a:cxn ang="0">
                  <a:pos x="55" y="37"/>
                </a:cxn>
                <a:cxn ang="0">
                  <a:pos x="64" y="34"/>
                </a:cxn>
                <a:cxn ang="0">
                  <a:pos x="72" y="31"/>
                </a:cxn>
                <a:cxn ang="0">
                  <a:pos x="72" y="31"/>
                </a:cxn>
                <a:cxn ang="0">
                  <a:pos x="74" y="29"/>
                </a:cxn>
                <a:cxn ang="0">
                  <a:pos x="76" y="24"/>
                </a:cxn>
                <a:cxn ang="0">
                  <a:pos x="77" y="19"/>
                </a:cxn>
                <a:cxn ang="0">
                  <a:pos x="82" y="16"/>
                </a:cxn>
                <a:cxn ang="0">
                  <a:pos x="84" y="13"/>
                </a:cxn>
                <a:cxn ang="0">
                  <a:pos x="79" y="4"/>
                </a:cxn>
                <a:cxn ang="0">
                  <a:pos x="71" y="3"/>
                </a:cxn>
              </a:cxnLst>
              <a:rect l="0" t="0" r="r" b="b"/>
              <a:pathLst>
                <a:path w="84" h="37">
                  <a:moveTo>
                    <a:pt x="71" y="3"/>
                  </a:moveTo>
                  <a:cubicBezTo>
                    <a:pt x="68" y="0"/>
                    <a:pt x="60" y="0"/>
                    <a:pt x="60" y="0"/>
                  </a:cubicBezTo>
                  <a:cubicBezTo>
                    <a:pt x="60" y="0"/>
                    <a:pt x="59" y="3"/>
                    <a:pt x="58" y="5"/>
                  </a:cubicBezTo>
                  <a:cubicBezTo>
                    <a:pt x="57" y="6"/>
                    <a:pt x="52" y="6"/>
                    <a:pt x="48" y="5"/>
                  </a:cubicBezTo>
                  <a:cubicBezTo>
                    <a:pt x="47" y="7"/>
                    <a:pt x="43" y="8"/>
                    <a:pt x="42" y="10"/>
                  </a:cubicBezTo>
                  <a:cubicBezTo>
                    <a:pt x="42" y="12"/>
                    <a:pt x="36" y="11"/>
                    <a:pt x="38" y="17"/>
                  </a:cubicBezTo>
                  <a:cubicBezTo>
                    <a:pt x="40" y="23"/>
                    <a:pt x="35" y="21"/>
                    <a:pt x="33" y="20"/>
                  </a:cubicBezTo>
                  <a:cubicBezTo>
                    <a:pt x="32" y="19"/>
                    <a:pt x="24" y="20"/>
                    <a:pt x="22" y="22"/>
                  </a:cubicBezTo>
                  <a:cubicBezTo>
                    <a:pt x="20" y="24"/>
                    <a:pt x="17" y="24"/>
                    <a:pt x="15" y="23"/>
                  </a:cubicBezTo>
                  <a:cubicBezTo>
                    <a:pt x="14" y="22"/>
                    <a:pt x="10" y="21"/>
                    <a:pt x="9" y="24"/>
                  </a:cubicBezTo>
                  <a:cubicBezTo>
                    <a:pt x="7" y="26"/>
                    <a:pt x="4" y="22"/>
                    <a:pt x="2" y="22"/>
                  </a:cubicBezTo>
                  <a:cubicBezTo>
                    <a:pt x="0" y="22"/>
                    <a:pt x="1" y="27"/>
                    <a:pt x="1" y="28"/>
                  </a:cubicBezTo>
                  <a:cubicBezTo>
                    <a:pt x="1" y="29"/>
                    <a:pt x="4" y="32"/>
                    <a:pt x="7" y="31"/>
                  </a:cubicBezTo>
                  <a:cubicBezTo>
                    <a:pt x="9" y="30"/>
                    <a:pt x="12" y="31"/>
                    <a:pt x="14" y="32"/>
                  </a:cubicBezTo>
                  <a:cubicBezTo>
                    <a:pt x="16" y="34"/>
                    <a:pt x="19" y="31"/>
                    <a:pt x="21" y="30"/>
                  </a:cubicBezTo>
                  <a:cubicBezTo>
                    <a:pt x="22" y="29"/>
                    <a:pt x="29" y="29"/>
                    <a:pt x="30" y="29"/>
                  </a:cubicBezTo>
                  <a:cubicBezTo>
                    <a:pt x="30" y="29"/>
                    <a:pt x="31" y="33"/>
                    <a:pt x="32" y="34"/>
                  </a:cubicBezTo>
                  <a:cubicBezTo>
                    <a:pt x="33" y="34"/>
                    <a:pt x="38" y="35"/>
                    <a:pt x="42" y="35"/>
                  </a:cubicBezTo>
                  <a:cubicBezTo>
                    <a:pt x="46" y="35"/>
                    <a:pt x="53" y="37"/>
                    <a:pt x="55" y="37"/>
                  </a:cubicBezTo>
                  <a:cubicBezTo>
                    <a:pt x="57" y="37"/>
                    <a:pt x="60" y="34"/>
                    <a:pt x="64" y="34"/>
                  </a:cubicBezTo>
                  <a:cubicBezTo>
                    <a:pt x="69" y="34"/>
                    <a:pt x="71" y="31"/>
                    <a:pt x="72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8"/>
                    <a:pt x="74" y="25"/>
                    <a:pt x="76" y="24"/>
                  </a:cubicBezTo>
                  <a:cubicBezTo>
                    <a:pt x="77" y="22"/>
                    <a:pt x="75" y="19"/>
                    <a:pt x="77" y="19"/>
                  </a:cubicBezTo>
                  <a:cubicBezTo>
                    <a:pt x="79" y="20"/>
                    <a:pt x="82" y="20"/>
                    <a:pt x="82" y="16"/>
                  </a:cubicBezTo>
                  <a:cubicBezTo>
                    <a:pt x="82" y="15"/>
                    <a:pt x="83" y="14"/>
                    <a:pt x="84" y="13"/>
                  </a:cubicBezTo>
                  <a:cubicBezTo>
                    <a:pt x="81" y="10"/>
                    <a:pt x="79" y="4"/>
                    <a:pt x="79" y="4"/>
                  </a:cubicBezTo>
                  <a:cubicBezTo>
                    <a:pt x="79" y="4"/>
                    <a:pt x="74" y="6"/>
                    <a:pt x="71" y="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716758" y="2797786"/>
              <a:ext cx="170581" cy="96663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68" y="7"/>
                </a:cxn>
                <a:cxn ang="0">
                  <a:pos x="61" y="4"/>
                </a:cxn>
                <a:cxn ang="0">
                  <a:pos x="51" y="1"/>
                </a:cxn>
                <a:cxn ang="0">
                  <a:pos x="40" y="7"/>
                </a:cxn>
                <a:cxn ang="0">
                  <a:pos x="28" y="11"/>
                </a:cxn>
                <a:cxn ang="0">
                  <a:pos x="13" y="11"/>
                </a:cxn>
                <a:cxn ang="0">
                  <a:pos x="12" y="9"/>
                </a:cxn>
                <a:cxn ang="0">
                  <a:pos x="10" y="12"/>
                </a:cxn>
                <a:cxn ang="0">
                  <a:pos x="5" y="15"/>
                </a:cxn>
                <a:cxn ang="0">
                  <a:pos x="4" y="20"/>
                </a:cxn>
                <a:cxn ang="0">
                  <a:pos x="2" y="25"/>
                </a:cxn>
                <a:cxn ang="0">
                  <a:pos x="0" y="27"/>
                </a:cxn>
                <a:cxn ang="0">
                  <a:pos x="3" y="32"/>
                </a:cxn>
                <a:cxn ang="0">
                  <a:pos x="3" y="32"/>
                </a:cxn>
                <a:cxn ang="0">
                  <a:pos x="12" y="39"/>
                </a:cxn>
                <a:cxn ang="0">
                  <a:pos x="24" y="41"/>
                </a:cxn>
                <a:cxn ang="0">
                  <a:pos x="39" y="37"/>
                </a:cxn>
                <a:cxn ang="0">
                  <a:pos x="44" y="38"/>
                </a:cxn>
                <a:cxn ang="0">
                  <a:pos x="47" y="39"/>
                </a:cxn>
                <a:cxn ang="0">
                  <a:pos x="54" y="34"/>
                </a:cxn>
                <a:cxn ang="0">
                  <a:pos x="64" y="17"/>
                </a:cxn>
                <a:cxn ang="0">
                  <a:pos x="72" y="12"/>
                </a:cxn>
                <a:cxn ang="0">
                  <a:pos x="71" y="8"/>
                </a:cxn>
              </a:cxnLst>
              <a:rect l="0" t="0" r="r" b="b"/>
              <a:pathLst>
                <a:path w="74" h="42">
                  <a:moveTo>
                    <a:pt x="71" y="8"/>
                  </a:moveTo>
                  <a:cubicBezTo>
                    <a:pt x="70" y="8"/>
                    <a:pt x="69" y="7"/>
                    <a:pt x="68" y="7"/>
                  </a:cubicBezTo>
                  <a:cubicBezTo>
                    <a:pt x="65" y="6"/>
                    <a:pt x="62" y="5"/>
                    <a:pt x="61" y="4"/>
                  </a:cubicBezTo>
                  <a:cubicBezTo>
                    <a:pt x="59" y="2"/>
                    <a:pt x="52" y="1"/>
                    <a:pt x="51" y="1"/>
                  </a:cubicBezTo>
                  <a:cubicBezTo>
                    <a:pt x="50" y="0"/>
                    <a:pt x="43" y="7"/>
                    <a:pt x="40" y="7"/>
                  </a:cubicBezTo>
                  <a:cubicBezTo>
                    <a:pt x="38" y="7"/>
                    <a:pt x="28" y="9"/>
                    <a:pt x="28" y="11"/>
                  </a:cubicBezTo>
                  <a:cubicBezTo>
                    <a:pt x="28" y="14"/>
                    <a:pt x="16" y="14"/>
                    <a:pt x="13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11" y="10"/>
                    <a:pt x="10" y="11"/>
                    <a:pt x="10" y="12"/>
                  </a:cubicBezTo>
                  <a:cubicBezTo>
                    <a:pt x="10" y="16"/>
                    <a:pt x="7" y="16"/>
                    <a:pt x="5" y="15"/>
                  </a:cubicBezTo>
                  <a:cubicBezTo>
                    <a:pt x="3" y="15"/>
                    <a:pt x="5" y="18"/>
                    <a:pt x="4" y="20"/>
                  </a:cubicBezTo>
                  <a:cubicBezTo>
                    <a:pt x="2" y="21"/>
                    <a:pt x="4" y="24"/>
                    <a:pt x="2" y="25"/>
                  </a:cubicBezTo>
                  <a:cubicBezTo>
                    <a:pt x="1" y="25"/>
                    <a:pt x="0" y="26"/>
                    <a:pt x="0" y="27"/>
                  </a:cubicBezTo>
                  <a:cubicBezTo>
                    <a:pt x="1" y="28"/>
                    <a:pt x="3" y="32"/>
                    <a:pt x="3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5" y="33"/>
                    <a:pt x="10" y="37"/>
                    <a:pt x="12" y="39"/>
                  </a:cubicBezTo>
                  <a:cubicBezTo>
                    <a:pt x="14" y="42"/>
                    <a:pt x="21" y="42"/>
                    <a:pt x="24" y="41"/>
                  </a:cubicBezTo>
                  <a:cubicBezTo>
                    <a:pt x="26" y="41"/>
                    <a:pt x="39" y="37"/>
                    <a:pt x="39" y="37"/>
                  </a:cubicBezTo>
                  <a:cubicBezTo>
                    <a:pt x="39" y="37"/>
                    <a:pt x="42" y="38"/>
                    <a:pt x="44" y="38"/>
                  </a:cubicBezTo>
                  <a:cubicBezTo>
                    <a:pt x="44" y="38"/>
                    <a:pt x="46" y="38"/>
                    <a:pt x="47" y="39"/>
                  </a:cubicBezTo>
                  <a:cubicBezTo>
                    <a:pt x="48" y="38"/>
                    <a:pt x="51" y="37"/>
                    <a:pt x="54" y="34"/>
                  </a:cubicBezTo>
                  <a:cubicBezTo>
                    <a:pt x="57" y="30"/>
                    <a:pt x="63" y="18"/>
                    <a:pt x="64" y="17"/>
                  </a:cubicBezTo>
                  <a:cubicBezTo>
                    <a:pt x="66" y="16"/>
                    <a:pt x="70" y="14"/>
                    <a:pt x="72" y="12"/>
                  </a:cubicBezTo>
                  <a:cubicBezTo>
                    <a:pt x="74" y="11"/>
                    <a:pt x="73" y="9"/>
                    <a:pt x="71" y="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20094" y="2720076"/>
              <a:ext cx="161105" cy="83395"/>
            </a:xfrm>
            <a:custGeom>
              <a:avLst/>
              <a:gdLst/>
              <a:ahLst/>
              <a:cxnLst>
                <a:cxn ang="0">
                  <a:pos x="68" y="17"/>
                </a:cxn>
                <a:cxn ang="0">
                  <a:pos x="60" y="15"/>
                </a:cxn>
                <a:cxn ang="0">
                  <a:pos x="57" y="11"/>
                </a:cxn>
                <a:cxn ang="0">
                  <a:pos x="51" y="12"/>
                </a:cxn>
                <a:cxn ang="0">
                  <a:pos x="45" y="9"/>
                </a:cxn>
                <a:cxn ang="0">
                  <a:pos x="37" y="4"/>
                </a:cxn>
                <a:cxn ang="0">
                  <a:pos x="31" y="0"/>
                </a:cxn>
                <a:cxn ang="0">
                  <a:pos x="30" y="1"/>
                </a:cxn>
                <a:cxn ang="0">
                  <a:pos x="24" y="2"/>
                </a:cxn>
                <a:cxn ang="0">
                  <a:pos x="15" y="6"/>
                </a:cxn>
                <a:cxn ang="0">
                  <a:pos x="3" y="10"/>
                </a:cxn>
                <a:cxn ang="0">
                  <a:pos x="4" y="16"/>
                </a:cxn>
                <a:cxn ang="0">
                  <a:pos x="8" y="26"/>
                </a:cxn>
                <a:cxn ang="0">
                  <a:pos x="20" y="35"/>
                </a:cxn>
                <a:cxn ang="0">
                  <a:pos x="19" y="35"/>
                </a:cxn>
                <a:cxn ang="0">
                  <a:pos x="29" y="35"/>
                </a:cxn>
                <a:cxn ang="0">
                  <a:pos x="31" y="30"/>
                </a:cxn>
                <a:cxn ang="0">
                  <a:pos x="42" y="33"/>
                </a:cxn>
                <a:cxn ang="0">
                  <a:pos x="50" y="34"/>
                </a:cxn>
                <a:cxn ang="0">
                  <a:pos x="51" y="36"/>
                </a:cxn>
                <a:cxn ang="0">
                  <a:pos x="54" y="33"/>
                </a:cxn>
                <a:cxn ang="0">
                  <a:pos x="65" y="27"/>
                </a:cxn>
                <a:cxn ang="0">
                  <a:pos x="71" y="22"/>
                </a:cxn>
                <a:cxn ang="0">
                  <a:pos x="68" y="17"/>
                </a:cxn>
              </a:cxnLst>
              <a:rect l="0" t="0" r="r" b="b"/>
              <a:pathLst>
                <a:path w="71" h="36">
                  <a:moveTo>
                    <a:pt x="68" y="17"/>
                  </a:moveTo>
                  <a:cubicBezTo>
                    <a:pt x="66" y="15"/>
                    <a:pt x="61" y="16"/>
                    <a:pt x="60" y="15"/>
                  </a:cubicBezTo>
                  <a:cubicBezTo>
                    <a:pt x="60" y="13"/>
                    <a:pt x="59" y="11"/>
                    <a:pt x="57" y="11"/>
                  </a:cubicBezTo>
                  <a:cubicBezTo>
                    <a:pt x="55" y="11"/>
                    <a:pt x="52" y="9"/>
                    <a:pt x="51" y="12"/>
                  </a:cubicBezTo>
                  <a:cubicBezTo>
                    <a:pt x="50" y="14"/>
                    <a:pt x="45" y="11"/>
                    <a:pt x="45" y="9"/>
                  </a:cubicBezTo>
                  <a:cubicBezTo>
                    <a:pt x="45" y="7"/>
                    <a:pt x="43" y="6"/>
                    <a:pt x="37" y="4"/>
                  </a:cubicBezTo>
                  <a:cubicBezTo>
                    <a:pt x="35" y="3"/>
                    <a:pt x="33" y="2"/>
                    <a:pt x="31" y="0"/>
                  </a:cubicBezTo>
                  <a:cubicBezTo>
                    <a:pt x="31" y="1"/>
                    <a:pt x="31" y="1"/>
                    <a:pt x="30" y="1"/>
                  </a:cubicBezTo>
                  <a:cubicBezTo>
                    <a:pt x="29" y="3"/>
                    <a:pt x="26" y="0"/>
                    <a:pt x="24" y="2"/>
                  </a:cubicBezTo>
                  <a:cubicBezTo>
                    <a:pt x="23" y="3"/>
                    <a:pt x="18" y="3"/>
                    <a:pt x="15" y="6"/>
                  </a:cubicBezTo>
                  <a:cubicBezTo>
                    <a:pt x="12" y="8"/>
                    <a:pt x="7" y="10"/>
                    <a:pt x="3" y="10"/>
                  </a:cubicBezTo>
                  <a:cubicBezTo>
                    <a:pt x="0" y="11"/>
                    <a:pt x="3" y="14"/>
                    <a:pt x="4" y="16"/>
                  </a:cubicBezTo>
                  <a:cubicBezTo>
                    <a:pt x="5" y="19"/>
                    <a:pt x="5" y="24"/>
                    <a:pt x="8" y="26"/>
                  </a:cubicBezTo>
                  <a:cubicBezTo>
                    <a:pt x="10" y="28"/>
                    <a:pt x="19" y="33"/>
                    <a:pt x="20" y="35"/>
                  </a:cubicBezTo>
                  <a:cubicBezTo>
                    <a:pt x="20" y="35"/>
                    <a:pt x="20" y="35"/>
                    <a:pt x="19" y="35"/>
                  </a:cubicBezTo>
                  <a:cubicBezTo>
                    <a:pt x="23" y="36"/>
                    <a:pt x="28" y="36"/>
                    <a:pt x="29" y="35"/>
                  </a:cubicBezTo>
                  <a:cubicBezTo>
                    <a:pt x="30" y="33"/>
                    <a:pt x="31" y="30"/>
                    <a:pt x="31" y="30"/>
                  </a:cubicBezTo>
                  <a:cubicBezTo>
                    <a:pt x="31" y="30"/>
                    <a:pt x="39" y="30"/>
                    <a:pt x="42" y="33"/>
                  </a:cubicBezTo>
                  <a:cubicBezTo>
                    <a:pt x="45" y="36"/>
                    <a:pt x="50" y="34"/>
                    <a:pt x="50" y="34"/>
                  </a:cubicBezTo>
                  <a:cubicBezTo>
                    <a:pt x="50" y="34"/>
                    <a:pt x="50" y="35"/>
                    <a:pt x="51" y="36"/>
                  </a:cubicBezTo>
                  <a:cubicBezTo>
                    <a:pt x="52" y="34"/>
                    <a:pt x="53" y="33"/>
                    <a:pt x="54" y="33"/>
                  </a:cubicBezTo>
                  <a:cubicBezTo>
                    <a:pt x="57" y="32"/>
                    <a:pt x="62" y="32"/>
                    <a:pt x="65" y="27"/>
                  </a:cubicBezTo>
                  <a:cubicBezTo>
                    <a:pt x="66" y="25"/>
                    <a:pt x="69" y="23"/>
                    <a:pt x="71" y="22"/>
                  </a:cubicBezTo>
                  <a:cubicBezTo>
                    <a:pt x="70" y="20"/>
                    <a:pt x="69" y="17"/>
                    <a:pt x="68" y="1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735711" y="2769355"/>
              <a:ext cx="144046" cy="60651"/>
            </a:xfrm>
            <a:custGeom>
              <a:avLst/>
              <a:gdLst/>
              <a:ahLst/>
              <a:cxnLst>
                <a:cxn ang="0">
                  <a:pos x="47" y="3"/>
                </a:cxn>
                <a:cxn ang="0">
                  <a:pos x="38" y="3"/>
                </a:cxn>
                <a:cxn ang="0">
                  <a:pos x="29" y="1"/>
                </a:cxn>
                <a:cxn ang="0">
                  <a:pos x="22" y="2"/>
                </a:cxn>
                <a:cxn ang="0">
                  <a:pos x="20" y="1"/>
                </a:cxn>
                <a:cxn ang="0">
                  <a:pos x="14" y="6"/>
                </a:cxn>
                <a:cxn ang="0">
                  <a:pos x="3" y="12"/>
                </a:cxn>
                <a:cxn ang="0">
                  <a:pos x="0" y="15"/>
                </a:cxn>
                <a:cxn ang="0">
                  <a:pos x="5" y="24"/>
                </a:cxn>
                <a:cxn ang="0">
                  <a:pos x="20" y="24"/>
                </a:cxn>
                <a:cxn ang="0">
                  <a:pos x="32" y="20"/>
                </a:cxn>
                <a:cxn ang="0">
                  <a:pos x="43" y="14"/>
                </a:cxn>
                <a:cxn ang="0">
                  <a:pos x="53" y="17"/>
                </a:cxn>
                <a:cxn ang="0">
                  <a:pos x="60" y="20"/>
                </a:cxn>
                <a:cxn ang="0">
                  <a:pos x="58" y="16"/>
                </a:cxn>
                <a:cxn ang="0">
                  <a:pos x="63" y="8"/>
                </a:cxn>
                <a:cxn ang="0">
                  <a:pos x="63" y="7"/>
                </a:cxn>
                <a:cxn ang="0">
                  <a:pos x="56" y="6"/>
                </a:cxn>
                <a:cxn ang="0">
                  <a:pos x="47" y="3"/>
                </a:cxn>
              </a:cxnLst>
              <a:rect l="0" t="0" r="r" b="b"/>
              <a:pathLst>
                <a:path w="63" h="27">
                  <a:moveTo>
                    <a:pt x="47" y="3"/>
                  </a:moveTo>
                  <a:cubicBezTo>
                    <a:pt x="43" y="4"/>
                    <a:pt x="41" y="1"/>
                    <a:pt x="38" y="3"/>
                  </a:cubicBezTo>
                  <a:cubicBezTo>
                    <a:pt x="35" y="4"/>
                    <a:pt x="30" y="3"/>
                    <a:pt x="29" y="1"/>
                  </a:cubicBezTo>
                  <a:cubicBezTo>
                    <a:pt x="27" y="0"/>
                    <a:pt x="24" y="4"/>
                    <a:pt x="22" y="2"/>
                  </a:cubicBezTo>
                  <a:cubicBezTo>
                    <a:pt x="21" y="2"/>
                    <a:pt x="21" y="1"/>
                    <a:pt x="20" y="1"/>
                  </a:cubicBezTo>
                  <a:cubicBezTo>
                    <a:pt x="18" y="2"/>
                    <a:pt x="15" y="4"/>
                    <a:pt x="14" y="6"/>
                  </a:cubicBezTo>
                  <a:cubicBezTo>
                    <a:pt x="11" y="11"/>
                    <a:pt x="6" y="11"/>
                    <a:pt x="3" y="12"/>
                  </a:cubicBezTo>
                  <a:cubicBezTo>
                    <a:pt x="2" y="12"/>
                    <a:pt x="1" y="13"/>
                    <a:pt x="0" y="15"/>
                  </a:cubicBezTo>
                  <a:cubicBezTo>
                    <a:pt x="1" y="18"/>
                    <a:pt x="3" y="22"/>
                    <a:pt x="5" y="24"/>
                  </a:cubicBezTo>
                  <a:cubicBezTo>
                    <a:pt x="8" y="27"/>
                    <a:pt x="20" y="27"/>
                    <a:pt x="20" y="24"/>
                  </a:cubicBezTo>
                  <a:cubicBezTo>
                    <a:pt x="20" y="22"/>
                    <a:pt x="30" y="20"/>
                    <a:pt x="32" y="20"/>
                  </a:cubicBezTo>
                  <a:cubicBezTo>
                    <a:pt x="35" y="20"/>
                    <a:pt x="42" y="13"/>
                    <a:pt x="43" y="14"/>
                  </a:cubicBezTo>
                  <a:cubicBezTo>
                    <a:pt x="44" y="14"/>
                    <a:pt x="51" y="15"/>
                    <a:pt x="53" y="17"/>
                  </a:cubicBezTo>
                  <a:cubicBezTo>
                    <a:pt x="54" y="18"/>
                    <a:pt x="57" y="19"/>
                    <a:pt x="60" y="20"/>
                  </a:cubicBezTo>
                  <a:cubicBezTo>
                    <a:pt x="59" y="18"/>
                    <a:pt x="58" y="17"/>
                    <a:pt x="58" y="16"/>
                  </a:cubicBezTo>
                  <a:cubicBezTo>
                    <a:pt x="58" y="14"/>
                    <a:pt x="62" y="9"/>
                    <a:pt x="63" y="8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0" y="7"/>
                    <a:pt x="57" y="6"/>
                    <a:pt x="56" y="6"/>
                  </a:cubicBezTo>
                  <a:cubicBezTo>
                    <a:pt x="55" y="4"/>
                    <a:pt x="51" y="3"/>
                    <a:pt x="47" y="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7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053386" y="3010065"/>
              <a:ext cx="96663" cy="159209"/>
            </a:xfrm>
            <a:custGeom>
              <a:avLst/>
              <a:gdLst/>
              <a:ahLst/>
              <a:cxnLst>
                <a:cxn ang="0">
                  <a:pos x="30" y="57"/>
                </a:cxn>
                <a:cxn ang="0">
                  <a:pos x="28" y="52"/>
                </a:cxn>
                <a:cxn ang="0">
                  <a:pos x="31" y="45"/>
                </a:cxn>
                <a:cxn ang="0">
                  <a:pos x="27" y="39"/>
                </a:cxn>
                <a:cxn ang="0">
                  <a:pos x="30" y="35"/>
                </a:cxn>
                <a:cxn ang="0">
                  <a:pos x="32" y="27"/>
                </a:cxn>
                <a:cxn ang="0">
                  <a:pos x="31" y="17"/>
                </a:cxn>
                <a:cxn ang="0">
                  <a:pos x="39" y="10"/>
                </a:cxn>
                <a:cxn ang="0">
                  <a:pos x="36" y="6"/>
                </a:cxn>
                <a:cxn ang="0">
                  <a:pos x="29" y="4"/>
                </a:cxn>
                <a:cxn ang="0">
                  <a:pos x="25" y="4"/>
                </a:cxn>
                <a:cxn ang="0">
                  <a:pos x="18" y="3"/>
                </a:cxn>
                <a:cxn ang="0">
                  <a:pos x="14" y="2"/>
                </a:cxn>
                <a:cxn ang="0">
                  <a:pos x="11" y="4"/>
                </a:cxn>
                <a:cxn ang="0">
                  <a:pos x="11" y="11"/>
                </a:cxn>
                <a:cxn ang="0">
                  <a:pos x="4" y="38"/>
                </a:cxn>
                <a:cxn ang="0">
                  <a:pos x="8" y="48"/>
                </a:cxn>
                <a:cxn ang="0">
                  <a:pos x="10" y="67"/>
                </a:cxn>
                <a:cxn ang="0">
                  <a:pos x="18" y="70"/>
                </a:cxn>
                <a:cxn ang="0">
                  <a:pos x="27" y="68"/>
                </a:cxn>
                <a:cxn ang="0">
                  <a:pos x="26" y="64"/>
                </a:cxn>
                <a:cxn ang="0">
                  <a:pos x="30" y="57"/>
                </a:cxn>
              </a:cxnLst>
              <a:rect l="0" t="0" r="r" b="b"/>
              <a:pathLst>
                <a:path w="42" h="70">
                  <a:moveTo>
                    <a:pt x="30" y="57"/>
                  </a:moveTo>
                  <a:cubicBezTo>
                    <a:pt x="35" y="56"/>
                    <a:pt x="29" y="53"/>
                    <a:pt x="28" y="52"/>
                  </a:cubicBezTo>
                  <a:cubicBezTo>
                    <a:pt x="27" y="50"/>
                    <a:pt x="28" y="45"/>
                    <a:pt x="31" y="45"/>
                  </a:cubicBezTo>
                  <a:cubicBezTo>
                    <a:pt x="33" y="45"/>
                    <a:pt x="31" y="43"/>
                    <a:pt x="27" y="39"/>
                  </a:cubicBezTo>
                  <a:cubicBezTo>
                    <a:pt x="24" y="36"/>
                    <a:pt x="27" y="35"/>
                    <a:pt x="30" y="35"/>
                  </a:cubicBezTo>
                  <a:cubicBezTo>
                    <a:pt x="33" y="35"/>
                    <a:pt x="29" y="30"/>
                    <a:pt x="32" y="27"/>
                  </a:cubicBezTo>
                  <a:cubicBezTo>
                    <a:pt x="35" y="24"/>
                    <a:pt x="31" y="19"/>
                    <a:pt x="31" y="17"/>
                  </a:cubicBezTo>
                  <a:cubicBezTo>
                    <a:pt x="31" y="14"/>
                    <a:pt x="35" y="13"/>
                    <a:pt x="39" y="10"/>
                  </a:cubicBezTo>
                  <a:cubicBezTo>
                    <a:pt x="42" y="7"/>
                    <a:pt x="36" y="8"/>
                    <a:pt x="36" y="6"/>
                  </a:cubicBezTo>
                  <a:cubicBezTo>
                    <a:pt x="36" y="3"/>
                    <a:pt x="32" y="2"/>
                    <a:pt x="29" y="4"/>
                  </a:cubicBezTo>
                  <a:cubicBezTo>
                    <a:pt x="26" y="6"/>
                    <a:pt x="27" y="4"/>
                    <a:pt x="25" y="4"/>
                  </a:cubicBezTo>
                  <a:cubicBezTo>
                    <a:pt x="22" y="4"/>
                    <a:pt x="18" y="5"/>
                    <a:pt x="18" y="3"/>
                  </a:cubicBezTo>
                  <a:cubicBezTo>
                    <a:pt x="18" y="0"/>
                    <a:pt x="16" y="0"/>
                    <a:pt x="14" y="2"/>
                  </a:cubicBezTo>
                  <a:cubicBezTo>
                    <a:pt x="13" y="3"/>
                    <a:pt x="12" y="4"/>
                    <a:pt x="11" y="4"/>
                  </a:cubicBezTo>
                  <a:cubicBezTo>
                    <a:pt x="10" y="7"/>
                    <a:pt x="10" y="10"/>
                    <a:pt x="11" y="11"/>
                  </a:cubicBezTo>
                  <a:cubicBezTo>
                    <a:pt x="13" y="15"/>
                    <a:pt x="8" y="33"/>
                    <a:pt x="4" y="38"/>
                  </a:cubicBezTo>
                  <a:cubicBezTo>
                    <a:pt x="0" y="43"/>
                    <a:pt x="4" y="45"/>
                    <a:pt x="8" y="48"/>
                  </a:cubicBezTo>
                  <a:cubicBezTo>
                    <a:pt x="13" y="52"/>
                    <a:pt x="10" y="64"/>
                    <a:pt x="10" y="67"/>
                  </a:cubicBezTo>
                  <a:cubicBezTo>
                    <a:pt x="10" y="70"/>
                    <a:pt x="14" y="70"/>
                    <a:pt x="18" y="70"/>
                  </a:cubicBezTo>
                  <a:cubicBezTo>
                    <a:pt x="21" y="70"/>
                    <a:pt x="24" y="68"/>
                    <a:pt x="27" y="68"/>
                  </a:cubicBezTo>
                  <a:cubicBezTo>
                    <a:pt x="26" y="66"/>
                    <a:pt x="26" y="65"/>
                    <a:pt x="26" y="64"/>
                  </a:cubicBezTo>
                  <a:cubicBezTo>
                    <a:pt x="26" y="62"/>
                    <a:pt x="26" y="58"/>
                    <a:pt x="30" y="5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386967" y="2636681"/>
              <a:ext cx="106139" cy="90977"/>
            </a:xfrm>
            <a:custGeom>
              <a:avLst/>
              <a:gdLst/>
              <a:ahLst/>
              <a:cxnLst>
                <a:cxn ang="0">
                  <a:pos x="15" y="31"/>
                </a:cxn>
                <a:cxn ang="0">
                  <a:pos x="23" y="32"/>
                </a:cxn>
                <a:cxn ang="0">
                  <a:pos x="31" y="38"/>
                </a:cxn>
                <a:cxn ang="0">
                  <a:pos x="33" y="40"/>
                </a:cxn>
                <a:cxn ang="0">
                  <a:pos x="35" y="32"/>
                </a:cxn>
                <a:cxn ang="0">
                  <a:pos x="35" y="26"/>
                </a:cxn>
                <a:cxn ang="0">
                  <a:pos x="42" y="23"/>
                </a:cxn>
                <a:cxn ang="0">
                  <a:pos x="44" y="20"/>
                </a:cxn>
                <a:cxn ang="0">
                  <a:pos x="40" y="14"/>
                </a:cxn>
                <a:cxn ang="0">
                  <a:pos x="46" y="8"/>
                </a:cxn>
                <a:cxn ang="0">
                  <a:pos x="46" y="1"/>
                </a:cxn>
                <a:cxn ang="0">
                  <a:pos x="43" y="2"/>
                </a:cxn>
                <a:cxn ang="0">
                  <a:pos x="32" y="2"/>
                </a:cxn>
                <a:cxn ang="0">
                  <a:pos x="27" y="10"/>
                </a:cxn>
                <a:cxn ang="0">
                  <a:pos x="22" y="10"/>
                </a:cxn>
                <a:cxn ang="0">
                  <a:pos x="16" y="13"/>
                </a:cxn>
                <a:cxn ang="0">
                  <a:pos x="11" y="22"/>
                </a:cxn>
                <a:cxn ang="0">
                  <a:pos x="2" y="33"/>
                </a:cxn>
                <a:cxn ang="0">
                  <a:pos x="0" y="34"/>
                </a:cxn>
                <a:cxn ang="0">
                  <a:pos x="4" y="35"/>
                </a:cxn>
                <a:cxn ang="0">
                  <a:pos x="15" y="31"/>
                </a:cxn>
              </a:cxnLst>
              <a:rect l="0" t="0" r="r" b="b"/>
              <a:pathLst>
                <a:path w="47" h="40">
                  <a:moveTo>
                    <a:pt x="15" y="31"/>
                  </a:moveTo>
                  <a:cubicBezTo>
                    <a:pt x="17" y="29"/>
                    <a:pt x="21" y="30"/>
                    <a:pt x="23" y="32"/>
                  </a:cubicBezTo>
                  <a:cubicBezTo>
                    <a:pt x="25" y="34"/>
                    <a:pt x="28" y="35"/>
                    <a:pt x="31" y="38"/>
                  </a:cubicBezTo>
                  <a:cubicBezTo>
                    <a:pt x="32" y="39"/>
                    <a:pt x="33" y="40"/>
                    <a:pt x="33" y="40"/>
                  </a:cubicBezTo>
                  <a:cubicBezTo>
                    <a:pt x="34" y="38"/>
                    <a:pt x="34" y="34"/>
                    <a:pt x="35" y="32"/>
                  </a:cubicBezTo>
                  <a:cubicBezTo>
                    <a:pt x="36" y="29"/>
                    <a:pt x="34" y="26"/>
                    <a:pt x="35" y="26"/>
                  </a:cubicBezTo>
                  <a:cubicBezTo>
                    <a:pt x="37" y="26"/>
                    <a:pt x="42" y="26"/>
                    <a:pt x="42" y="23"/>
                  </a:cubicBezTo>
                  <a:cubicBezTo>
                    <a:pt x="42" y="20"/>
                    <a:pt x="43" y="21"/>
                    <a:pt x="44" y="20"/>
                  </a:cubicBezTo>
                  <a:cubicBezTo>
                    <a:pt x="45" y="18"/>
                    <a:pt x="41" y="15"/>
                    <a:pt x="40" y="14"/>
                  </a:cubicBezTo>
                  <a:cubicBezTo>
                    <a:pt x="40" y="13"/>
                    <a:pt x="43" y="12"/>
                    <a:pt x="46" y="8"/>
                  </a:cubicBezTo>
                  <a:cubicBezTo>
                    <a:pt x="47" y="7"/>
                    <a:pt x="47" y="4"/>
                    <a:pt x="46" y="1"/>
                  </a:cubicBezTo>
                  <a:cubicBezTo>
                    <a:pt x="45" y="2"/>
                    <a:pt x="44" y="3"/>
                    <a:pt x="43" y="2"/>
                  </a:cubicBezTo>
                  <a:cubicBezTo>
                    <a:pt x="40" y="0"/>
                    <a:pt x="37" y="1"/>
                    <a:pt x="32" y="2"/>
                  </a:cubicBezTo>
                  <a:cubicBezTo>
                    <a:pt x="27" y="3"/>
                    <a:pt x="25" y="8"/>
                    <a:pt x="27" y="10"/>
                  </a:cubicBezTo>
                  <a:cubicBezTo>
                    <a:pt x="29" y="12"/>
                    <a:pt x="22" y="13"/>
                    <a:pt x="22" y="10"/>
                  </a:cubicBezTo>
                  <a:cubicBezTo>
                    <a:pt x="21" y="8"/>
                    <a:pt x="16" y="9"/>
                    <a:pt x="16" y="13"/>
                  </a:cubicBezTo>
                  <a:cubicBezTo>
                    <a:pt x="17" y="16"/>
                    <a:pt x="11" y="18"/>
                    <a:pt x="11" y="22"/>
                  </a:cubicBezTo>
                  <a:cubicBezTo>
                    <a:pt x="12" y="26"/>
                    <a:pt x="6" y="30"/>
                    <a:pt x="2" y="33"/>
                  </a:cubicBezTo>
                  <a:cubicBezTo>
                    <a:pt x="2" y="33"/>
                    <a:pt x="1" y="33"/>
                    <a:pt x="0" y="34"/>
                  </a:cubicBezTo>
                  <a:cubicBezTo>
                    <a:pt x="2" y="34"/>
                    <a:pt x="4" y="35"/>
                    <a:pt x="4" y="35"/>
                  </a:cubicBezTo>
                  <a:cubicBezTo>
                    <a:pt x="8" y="35"/>
                    <a:pt x="13" y="33"/>
                    <a:pt x="15" y="3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455200" y="2752298"/>
              <a:ext cx="18953" cy="2274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9"/>
                </a:cxn>
                <a:cxn ang="0">
                  <a:pos x="8" y="10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8" h="10">
                  <a:moveTo>
                    <a:pt x="4" y="0"/>
                  </a:moveTo>
                  <a:cubicBezTo>
                    <a:pt x="2" y="1"/>
                    <a:pt x="0" y="4"/>
                    <a:pt x="0" y="9"/>
                  </a:cubicBezTo>
                  <a:cubicBezTo>
                    <a:pt x="2" y="9"/>
                    <a:pt x="5" y="10"/>
                    <a:pt x="8" y="10"/>
                  </a:cubicBezTo>
                  <a:cubicBezTo>
                    <a:pt x="7" y="4"/>
                    <a:pt x="5" y="2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369909" y="2703019"/>
              <a:ext cx="100454" cy="72023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5" y="14"/>
                </a:cxn>
                <a:cxn ang="0">
                  <a:pos x="11" y="17"/>
                </a:cxn>
                <a:cxn ang="0">
                  <a:pos x="18" y="21"/>
                </a:cxn>
                <a:cxn ang="0">
                  <a:pos x="21" y="25"/>
                </a:cxn>
                <a:cxn ang="0">
                  <a:pos x="26" y="23"/>
                </a:cxn>
                <a:cxn ang="0">
                  <a:pos x="30" y="28"/>
                </a:cxn>
                <a:cxn ang="0">
                  <a:pos x="35" y="32"/>
                </a:cxn>
                <a:cxn ang="0">
                  <a:pos x="37" y="31"/>
                </a:cxn>
                <a:cxn ang="0">
                  <a:pos x="41" y="22"/>
                </a:cxn>
                <a:cxn ang="0">
                  <a:pos x="43" y="19"/>
                </a:cxn>
                <a:cxn ang="0">
                  <a:pos x="40" y="12"/>
                </a:cxn>
                <a:cxn ang="0">
                  <a:pos x="40" y="11"/>
                </a:cxn>
                <a:cxn ang="0">
                  <a:pos x="38" y="9"/>
                </a:cxn>
                <a:cxn ang="0">
                  <a:pos x="30" y="3"/>
                </a:cxn>
                <a:cxn ang="0">
                  <a:pos x="22" y="2"/>
                </a:cxn>
                <a:cxn ang="0">
                  <a:pos x="11" y="6"/>
                </a:cxn>
                <a:cxn ang="0">
                  <a:pos x="7" y="5"/>
                </a:cxn>
                <a:cxn ang="0">
                  <a:pos x="0" y="8"/>
                </a:cxn>
                <a:cxn ang="0">
                  <a:pos x="1" y="9"/>
                </a:cxn>
              </a:cxnLst>
              <a:rect l="0" t="0" r="r" b="b"/>
              <a:pathLst>
                <a:path w="44" h="32">
                  <a:moveTo>
                    <a:pt x="1" y="9"/>
                  </a:moveTo>
                  <a:cubicBezTo>
                    <a:pt x="2" y="11"/>
                    <a:pt x="4" y="15"/>
                    <a:pt x="5" y="14"/>
                  </a:cubicBezTo>
                  <a:cubicBezTo>
                    <a:pt x="6" y="12"/>
                    <a:pt x="9" y="16"/>
                    <a:pt x="11" y="17"/>
                  </a:cubicBezTo>
                  <a:cubicBezTo>
                    <a:pt x="13" y="18"/>
                    <a:pt x="18" y="20"/>
                    <a:pt x="18" y="21"/>
                  </a:cubicBezTo>
                  <a:cubicBezTo>
                    <a:pt x="18" y="23"/>
                    <a:pt x="19" y="26"/>
                    <a:pt x="21" y="25"/>
                  </a:cubicBezTo>
                  <a:cubicBezTo>
                    <a:pt x="24" y="24"/>
                    <a:pt x="26" y="21"/>
                    <a:pt x="26" y="23"/>
                  </a:cubicBezTo>
                  <a:cubicBezTo>
                    <a:pt x="26" y="25"/>
                    <a:pt x="27" y="28"/>
                    <a:pt x="30" y="28"/>
                  </a:cubicBezTo>
                  <a:cubicBezTo>
                    <a:pt x="32" y="27"/>
                    <a:pt x="33" y="32"/>
                    <a:pt x="35" y="32"/>
                  </a:cubicBezTo>
                  <a:cubicBezTo>
                    <a:pt x="36" y="31"/>
                    <a:pt x="36" y="31"/>
                    <a:pt x="37" y="31"/>
                  </a:cubicBezTo>
                  <a:cubicBezTo>
                    <a:pt x="37" y="26"/>
                    <a:pt x="39" y="23"/>
                    <a:pt x="41" y="22"/>
                  </a:cubicBezTo>
                  <a:cubicBezTo>
                    <a:pt x="42" y="21"/>
                    <a:pt x="43" y="20"/>
                    <a:pt x="43" y="19"/>
                  </a:cubicBezTo>
                  <a:cubicBezTo>
                    <a:pt x="44" y="17"/>
                    <a:pt x="40" y="14"/>
                    <a:pt x="40" y="12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39" y="10"/>
                    <a:pt x="38" y="9"/>
                  </a:cubicBezTo>
                  <a:cubicBezTo>
                    <a:pt x="35" y="6"/>
                    <a:pt x="32" y="5"/>
                    <a:pt x="30" y="3"/>
                  </a:cubicBezTo>
                  <a:cubicBezTo>
                    <a:pt x="28" y="1"/>
                    <a:pt x="24" y="0"/>
                    <a:pt x="22" y="2"/>
                  </a:cubicBezTo>
                  <a:cubicBezTo>
                    <a:pt x="20" y="4"/>
                    <a:pt x="15" y="6"/>
                    <a:pt x="11" y="6"/>
                  </a:cubicBezTo>
                  <a:cubicBezTo>
                    <a:pt x="11" y="6"/>
                    <a:pt x="9" y="5"/>
                    <a:pt x="7" y="5"/>
                  </a:cubicBezTo>
                  <a:cubicBezTo>
                    <a:pt x="5" y="6"/>
                    <a:pt x="2" y="7"/>
                    <a:pt x="0" y="8"/>
                  </a:cubicBezTo>
                  <a:cubicBezTo>
                    <a:pt x="0" y="8"/>
                    <a:pt x="1" y="8"/>
                    <a:pt x="1" y="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24792" y="2809158"/>
              <a:ext cx="233128" cy="153524"/>
            </a:xfrm>
            <a:custGeom>
              <a:avLst/>
              <a:gdLst/>
              <a:ahLst/>
              <a:cxnLst>
                <a:cxn ang="0">
                  <a:pos x="91" y="45"/>
                </a:cxn>
                <a:cxn ang="0">
                  <a:pos x="87" y="42"/>
                </a:cxn>
                <a:cxn ang="0">
                  <a:pos x="87" y="41"/>
                </a:cxn>
                <a:cxn ang="0">
                  <a:pos x="85" y="29"/>
                </a:cxn>
                <a:cxn ang="0">
                  <a:pos x="78" y="13"/>
                </a:cxn>
                <a:cxn ang="0">
                  <a:pos x="70" y="0"/>
                </a:cxn>
                <a:cxn ang="0">
                  <a:pos x="65" y="3"/>
                </a:cxn>
                <a:cxn ang="0">
                  <a:pos x="59" y="6"/>
                </a:cxn>
                <a:cxn ang="0">
                  <a:pos x="53" y="7"/>
                </a:cxn>
                <a:cxn ang="0">
                  <a:pos x="48" y="8"/>
                </a:cxn>
                <a:cxn ang="0">
                  <a:pos x="41" y="6"/>
                </a:cxn>
                <a:cxn ang="0">
                  <a:pos x="30" y="4"/>
                </a:cxn>
                <a:cxn ang="0">
                  <a:pos x="26" y="5"/>
                </a:cxn>
                <a:cxn ang="0">
                  <a:pos x="25" y="7"/>
                </a:cxn>
                <a:cxn ang="0">
                  <a:pos x="17" y="12"/>
                </a:cxn>
                <a:cxn ang="0">
                  <a:pos x="7" y="29"/>
                </a:cxn>
                <a:cxn ang="0">
                  <a:pos x="0" y="34"/>
                </a:cxn>
                <a:cxn ang="0">
                  <a:pos x="4" y="41"/>
                </a:cxn>
                <a:cxn ang="0">
                  <a:pos x="8" y="45"/>
                </a:cxn>
                <a:cxn ang="0">
                  <a:pos x="9" y="52"/>
                </a:cxn>
                <a:cxn ang="0">
                  <a:pos x="22" y="55"/>
                </a:cxn>
                <a:cxn ang="0">
                  <a:pos x="22" y="60"/>
                </a:cxn>
                <a:cxn ang="0">
                  <a:pos x="29" y="65"/>
                </a:cxn>
                <a:cxn ang="0">
                  <a:pos x="41" y="66"/>
                </a:cxn>
                <a:cxn ang="0">
                  <a:pos x="53" y="66"/>
                </a:cxn>
                <a:cxn ang="0">
                  <a:pos x="61" y="63"/>
                </a:cxn>
                <a:cxn ang="0">
                  <a:pos x="74" y="61"/>
                </a:cxn>
                <a:cxn ang="0">
                  <a:pos x="83" y="63"/>
                </a:cxn>
                <a:cxn ang="0">
                  <a:pos x="90" y="66"/>
                </a:cxn>
                <a:cxn ang="0">
                  <a:pos x="90" y="61"/>
                </a:cxn>
                <a:cxn ang="0">
                  <a:pos x="96" y="51"/>
                </a:cxn>
                <a:cxn ang="0">
                  <a:pos x="101" y="45"/>
                </a:cxn>
                <a:cxn ang="0">
                  <a:pos x="101" y="45"/>
                </a:cxn>
                <a:cxn ang="0">
                  <a:pos x="97" y="42"/>
                </a:cxn>
                <a:cxn ang="0">
                  <a:pos x="91" y="45"/>
                </a:cxn>
              </a:cxnLst>
              <a:rect l="0" t="0" r="r" b="b"/>
              <a:pathLst>
                <a:path w="102" h="67">
                  <a:moveTo>
                    <a:pt x="91" y="45"/>
                  </a:moveTo>
                  <a:cubicBezTo>
                    <a:pt x="89" y="44"/>
                    <a:pt x="86" y="43"/>
                    <a:pt x="87" y="42"/>
                  </a:cubicBezTo>
                  <a:cubicBezTo>
                    <a:pt x="87" y="42"/>
                    <a:pt x="87" y="42"/>
                    <a:pt x="87" y="41"/>
                  </a:cubicBezTo>
                  <a:cubicBezTo>
                    <a:pt x="84" y="39"/>
                    <a:pt x="83" y="31"/>
                    <a:pt x="85" y="29"/>
                  </a:cubicBezTo>
                  <a:cubicBezTo>
                    <a:pt x="88" y="26"/>
                    <a:pt x="81" y="17"/>
                    <a:pt x="78" y="13"/>
                  </a:cubicBezTo>
                  <a:cubicBezTo>
                    <a:pt x="76" y="11"/>
                    <a:pt x="73" y="6"/>
                    <a:pt x="70" y="0"/>
                  </a:cubicBezTo>
                  <a:cubicBezTo>
                    <a:pt x="68" y="1"/>
                    <a:pt x="65" y="2"/>
                    <a:pt x="65" y="3"/>
                  </a:cubicBezTo>
                  <a:cubicBezTo>
                    <a:pt x="64" y="5"/>
                    <a:pt x="61" y="6"/>
                    <a:pt x="59" y="6"/>
                  </a:cubicBezTo>
                  <a:cubicBezTo>
                    <a:pt x="57" y="6"/>
                    <a:pt x="55" y="5"/>
                    <a:pt x="53" y="7"/>
                  </a:cubicBezTo>
                  <a:cubicBezTo>
                    <a:pt x="51" y="9"/>
                    <a:pt x="49" y="9"/>
                    <a:pt x="48" y="8"/>
                  </a:cubicBezTo>
                  <a:cubicBezTo>
                    <a:pt x="47" y="7"/>
                    <a:pt x="44" y="6"/>
                    <a:pt x="41" y="6"/>
                  </a:cubicBezTo>
                  <a:cubicBezTo>
                    <a:pt x="39" y="6"/>
                    <a:pt x="32" y="4"/>
                    <a:pt x="30" y="4"/>
                  </a:cubicBezTo>
                  <a:cubicBezTo>
                    <a:pt x="29" y="4"/>
                    <a:pt x="27" y="4"/>
                    <a:pt x="26" y="5"/>
                  </a:cubicBezTo>
                  <a:cubicBezTo>
                    <a:pt x="26" y="5"/>
                    <a:pt x="26" y="6"/>
                    <a:pt x="25" y="7"/>
                  </a:cubicBezTo>
                  <a:cubicBezTo>
                    <a:pt x="23" y="9"/>
                    <a:pt x="19" y="11"/>
                    <a:pt x="17" y="12"/>
                  </a:cubicBezTo>
                  <a:cubicBezTo>
                    <a:pt x="16" y="13"/>
                    <a:pt x="10" y="25"/>
                    <a:pt x="7" y="29"/>
                  </a:cubicBezTo>
                  <a:cubicBezTo>
                    <a:pt x="3" y="32"/>
                    <a:pt x="0" y="33"/>
                    <a:pt x="0" y="34"/>
                  </a:cubicBezTo>
                  <a:cubicBezTo>
                    <a:pt x="0" y="35"/>
                    <a:pt x="4" y="39"/>
                    <a:pt x="4" y="41"/>
                  </a:cubicBezTo>
                  <a:cubicBezTo>
                    <a:pt x="4" y="43"/>
                    <a:pt x="5" y="45"/>
                    <a:pt x="8" y="45"/>
                  </a:cubicBezTo>
                  <a:cubicBezTo>
                    <a:pt x="10" y="45"/>
                    <a:pt x="7" y="51"/>
                    <a:pt x="9" y="52"/>
                  </a:cubicBezTo>
                  <a:cubicBezTo>
                    <a:pt x="11" y="52"/>
                    <a:pt x="22" y="53"/>
                    <a:pt x="22" y="55"/>
                  </a:cubicBezTo>
                  <a:cubicBezTo>
                    <a:pt x="22" y="57"/>
                    <a:pt x="23" y="59"/>
                    <a:pt x="22" y="60"/>
                  </a:cubicBezTo>
                  <a:cubicBezTo>
                    <a:pt x="25" y="61"/>
                    <a:pt x="28" y="65"/>
                    <a:pt x="29" y="65"/>
                  </a:cubicBezTo>
                  <a:cubicBezTo>
                    <a:pt x="30" y="64"/>
                    <a:pt x="39" y="66"/>
                    <a:pt x="41" y="66"/>
                  </a:cubicBezTo>
                  <a:cubicBezTo>
                    <a:pt x="42" y="66"/>
                    <a:pt x="50" y="66"/>
                    <a:pt x="53" y="66"/>
                  </a:cubicBezTo>
                  <a:cubicBezTo>
                    <a:pt x="55" y="67"/>
                    <a:pt x="58" y="65"/>
                    <a:pt x="61" y="63"/>
                  </a:cubicBezTo>
                  <a:cubicBezTo>
                    <a:pt x="63" y="61"/>
                    <a:pt x="71" y="60"/>
                    <a:pt x="74" y="61"/>
                  </a:cubicBezTo>
                  <a:cubicBezTo>
                    <a:pt x="77" y="61"/>
                    <a:pt x="82" y="62"/>
                    <a:pt x="83" y="63"/>
                  </a:cubicBezTo>
                  <a:cubicBezTo>
                    <a:pt x="84" y="64"/>
                    <a:pt x="87" y="65"/>
                    <a:pt x="90" y="66"/>
                  </a:cubicBezTo>
                  <a:cubicBezTo>
                    <a:pt x="90" y="65"/>
                    <a:pt x="90" y="63"/>
                    <a:pt x="90" y="61"/>
                  </a:cubicBezTo>
                  <a:cubicBezTo>
                    <a:pt x="90" y="57"/>
                    <a:pt x="92" y="52"/>
                    <a:pt x="96" y="51"/>
                  </a:cubicBezTo>
                  <a:cubicBezTo>
                    <a:pt x="99" y="51"/>
                    <a:pt x="102" y="51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0" y="43"/>
                    <a:pt x="98" y="42"/>
                    <a:pt x="97" y="42"/>
                  </a:cubicBezTo>
                  <a:cubicBezTo>
                    <a:pt x="96" y="42"/>
                    <a:pt x="92" y="45"/>
                    <a:pt x="91" y="4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984001" y="2805368"/>
              <a:ext cx="79605" cy="98558"/>
            </a:xfrm>
            <a:custGeom>
              <a:avLst/>
              <a:gdLst/>
              <a:ahLst/>
              <a:cxnLst>
                <a:cxn ang="0">
                  <a:pos x="26" y="11"/>
                </a:cxn>
                <a:cxn ang="0">
                  <a:pos x="18" y="5"/>
                </a:cxn>
                <a:cxn ang="0">
                  <a:pos x="9" y="0"/>
                </a:cxn>
                <a:cxn ang="0">
                  <a:pos x="0" y="2"/>
                </a:cxn>
                <a:cxn ang="0">
                  <a:pos x="8" y="15"/>
                </a:cxn>
                <a:cxn ang="0">
                  <a:pos x="15" y="31"/>
                </a:cxn>
                <a:cxn ang="0">
                  <a:pos x="17" y="43"/>
                </a:cxn>
                <a:cxn ang="0">
                  <a:pos x="23" y="34"/>
                </a:cxn>
                <a:cxn ang="0">
                  <a:pos x="28" y="29"/>
                </a:cxn>
                <a:cxn ang="0">
                  <a:pos x="35" y="30"/>
                </a:cxn>
                <a:cxn ang="0">
                  <a:pos x="33" y="23"/>
                </a:cxn>
                <a:cxn ang="0">
                  <a:pos x="26" y="11"/>
                </a:cxn>
              </a:cxnLst>
              <a:rect l="0" t="0" r="r" b="b"/>
              <a:pathLst>
                <a:path w="35" h="43">
                  <a:moveTo>
                    <a:pt x="26" y="11"/>
                  </a:moveTo>
                  <a:cubicBezTo>
                    <a:pt x="24" y="7"/>
                    <a:pt x="20" y="5"/>
                    <a:pt x="18" y="5"/>
                  </a:cubicBezTo>
                  <a:cubicBezTo>
                    <a:pt x="15" y="5"/>
                    <a:pt x="11" y="0"/>
                    <a:pt x="9" y="0"/>
                  </a:cubicBezTo>
                  <a:cubicBezTo>
                    <a:pt x="7" y="0"/>
                    <a:pt x="4" y="1"/>
                    <a:pt x="0" y="2"/>
                  </a:cubicBezTo>
                  <a:cubicBezTo>
                    <a:pt x="3" y="8"/>
                    <a:pt x="6" y="13"/>
                    <a:pt x="8" y="15"/>
                  </a:cubicBezTo>
                  <a:cubicBezTo>
                    <a:pt x="11" y="19"/>
                    <a:pt x="18" y="28"/>
                    <a:pt x="15" y="31"/>
                  </a:cubicBezTo>
                  <a:cubicBezTo>
                    <a:pt x="13" y="33"/>
                    <a:pt x="14" y="41"/>
                    <a:pt x="17" y="43"/>
                  </a:cubicBezTo>
                  <a:cubicBezTo>
                    <a:pt x="18" y="42"/>
                    <a:pt x="23" y="35"/>
                    <a:pt x="23" y="34"/>
                  </a:cubicBezTo>
                  <a:cubicBezTo>
                    <a:pt x="23" y="32"/>
                    <a:pt x="24" y="28"/>
                    <a:pt x="28" y="29"/>
                  </a:cubicBezTo>
                  <a:cubicBezTo>
                    <a:pt x="32" y="30"/>
                    <a:pt x="35" y="31"/>
                    <a:pt x="35" y="30"/>
                  </a:cubicBezTo>
                  <a:cubicBezTo>
                    <a:pt x="35" y="29"/>
                    <a:pt x="34" y="24"/>
                    <a:pt x="33" y="23"/>
                  </a:cubicBezTo>
                  <a:cubicBezTo>
                    <a:pt x="31" y="21"/>
                    <a:pt x="27" y="16"/>
                    <a:pt x="26" y="1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68385" y="2945623"/>
              <a:ext cx="161105" cy="89082"/>
            </a:xfrm>
            <a:custGeom>
              <a:avLst/>
              <a:gdLst/>
              <a:ahLst/>
              <a:cxnLst>
                <a:cxn ang="0">
                  <a:pos x="55" y="1"/>
                </a:cxn>
                <a:cxn ang="0">
                  <a:pos x="42" y="3"/>
                </a:cxn>
                <a:cxn ang="0">
                  <a:pos x="34" y="6"/>
                </a:cxn>
                <a:cxn ang="0">
                  <a:pos x="22" y="6"/>
                </a:cxn>
                <a:cxn ang="0">
                  <a:pos x="10" y="5"/>
                </a:cxn>
                <a:cxn ang="0">
                  <a:pos x="3" y="0"/>
                </a:cxn>
                <a:cxn ang="0">
                  <a:pos x="2" y="1"/>
                </a:cxn>
                <a:cxn ang="0">
                  <a:pos x="2" y="9"/>
                </a:cxn>
                <a:cxn ang="0">
                  <a:pos x="6" y="16"/>
                </a:cxn>
                <a:cxn ang="0">
                  <a:pos x="2" y="21"/>
                </a:cxn>
                <a:cxn ang="0">
                  <a:pos x="2" y="26"/>
                </a:cxn>
                <a:cxn ang="0">
                  <a:pos x="8" y="34"/>
                </a:cxn>
                <a:cxn ang="0">
                  <a:pos x="11" y="37"/>
                </a:cxn>
                <a:cxn ang="0">
                  <a:pos x="26" y="37"/>
                </a:cxn>
                <a:cxn ang="0">
                  <a:pos x="38" y="39"/>
                </a:cxn>
                <a:cxn ang="0">
                  <a:pos x="42" y="36"/>
                </a:cxn>
                <a:cxn ang="0">
                  <a:pos x="47" y="34"/>
                </a:cxn>
                <a:cxn ang="0">
                  <a:pos x="47" y="31"/>
                </a:cxn>
                <a:cxn ang="0">
                  <a:pos x="59" y="31"/>
                </a:cxn>
                <a:cxn ang="0">
                  <a:pos x="63" y="30"/>
                </a:cxn>
                <a:cxn ang="0">
                  <a:pos x="62" y="27"/>
                </a:cxn>
                <a:cxn ang="0">
                  <a:pos x="60" y="19"/>
                </a:cxn>
                <a:cxn ang="0">
                  <a:pos x="69" y="9"/>
                </a:cxn>
                <a:cxn ang="0">
                  <a:pos x="71" y="6"/>
                </a:cxn>
                <a:cxn ang="0">
                  <a:pos x="64" y="3"/>
                </a:cxn>
                <a:cxn ang="0">
                  <a:pos x="55" y="1"/>
                </a:cxn>
              </a:cxnLst>
              <a:rect l="0" t="0" r="r" b="b"/>
              <a:pathLst>
                <a:path w="71" h="39">
                  <a:moveTo>
                    <a:pt x="55" y="1"/>
                  </a:moveTo>
                  <a:cubicBezTo>
                    <a:pt x="52" y="0"/>
                    <a:pt x="44" y="1"/>
                    <a:pt x="42" y="3"/>
                  </a:cubicBezTo>
                  <a:cubicBezTo>
                    <a:pt x="39" y="5"/>
                    <a:pt x="36" y="7"/>
                    <a:pt x="34" y="6"/>
                  </a:cubicBezTo>
                  <a:cubicBezTo>
                    <a:pt x="31" y="6"/>
                    <a:pt x="23" y="6"/>
                    <a:pt x="22" y="6"/>
                  </a:cubicBezTo>
                  <a:cubicBezTo>
                    <a:pt x="20" y="6"/>
                    <a:pt x="11" y="4"/>
                    <a:pt x="10" y="5"/>
                  </a:cubicBezTo>
                  <a:cubicBezTo>
                    <a:pt x="9" y="5"/>
                    <a:pt x="6" y="1"/>
                    <a:pt x="3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0" y="3"/>
                    <a:pt x="0" y="7"/>
                    <a:pt x="2" y="9"/>
                  </a:cubicBezTo>
                  <a:cubicBezTo>
                    <a:pt x="5" y="11"/>
                    <a:pt x="8" y="16"/>
                    <a:pt x="6" y="16"/>
                  </a:cubicBezTo>
                  <a:cubicBezTo>
                    <a:pt x="4" y="16"/>
                    <a:pt x="2" y="19"/>
                    <a:pt x="2" y="21"/>
                  </a:cubicBezTo>
                  <a:cubicBezTo>
                    <a:pt x="2" y="22"/>
                    <a:pt x="1" y="26"/>
                    <a:pt x="2" y="26"/>
                  </a:cubicBezTo>
                  <a:cubicBezTo>
                    <a:pt x="3" y="27"/>
                    <a:pt x="8" y="32"/>
                    <a:pt x="8" y="34"/>
                  </a:cubicBezTo>
                  <a:cubicBezTo>
                    <a:pt x="9" y="35"/>
                    <a:pt x="11" y="36"/>
                    <a:pt x="11" y="37"/>
                  </a:cubicBezTo>
                  <a:cubicBezTo>
                    <a:pt x="15" y="36"/>
                    <a:pt x="24" y="36"/>
                    <a:pt x="26" y="37"/>
                  </a:cubicBezTo>
                  <a:cubicBezTo>
                    <a:pt x="28" y="38"/>
                    <a:pt x="38" y="39"/>
                    <a:pt x="38" y="39"/>
                  </a:cubicBezTo>
                  <a:cubicBezTo>
                    <a:pt x="40" y="39"/>
                    <a:pt x="43" y="38"/>
                    <a:pt x="42" y="36"/>
                  </a:cubicBezTo>
                  <a:cubicBezTo>
                    <a:pt x="41" y="35"/>
                    <a:pt x="45" y="34"/>
                    <a:pt x="47" y="34"/>
                  </a:cubicBezTo>
                  <a:cubicBezTo>
                    <a:pt x="47" y="32"/>
                    <a:pt x="47" y="31"/>
                    <a:pt x="47" y="31"/>
                  </a:cubicBezTo>
                  <a:cubicBezTo>
                    <a:pt x="49" y="30"/>
                    <a:pt x="56" y="29"/>
                    <a:pt x="59" y="31"/>
                  </a:cubicBezTo>
                  <a:cubicBezTo>
                    <a:pt x="60" y="31"/>
                    <a:pt x="62" y="31"/>
                    <a:pt x="63" y="30"/>
                  </a:cubicBezTo>
                  <a:cubicBezTo>
                    <a:pt x="63" y="28"/>
                    <a:pt x="63" y="27"/>
                    <a:pt x="62" y="27"/>
                  </a:cubicBezTo>
                  <a:cubicBezTo>
                    <a:pt x="60" y="27"/>
                    <a:pt x="57" y="19"/>
                    <a:pt x="60" y="19"/>
                  </a:cubicBezTo>
                  <a:cubicBezTo>
                    <a:pt x="62" y="18"/>
                    <a:pt x="65" y="10"/>
                    <a:pt x="69" y="9"/>
                  </a:cubicBezTo>
                  <a:cubicBezTo>
                    <a:pt x="70" y="8"/>
                    <a:pt x="71" y="8"/>
                    <a:pt x="71" y="6"/>
                  </a:cubicBezTo>
                  <a:cubicBezTo>
                    <a:pt x="68" y="5"/>
                    <a:pt x="65" y="4"/>
                    <a:pt x="64" y="3"/>
                  </a:cubicBezTo>
                  <a:cubicBezTo>
                    <a:pt x="63" y="2"/>
                    <a:pt x="58" y="1"/>
                    <a:pt x="55" y="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22897" y="3000588"/>
              <a:ext cx="70128" cy="51175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7" y="22"/>
                </a:cxn>
                <a:cxn ang="0">
                  <a:pos x="8" y="22"/>
                </a:cxn>
                <a:cxn ang="0">
                  <a:pos x="8" y="22"/>
                </a:cxn>
                <a:cxn ang="0">
                  <a:pos x="8" y="22"/>
                </a:cxn>
                <a:cxn ang="0">
                  <a:pos x="8" y="22"/>
                </a:cxn>
                <a:cxn ang="0">
                  <a:pos x="12" y="22"/>
                </a:cxn>
                <a:cxn ang="0">
                  <a:pos x="12" y="22"/>
                </a:cxn>
                <a:cxn ang="0">
                  <a:pos x="13" y="21"/>
                </a:cxn>
                <a:cxn ang="0">
                  <a:pos x="13" y="21"/>
                </a:cxn>
                <a:cxn ang="0">
                  <a:pos x="15" y="21"/>
                </a:cxn>
                <a:cxn ang="0">
                  <a:pos x="20" y="18"/>
                </a:cxn>
                <a:cxn ang="0">
                  <a:pos x="30" y="13"/>
                </a:cxn>
                <a:cxn ang="0">
                  <a:pos x="31" y="13"/>
                </a:cxn>
                <a:cxn ang="0">
                  <a:pos x="28" y="10"/>
                </a:cxn>
                <a:cxn ang="0">
                  <a:pos x="22" y="2"/>
                </a:cxn>
                <a:cxn ang="0">
                  <a:pos x="22" y="1"/>
                </a:cxn>
                <a:cxn ang="0">
                  <a:pos x="22" y="1"/>
                </a:cxn>
                <a:cxn ang="0">
                  <a:pos x="22" y="0"/>
                </a:cxn>
                <a:cxn ang="0">
                  <a:pos x="2" y="4"/>
                </a:cxn>
                <a:cxn ang="0">
                  <a:pos x="2" y="3"/>
                </a:cxn>
                <a:cxn ang="0">
                  <a:pos x="1" y="15"/>
                </a:cxn>
                <a:cxn ang="0">
                  <a:pos x="7" y="22"/>
                </a:cxn>
              </a:cxnLst>
              <a:rect l="0" t="0" r="r" b="b"/>
              <a:pathLst>
                <a:path w="31" h="22">
                  <a:moveTo>
                    <a:pt x="7" y="22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2"/>
                    <a:pt x="11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2"/>
                    <a:pt x="13" y="22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1"/>
                    <a:pt x="14" y="21"/>
                    <a:pt x="15" y="21"/>
                  </a:cubicBezTo>
                  <a:cubicBezTo>
                    <a:pt x="18" y="21"/>
                    <a:pt x="18" y="17"/>
                    <a:pt x="20" y="18"/>
                  </a:cubicBezTo>
                  <a:cubicBezTo>
                    <a:pt x="21" y="19"/>
                    <a:pt x="29" y="15"/>
                    <a:pt x="30" y="13"/>
                  </a:cubicBezTo>
                  <a:cubicBezTo>
                    <a:pt x="30" y="13"/>
                    <a:pt x="31" y="13"/>
                    <a:pt x="31" y="13"/>
                  </a:cubicBezTo>
                  <a:cubicBezTo>
                    <a:pt x="31" y="12"/>
                    <a:pt x="29" y="11"/>
                    <a:pt x="28" y="10"/>
                  </a:cubicBezTo>
                  <a:cubicBezTo>
                    <a:pt x="28" y="8"/>
                    <a:pt x="23" y="3"/>
                    <a:pt x="22" y="2"/>
                  </a:cubicBezTo>
                  <a:cubicBezTo>
                    <a:pt x="22" y="2"/>
                    <a:pt x="22" y="2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0"/>
                  </a:cubicBezTo>
                  <a:cubicBezTo>
                    <a:pt x="14" y="1"/>
                    <a:pt x="2" y="4"/>
                    <a:pt x="2" y="4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1" y="7"/>
                    <a:pt x="0" y="12"/>
                    <a:pt x="1" y="15"/>
                  </a:cubicBezTo>
                  <a:cubicBezTo>
                    <a:pt x="1" y="18"/>
                    <a:pt x="4" y="19"/>
                    <a:pt x="7" y="2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68385" y="2672693"/>
              <a:ext cx="458674" cy="267244"/>
            </a:xfrm>
            <a:custGeom>
              <a:avLst/>
              <a:gdLst/>
              <a:ahLst/>
              <a:cxnLst>
                <a:cxn ang="0">
                  <a:pos x="187" y="67"/>
                </a:cxn>
                <a:cxn ang="0">
                  <a:pos x="199" y="60"/>
                </a:cxn>
                <a:cxn ang="0">
                  <a:pos x="200" y="53"/>
                </a:cxn>
                <a:cxn ang="0">
                  <a:pos x="201" y="45"/>
                </a:cxn>
                <a:cxn ang="0">
                  <a:pos x="185" y="39"/>
                </a:cxn>
                <a:cxn ang="0">
                  <a:pos x="170" y="31"/>
                </a:cxn>
                <a:cxn ang="0">
                  <a:pos x="158" y="32"/>
                </a:cxn>
                <a:cxn ang="0">
                  <a:pos x="149" y="28"/>
                </a:cxn>
                <a:cxn ang="0">
                  <a:pos x="135" y="17"/>
                </a:cxn>
                <a:cxn ang="0">
                  <a:pos x="131" y="2"/>
                </a:cxn>
                <a:cxn ang="0">
                  <a:pos x="115" y="1"/>
                </a:cxn>
                <a:cxn ang="0">
                  <a:pos x="106" y="3"/>
                </a:cxn>
                <a:cxn ang="0">
                  <a:pos x="92" y="12"/>
                </a:cxn>
                <a:cxn ang="0">
                  <a:pos x="80" y="15"/>
                </a:cxn>
                <a:cxn ang="0">
                  <a:pos x="65" y="12"/>
                </a:cxn>
                <a:cxn ang="0">
                  <a:pos x="47" y="9"/>
                </a:cxn>
                <a:cxn ang="0">
                  <a:pos x="21" y="11"/>
                </a:cxn>
                <a:cxn ang="0">
                  <a:pos x="16" y="16"/>
                </a:cxn>
                <a:cxn ang="0">
                  <a:pos x="15" y="31"/>
                </a:cxn>
                <a:cxn ang="0">
                  <a:pos x="5" y="50"/>
                </a:cxn>
                <a:cxn ang="0">
                  <a:pos x="5" y="63"/>
                </a:cxn>
                <a:cxn ang="0">
                  <a:pos x="11" y="64"/>
                </a:cxn>
                <a:cxn ang="0">
                  <a:pos x="29" y="68"/>
                </a:cxn>
                <a:cxn ang="0">
                  <a:pos x="40" y="66"/>
                </a:cxn>
                <a:cxn ang="0">
                  <a:pos x="60" y="58"/>
                </a:cxn>
                <a:cxn ang="0">
                  <a:pos x="77" y="69"/>
                </a:cxn>
                <a:cxn ang="0">
                  <a:pos x="86" y="88"/>
                </a:cxn>
                <a:cxn ang="0">
                  <a:pos x="74" y="92"/>
                </a:cxn>
                <a:cxn ang="0">
                  <a:pos x="72" y="105"/>
                </a:cxn>
                <a:cxn ang="0">
                  <a:pos x="82" y="105"/>
                </a:cxn>
                <a:cxn ang="0">
                  <a:pos x="97" y="85"/>
                </a:cxn>
                <a:cxn ang="0">
                  <a:pos x="111" y="90"/>
                </a:cxn>
                <a:cxn ang="0">
                  <a:pos x="114" y="101"/>
                </a:cxn>
                <a:cxn ang="0">
                  <a:pos x="126" y="115"/>
                </a:cxn>
                <a:cxn ang="0">
                  <a:pos x="146" y="108"/>
                </a:cxn>
                <a:cxn ang="0">
                  <a:pos x="150" y="103"/>
                </a:cxn>
                <a:cxn ang="0">
                  <a:pos x="155" y="85"/>
                </a:cxn>
                <a:cxn ang="0">
                  <a:pos x="178" y="78"/>
                </a:cxn>
              </a:cxnLst>
              <a:rect l="0" t="0" r="r" b="b"/>
              <a:pathLst>
                <a:path w="201" h="117">
                  <a:moveTo>
                    <a:pt x="179" y="73"/>
                  </a:moveTo>
                  <a:cubicBezTo>
                    <a:pt x="180" y="73"/>
                    <a:pt x="186" y="67"/>
                    <a:pt x="187" y="67"/>
                  </a:cubicBezTo>
                  <a:cubicBezTo>
                    <a:pt x="189" y="67"/>
                    <a:pt x="197" y="68"/>
                    <a:pt x="197" y="67"/>
                  </a:cubicBezTo>
                  <a:cubicBezTo>
                    <a:pt x="197" y="66"/>
                    <a:pt x="199" y="62"/>
                    <a:pt x="199" y="60"/>
                  </a:cubicBezTo>
                  <a:cubicBezTo>
                    <a:pt x="198" y="59"/>
                    <a:pt x="196" y="57"/>
                    <a:pt x="196" y="56"/>
                  </a:cubicBezTo>
                  <a:cubicBezTo>
                    <a:pt x="197" y="55"/>
                    <a:pt x="200" y="55"/>
                    <a:pt x="200" y="53"/>
                  </a:cubicBezTo>
                  <a:cubicBezTo>
                    <a:pt x="200" y="52"/>
                    <a:pt x="197" y="51"/>
                    <a:pt x="197" y="50"/>
                  </a:cubicBezTo>
                  <a:cubicBezTo>
                    <a:pt x="197" y="49"/>
                    <a:pt x="201" y="47"/>
                    <a:pt x="201" y="45"/>
                  </a:cubicBezTo>
                  <a:cubicBezTo>
                    <a:pt x="200" y="43"/>
                    <a:pt x="197" y="43"/>
                    <a:pt x="194" y="41"/>
                  </a:cubicBezTo>
                  <a:cubicBezTo>
                    <a:pt x="191" y="40"/>
                    <a:pt x="188" y="40"/>
                    <a:pt x="185" y="39"/>
                  </a:cubicBezTo>
                  <a:cubicBezTo>
                    <a:pt x="182" y="37"/>
                    <a:pt x="175" y="38"/>
                    <a:pt x="175" y="37"/>
                  </a:cubicBezTo>
                  <a:cubicBezTo>
                    <a:pt x="175" y="36"/>
                    <a:pt x="171" y="33"/>
                    <a:pt x="170" y="31"/>
                  </a:cubicBezTo>
                  <a:cubicBezTo>
                    <a:pt x="169" y="30"/>
                    <a:pt x="166" y="31"/>
                    <a:pt x="164" y="32"/>
                  </a:cubicBezTo>
                  <a:cubicBezTo>
                    <a:pt x="162" y="33"/>
                    <a:pt x="160" y="34"/>
                    <a:pt x="158" y="32"/>
                  </a:cubicBezTo>
                  <a:cubicBezTo>
                    <a:pt x="156" y="31"/>
                    <a:pt x="155" y="29"/>
                    <a:pt x="153" y="30"/>
                  </a:cubicBezTo>
                  <a:cubicBezTo>
                    <a:pt x="151" y="31"/>
                    <a:pt x="148" y="30"/>
                    <a:pt x="149" y="28"/>
                  </a:cubicBezTo>
                  <a:cubicBezTo>
                    <a:pt x="149" y="25"/>
                    <a:pt x="145" y="20"/>
                    <a:pt x="144" y="19"/>
                  </a:cubicBezTo>
                  <a:cubicBezTo>
                    <a:pt x="142" y="18"/>
                    <a:pt x="137" y="19"/>
                    <a:pt x="135" y="17"/>
                  </a:cubicBezTo>
                  <a:cubicBezTo>
                    <a:pt x="134" y="14"/>
                    <a:pt x="132" y="12"/>
                    <a:pt x="133" y="11"/>
                  </a:cubicBezTo>
                  <a:cubicBezTo>
                    <a:pt x="134" y="9"/>
                    <a:pt x="133" y="4"/>
                    <a:pt x="131" y="2"/>
                  </a:cubicBezTo>
                  <a:cubicBezTo>
                    <a:pt x="130" y="0"/>
                    <a:pt x="124" y="0"/>
                    <a:pt x="122" y="1"/>
                  </a:cubicBezTo>
                  <a:cubicBezTo>
                    <a:pt x="120" y="2"/>
                    <a:pt x="116" y="0"/>
                    <a:pt x="115" y="1"/>
                  </a:cubicBezTo>
                  <a:cubicBezTo>
                    <a:pt x="113" y="2"/>
                    <a:pt x="112" y="4"/>
                    <a:pt x="109" y="4"/>
                  </a:cubicBezTo>
                  <a:cubicBezTo>
                    <a:pt x="108" y="4"/>
                    <a:pt x="107" y="4"/>
                    <a:pt x="106" y="3"/>
                  </a:cubicBezTo>
                  <a:cubicBezTo>
                    <a:pt x="104" y="4"/>
                    <a:pt x="99" y="4"/>
                    <a:pt x="99" y="4"/>
                  </a:cubicBezTo>
                  <a:cubicBezTo>
                    <a:pt x="99" y="4"/>
                    <a:pt x="92" y="10"/>
                    <a:pt x="92" y="12"/>
                  </a:cubicBezTo>
                  <a:cubicBezTo>
                    <a:pt x="92" y="14"/>
                    <a:pt x="92" y="17"/>
                    <a:pt x="90" y="15"/>
                  </a:cubicBezTo>
                  <a:cubicBezTo>
                    <a:pt x="89" y="14"/>
                    <a:pt x="82" y="14"/>
                    <a:pt x="80" y="15"/>
                  </a:cubicBezTo>
                  <a:cubicBezTo>
                    <a:pt x="78" y="16"/>
                    <a:pt x="76" y="11"/>
                    <a:pt x="73" y="12"/>
                  </a:cubicBezTo>
                  <a:cubicBezTo>
                    <a:pt x="70" y="14"/>
                    <a:pt x="66" y="10"/>
                    <a:pt x="65" y="12"/>
                  </a:cubicBezTo>
                  <a:cubicBezTo>
                    <a:pt x="65" y="13"/>
                    <a:pt x="61" y="12"/>
                    <a:pt x="58" y="11"/>
                  </a:cubicBezTo>
                  <a:cubicBezTo>
                    <a:pt x="55" y="9"/>
                    <a:pt x="49" y="11"/>
                    <a:pt x="47" y="9"/>
                  </a:cubicBezTo>
                  <a:cubicBezTo>
                    <a:pt x="45" y="7"/>
                    <a:pt x="32" y="7"/>
                    <a:pt x="28" y="7"/>
                  </a:cubicBezTo>
                  <a:cubicBezTo>
                    <a:pt x="24" y="7"/>
                    <a:pt x="23" y="9"/>
                    <a:pt x="21" y="11"/>
                  </a:cubicBezTo>
                  <a:cubicBezTo>
                    <a:pt x="19" y="13"/>
                    <a:pt x="17" y="12"/>
                    <a:pt x="15" y="12"/>
                  </a:cubicBezTo>
                  <a:cubicBezTo>
                    <a:pt x="15" y="14"/>
                    <a:pt x="15" y="15"/>
                    <a:pt x="16" y="16"/>
                  </a:cubicBezTo>
                  <a:cubicBezTo>
                    <a:pt x="17" y="18"/>
                    <a:pt x="21" y="25"/>
                    <a:pt x="20" y="27"/>
                  </a:cubicBezTo>
                  <a:cubicBezTo>
                    <a:pt x="19" y="29"/>
                    <a:pt x="17" y="29"/>
                    <a:pt x="15" y="31"/>
                  </a:cubicBezTo>
                  <a:cubicBezTo>
                    <a:pt x="14" y="33"/>
                    <a:pt x="5" y="41"/>
                    <a:pt x="5" y="42"/>
                  </a:cubicBezTo>
                  <a:cubicBezTo>
                    <a:pt x="4" y="43"/>
                    <a:pt x="6" y="49"/>
                    <a:pt x="5" y="50"/>
                  </a:cubicBezTo>
                  <a:cubicBezTo>
                    <a:pt x="4" y="51"/>
                    <a:pt x="0" y="56"/>
                    <a:pt x="0" y="58"/>
                  </a:cubicBezTo>
                  <a:cubicBezTo>
                    <a:pt x="0" y="60"/>
                    <a:pt x="3" y="63"/>
                    <a:pt x="5" y="63"/>
                  </a:cubicBezTo>
                  <a:cubicBezTo>
                    <a:pt x="6" y="64"/>
                    <a:pt x="6" y="64"/>
                    <a:pt x="7" y="65"/>
                  </a:cubicBezTo>
                  <a:cubicBezTo>
                    <a:pt x="8" y="64"/>
                    <a:pt x="10" y="64"/>
                    <a:pt x="11" y="64"/>
                  </a:cubicBezTo>
                  <a:cubicBezTo>
                    <a:pt x="13" y="64"/>
                    <a:pt x="20" y="66"/>
                    <a:pt x="22" y="66"/>
                  </a:cubicBezTo>
                  <a:cubicBezTo>
                    <a:pt x="25" y="66"/>
                    <a:pt x="28" y="67"/>
                    <a:pt x="29" y="68"/>
                  </a:cubicBezTo>
                  <a:cubicBezTo>
                    <a:pt x="30" y="69"/>
                    <a:pt x="32" y="69"/>
                    <a:pt x="34" y="67"/>
                  </a:cubicBezTo>
                  <a:cubicBezTo>
                    <a:pt x="36" y="65"/>
                    <a:pt x="38" y="66"/>
                    <a:pt x="40" y="66"/>
                  </a:cubicBezTo>
                  <a:cubicBezTo>
                    <a:pt x="42" y="66"/>
                    <a:pt x="45" y="65"/>
                    <a:pt x="46" y="63"/>
                  </a:cubicBezTo>
                  <a:cubicBezTo>
                    <a:pt x="47" y="61"/>
                    <a:pt x="57" y="59"/>
                    <a:pt x="60" y="58"/>
                  </a:cubicBezTo>
                  <a:cubicBezTo>
                    <a:pt x="62" y="58"/>
                    <a:pt x="66" y="63"/>
                    <a:pt x="69" y="63"/>
                  </a:cubicBezTo>
                  <a:cubicBezTo>
                    <a:pt x="71" y="63"/>
                    <a:pt x="75" y="65"/>
                    <a:pt x="77" y="69"/>
                  </a:cubicBezTo>
                  <a:cubicBezTo>
                    <a:pt x="78" y="74"/>
                    <a:pt x="82" y="79"/>
                    <a:pt x="84" y="81"/>
                  </a:cubicBezTo>
                  <a:cubicBezTo>
                    <a:pt x="85" y="82"/>
                    <a:pt x="86" y="87"/>
                    <a:pt x="86" y="88"/>
                  </a:cubicBezTo>
                  <a:cubicBezTo>
                    <a:pt x="86" y="89"/>
                    <a:pt x="83" y="88"/>
                    <a:pt x="79" y="87"/>
                  </a:cubicBezTo>
                  <a:cubicBezTo>
                    <a:pt x="75" y="86"/>
                    <a:pt x="74" y="90"/>
                    <a:pt x="74" y="92"/>
                  </a:cubicBezTo>
                  <a:cubicBezTo>
                    <a:pt x="74" y="94"/>
                    <a:pt x="69" y="101"/>
                    <a:pt x="68" y="102"/>
                  </a:cubicBezTo>
                  <a:cubicBezTo>
                    <a:pt x="67" y="103"/>
                    <a:pt x="70" y="104"/>
                    <a:pt x="72" y="105"/>
                  </a:cubicBezTo>
                  <a:cubicBezTo>
                    <a:pt x="73" y="105"/>
                    <a:pt x="77" y="102"/>
                    <a:pt x="78" y="102"/>
                  </a:cubicBezTo>
                  <a:cubicBezTo>
                    <a:pt x="79" y="102"/>
                    <a:pt x="81" y="103"/>
                    <a:pt x="82" y="105"/>
                  </a:cubicBezTo>
                  <a:cubicBezTo>
                    <a:pt x="82" y="99"/>
                    <a:pt x="83" y="100"/>
                    <a:pt x="88" y="96"/>
                  </a:cubicBezTo>
                  <a:cubicBezTo>
                    <a:pt x="93" y="93"/>
                    <a:pt x="93" y="86"/>
                    <a:pt x="97" y="85"/>
                  </a:cubicBezTo>
                  <a:cubicBezTo>
                    <a:pt x="102" y="84"/>
                    <a:pt x="104" y="82"/>
                    <a:pt x="110" y="83"/>
                  </a:cubicBezTo>
                  <a:cubicBezTo>
                    <a:pt x="116" y="84"/>
                    <a:pt x="107" y="88"/>
                    <a:pt x="111" y="90"/>
                  </a:cubicBezTo>
                  <a:cubicBezTo>
                    <a:pt x="115" y="93"/>
                    <a:pt x="129" y="90"/>
                    <a:pt x="129" y="93"/>
                  </a:cubicBezTo>
                  <a:cubicBezTo>
                    <a:pt x="130" y="96"/>
                    <a:pt x="114" y="100"/>
                    <a:pt x="114" y="101"/>
                  </a:cubicBezTo>
                  <a:cubicBezTo>
                    <a:pt x="115" y="103"/>
                    <a:pt x="123" y="105"/>
                    <a:pt x="126" y="107"/>
                  </a:cubicBezTo>
                  <a:cubicBezTo>
                    <a:pt x="129" y="108"/>
                    <a:pt x="125" y="114"/>
                    <a:pt x="126" y="115"/>
                  </a:cubicBezTo>
                  <a:cubicBezTo>
                    <a:pt x="128" y="117"/>
                    <a:pt x="132" y="116"/>
                    <a:pt x="135" y="113"/>
                  </a:cubicBezTo>
                  <a:cubicBezTo>
                    <a:pt x="139" y="111"/>
                    <a:pt x="142" y="111"/>
                    <a:pt x="146" y="108"/>
                  </a:cubicBezTo>
                  <a:cubicBezTo>
                    <a:pt x="151" y="105"/>
                    <a:pt x="160" y="108"/>
                    <a:pt x="161" y="106"/>
                  </a:cubicBezTo>
                  <a:cubicBezTo>
                    <a:pt x="162" y="104"/>
                    <a:pt x="159" y="103"/>
                    <a:pt x="150" y="103"/>
                  </a:cubicBezTo>
                  <a:cubicBezTo>
                    <a:pt x="141" y="104"/>
                    <a:pt x="141" y="96"/>
                    <a:pt x="141" y="94"/>
                  </a:cubicBezTo>
                  <a:cubicBezTo>
                    <a:pt x="141" y="92"/>
                    <a:pt x="150" y="86"/>
                    <a:pt x="155" y="85"/>
                  </a:cubicBezTo>
                  <a:cubicBezTo>
                    <a:pt x="160" y="85"/>
                    <a:pt x="164" y="83"/>
                    <a:pt x="169" y="81"/>
                  </a:cubicBezTo>
                  <a:cubicBezTo>
                    <a:pt x="171" y="80"/>
                    <a:pt x="175" y="79"/>
                    <a:pt x="178" y="78"/>
                  </a:cubicBezTo>
                  <a:cubicBezTo>
                    <a:pt x="178" y="76"/>
                    <a:pt x="177" y="73"/>
                    <a:pt x="179" y="7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93024" y="2536228"/>
              <a:ext cx="242604" cy="174372"/>
            </a:xfrm>
            <a:custGeom>
              <a:avLst/>
              <a:gdLst/>
              <a:ahLst/>
              <a:cxnLst>
                <a:cxn ang="0">
                  <a:pos x="99" y="38"/>
                </a:cxn>
                <a:cxn ang="0">
                  <a:pos x="93" y="32"/>
                </a:cxn>
                <a:cxn ang="0">
                  <a:pos x="88" y="25"/>
                </a:cxn>
                <a:cxn ang="0">
                  <a:pos x="86" y="17"/>
                </a:cxn>
                <a:cxn ang="0">
                  <a:pos x="85" y="9"/>
                </a:cxn>
                <a:cxn ang="0">
                  <a:pos x="75" y="6"/>
                </a:cxn>
                <a:cxn ang="0">
                  <a:pos x="69" y="6"/>
                </a:cxn>
                <a:cxn ang="0">
                  <a:pos x="63" y="3"/>
                </a:cxn>
                <a:cxn ang="0">
                  <a:pos x="57" y="1"/>
                </a:cxn>
                <a:cxn ang="0">
                  <a:pos x="57" y="0"/>
                </a:cxn>
                <a:cxn ang="0">
                  <a:pos x="53" y="2"/>
                </a:cxn>
                <a:cxn ang="0">
                  <a:pos x="49" y="6"/>
                </a:cxn>
                <a:cxn ang="0">
                  <a:pos x="41" y="7"/>
                </a:cxn>
                <a:cxn ang="0">
                  <a:pos x="38" y="13"/>
                </a:cxn>
                <a:cxn ang="0">
                  <a:pos x="37" y="17"/>
                </a:cxn>
                <a:cxn ang="0">
                  <a:pos x="33" y="20"/>
                </a:cxn>
                <a:cxn ang="0">
                  <a:pos x="27" y="26"/>
                </a:cxn>
                <a:cxn ang="0">
                  <a:pos x="26" y="31"/>
                </a:cxn>
                <a:cxn ang="0">
                  <a:pos x="18" y="33"/>
                </a:cxn>
                <a:cxn ang="0">
                  <a:pos x="13" y="36"/>
                </a:cxn>
                <a:cxn ang="0">
                  <a:pos x="4" y="35"/>
                </a:cxn>
                <a:cxn ang="0">
                  <a:pos x="4" y="36"/>
                </a:cxn>
                <a:cxn ang="0">
                  <a:pos x="6" y="45"/>
                </a:cxn>
                <a:cxn ang="0">
                  <a:pos x="7" y="55"/>
                </a:cxn>
                <a:cxn ang="0">
                  <a:pos x="0" y="60"/>
                </a:cxn>
                <a:cxn ang="0">
                  <a:pos x="4" y="66"/>
                </a:cxn>
                <a:cxn ang="0">
                  <a:pos x="4" y="72"/>
                </a:cxn>
                <a:cxn ang="0">
                  <a:pos x="10" y="71"/>
                </a:cxn>
                <a:cxn ang="0">
                  <a:pos x="17" y="67"/>
                </a:cxn>
                <a:cxn ang="0">
                  <a:pos x="36" y="69"/>
                </a:cxn>
                <a:cxn ang="0">
                  <a:pos x="47" y="71"/>
                </a:cxn>
                <a:cxn ang="0">
                  <a:pos x="54" y="72"/>
                </a:cxn>
                <a:cxn ang="0">
                  <a:pos x="62" y="72"/>
                </a:cxn>
                <a:cxn ang="0">
                  <a:pos x="69" y="75"/>
                </a:cxn>
                <a:cxn ang="0">
                  <a:pos x="79" y="75"/>
                </a:cxn>
                <a:cxn ang="0">
                  <a:pos x="81" y="72"/>
                </a:cxn>
                <a:cxn ang="0">
                  <a:pos x="88" y="64"/>
                </a:cxn>
                <a:cxn ang="0">
                  <a:pos x="95" y="63"/>
                </a:cxn>
                <a:cxn ang="0">
                  <a:pos x="94" y="58"/>
                </a:cxn>
                <a:cxn ang="0">
                  <a:pos x="92" y="48"/>
                </a:cxn>
                <a:cxn ang="0">
                  <a:pos x="100" y="49"/>
                </a:cxn>
                <a:cxn ang="0">
                  <a:pos x="106" y="44"/>
                </a:cxn>
                <a:cxn ang="0">
                  <a:pos x="99" y="38"/>
                </a:cxn>
              </a:cxnLst>
              <a:rect l="0" t="0" r="r" b="b"/>
              <a:pathLst>
                <a:path w="106" h="77">
                  <a:moveTo>
                    <a:pt x="99" y="38"/>
                  </a:moveTo>
                  <a:cubicBezTo>
                    <a:pt x="97" y="37"/>
                    <a:pt x="96" y="33"/>
                    <a:pt x="93" y="32"/>
                  </a:cubicBezTo>
                  <a:cubicBezTo>
                    <a:pt x="90" y="30"/>
                    <a:pt x="90" y="26"/>
                    <a:pt x="88" y="25"/>
                  </a:cubicBezTo>
                  <a:cubicBezTo>
                    <a:pt x="85" y="23"/>
                    <a:pt x="87" y="19"/>
                    <a:pt x="86" y="17"/>
                  </a:cubicBezTo>
                  <a:cubicBezTo>
                    <a:pt x="86" y="14"/>
                    <a:pt x="87" y="10"/>
                    <a:pt x="85" y="9"/>
                  </a:cubicBezTo>
                  <a:cubicBezTo>
                    <a:pt x="84" y="8"/>
                    <a:pt x="78" y="5"/>
                    <a:pt x="75" y="6"/>
                  </a:cubicBezTo>
                  <a:cubicBezTo>
                    <a:pt x="72" y="7"/>
                    <a:pt x="70" y="8"/>
                    <a:pt x="69" y="6"/>
                  </a:cubicBezTo>
                  <a:cubicBezTo>
                    <a:pt x="68" y="4"/>
                    <a:pt x="66" y="2"/>
                    <a:pt x="63" y="3"/>
                  </a:cubicBezTo>
                  <a:cubicBezTo>
                    <a:pt x="60" y="4"/>
                    <a:pt x="59" y="3"/>
                    <a:pt x="57" y="1"/>
                  </a:cubicBezTo>
                  <a:cubicBezTo>
                    <a:pt x="57" y="1"/>
                    <a:pt x="57" y="1"/>
                    <a:pt x="57" y="0"/>
                  </a:cubicBezTo>
                  <a:cubicBezTo>
                    <a:pt x="55" y="1"/>
                    <a:pt x="54" y="1"/>
                    <a:pt x="53" y="2"/>
                  </a:cubicBezTo>
                  <a:cubicBezTo>
                    <a:pt x="51" y="3"/>
                    <a:pt x="51" y="6"/>
                    <a:pt x="49" y="6"/>
                  </a:cubicBezTo>
                  <a:cubicBezTo>
                    <a:pt x="46" y="6"/>
                    <a:pt x="44" y="5"/>
                    <a:pt x="41" y="7"/>
                  </a:cubicBezTo>
                  <a:cubicBezTo>
                    <a:pt x="38" y="9"/>
                    <a:pt x="38" y="11"/>
                    <a:pt x="38" y="13"/>
                  </a:cubicBezTo>
                  <a:cubicBezTo>
                    <a:pt x="38" y="15"/>
                    <a:pt x="39" y="17"/>
                    <a:pt x="37" y="17"/>
                  </a:cubicBezTo>
                  <a:cubicBezTo>
                    <a:pt x="35" y="17"/>
                    <a:pt x="35" y="20"/>
                    <a:pt x="33" y="20"/>
                  </a:cubicBezTo>
                  <a:cubicBezTo>
                    <a:pt x="31" y="21"/>
                    <a:pt x="28" y="24"/>
                    <a:pt x="27" y="26"/>
                  </a:cubicBezTo>
                  <a:cubicBezTo>
                    <a:pt x="27" y="27"/>
                    <a:pt x="27" y="31"/>
                    <a:pt x="26" y="31"/>
                  </a:cubicBezTo>
                  <a:cubicBezTo>
                    <a:pt x="24" y="31"/>
                    <a:pt x="20" y="32"/>
                    <a:pt x="18" y="33"/>
                  </a:cubicBezTo>
                  <a:cubicBezTo>
                    <a:pt x="17" y="35"/>
                    <a:pt x="15" y="37"/>
                    <a:pt x="13" y="36"/>
                  </a:cubicBezTo>
                  <a:cubicBezTo>
                    <a:pt x="11" y="36"/>
                    <a:pt x="8" y="35"/>
                    <a:pt x="4" y="35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40"/>
                    <a:pt x="4" y="43"/>
                    <a:pt x="6" y="45"/>
                  </a:cubicBezTo>
                  <a:cubicBezTo>
                    <a:pt x="8" y="47"/>
                    <a:pt x="9" y="54"/>
                    <a:pt x="7" y="55"/>
                  </a:cubicBezTo>
                  <a:cubicBezTo>
                    <a:pt x="4" y="56"/>
                    <a:pt x="0" y="59"/>
                    <a:pt x="0" y="60"/>
                  </a:cubicBezTo>
                  <a:cubicBezTo>
                    <a:pt x="0" y="62"/>
                    <a:pt x="5" y="64"/>
                    <a:pt x="4" y="66"/>
                  </a:cubicBezTo>
                  <a:cubicBezTo>
                    <a:pt x="3" y="67"/>
                    <a:pt x="3" y="70"/>
                    <a:pt x="4" y="72"/>
                  </a:cubicBezTo>
                  <a:cubicBezTo>
                    <a:pt x="6" y="72"/>
                    <a:pt x="8" y="73"/>
                    <a:pt x="10" y="71"/>
                  </a:cubicBezTo>
                  <a:cubicBezTo>
                    <a:pt x="12" y="69"/>
                    <a:pt x="13" y="67"/>
                    <a:pt x="17" y="67"/>
                  </a:cubicBezTo>
                  <a:cubicBezTo>
                    <a:pt x="21" y="67"/>
                    <a:pt x="34" y="67"/>
                    <a:pt x="36" y="69"/>
                  </a:cubicBezTo>
                  <a:cubicBezTo>
                    <a:pt x="38" y="71"/>
                    <a:pt x="44" y="69"/>
                    <a:pt x="47" y="71"/>
                  </a:cubicBezTo>
                  <a:cubicBezTo>
                    <a:pt x="50" y="72"/>
                    <a:pt x="54" y="73"/>
                    <a:pt x="54" y="72"/>
                  </a:cubicBezTo>
                  <a:cubicBezTo>
                    <a:pt x="55" y="70"/>
                    <a:pt x="59" y="74"/>
                    <a:pt x="62" y="72"/>
                  </a:cubicBezTo>
                  <a:cubicBezTo>
                    <a:pt x="65" y="71"/>
                    <a:pt x="67" y="76"/>
                    <a:pt x="69" y="75"/>
                  </a:cubicBezTo>
                  <a:cubicBezTo>
                    <a:pt x="71" y="74"/>
                    <a:pt x="78" y="74"/>
                    <a:pt x="79" y="75"/>
                  </a:cubicBezTo>
                  <a:cubicBezTo>
                    <a:pt x="81" y="77"/>
                    <a:pt x="81" y="74"/>
                    <a:pt x="81" y="72"/>
                  </a:cubicBezTo>
                  <a:cubicBezTo>
                    <a:pt x="81" y="70"/>
                    <a:pt x="88" y="64"/>
                    <a:pt x="88" y="64"/>
                  </a:cubicBezTo>
                  <a:cubicBezTo>
                    <a:pt x="88" y="64"/>
                    <a:pt x="93" y="64"/>
                    <a:pt x="95" y="63"/>
                  </a:cubicBezTo>
                  <a:cubicBezTo>
                    <a:pt x="95" y="62"/>
                    <a:pt x="94" y="60"/>
                    <a:pt x="94" y="58"/>
                  </a:cubicBezTo>
                  <a:cubicBezTo>
                    <a:pt x="92" y="53"/>
                    <a:pt x="90" y="49"/>
                    <a:pt x="92" y="48"/>
                  </a:cubicBezTo>
                  <a:cubicBezTo>
                    <a:pt x="93" y="46"/>
                    <a:pt x="98" y="50"/>
                    <a:pt x="100" y="49"/>
                  </a:cubicBezTo>
                  <a:cubicBezTo>
                    <a:pt x="102" y="48"/>
                    <a:pt x="106" y="46"/>
                    <a:pt x="106" y="44"/>
                  </a:cubicBezTo>
                  <a:cubicBezTo>
                    <a:pt x="105" y="41"/>
                    <a:pt x="101" y="38"/>
                    <a:pt x="99" y="3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8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32373" y="2467996"/>
              <a:ext cx="191431" cy="89082"/>
            </a:xfrm>
            <a:custGeom>
              <a:avLst/>
              <a:gdLst/>
              <a:ahLst/>
              <a:cxnLst>
                <a:cxn ang="0">
                  <a:pos x="29" y="27"/>
                </a:cxn>
                <a:cxn ang="0">
                  <a:pos x="43" y="27"/>
                </a:cxn>
                <a:cxn ang="0">
                  <a:pos x="49" y="30"/>
                </a:cxn>
                <a:cxn ang="0">
                  <a:pos x="60" y="36"/>
                </a:cxn>
                <a:cxn ang="0">
                  <a:pos x="66" y="39"/>
                </a:cxn>
                <a:cxn ang="0">
                  <a:pos x="68" y="37"/>
                </a:cxn>
                <a:cxn ang="0">
                  <a:pos x="76" y="36"/>
                </a:cxn>
                <a:cxn ang="0">
                  <a:pos x="80" y="32"/>
                </a:cxn>
                <a:cxn ang="0">
                  <a:pos x="84" y="30"/>
                </a:cxn>
                <a:cxn ang="0">
                  <a:pos x="81" y="24"/>
                </a:cxn>
                <a:cxn ang="0">
                  <a:pos x="78" y="17"/>
                </a:cxn>
                <a:cxn ang="0">
                  <a:pos x="76" y="11"/>
                </a:cxn>
                <a:cxn ang="0">
                  <a:pos x="74" y="8"/>
                </a:cxn>
                <a:cxn ang="0">
                  <a:pos x="64" y="7"/>
                </a:cxn>
                <a:cxn ang="0">
                  <a:pos x="52" y="1"/>
                </a:cxn>
                <a:cxn ang="0">
                  <a:pos x="40" y="1"/>
                </a:cxn>
                <a:cxn ang="0">
                  <a:pos x="39" y="12"/>
                </a:cxn>
                <a:cxn ang="0">
                  <a:pos x="30" y="16"/>
                </a:cxn>
                <a:cxn ang="0">
                  <a:pos x="20" y="5"/>
                </a:cxn>
                <a:cxn ang="0">
                  <a:pos x="9" y="10"/>
                </a:cxn>
                <a:cxn ang="0">
                  <a:pos x="5" y="19"/>
                </a:cxn>
                <a:cxn ang="0">
                  <a:pos x="3" y="29"/>
                </a:cxn>
                <a:cxn ang="0">
                  <a:pos x="3" y="30"/>
                </a:cxn>
                <a:cxn ang="0">
                  <a:pos x="12" y="27"/>
                </a:cxn>
                <a:cxn ang="0">
                  <a:pos x="29" y="27"/>
                </a:cxn>
              </a:cxnLst>
              <a:rect l="0" t="0" r="r" b="b"/>
              <a:pathLst>
                <a:path w="84" h="39">
                  <a:moveTo>
                    <a:pt x="29" y="27"/>
                  </a:moveTo>
                  <a:cubicBezTo>
                    <a:pt x="32" y="27"/>
                    <a:pt x="39" y="29"/>
                    <a:pt x="43" y="27"/>
                  </a:cubicBezTo>
                  <a:cubicBezTo>
                    <a:pt x="47" y="26"/>
                    <a:pt x="47" y="31"/>
                    <a:pt x="49" y="30"/>
                  </a:cubicBezTo>
                  <a:cubicBezTo>
                    <a:pt x="52" y="29"/>
                    <a:pt x="57" y="33"/>
                    <a:pt x="60" y="36"/>
                  </a:cubicBezTo>
                  <a:cubicBezTo>
                    <a:pt x="62" y="37"/>
                    <a:pt x="64" y="38"/>
                    <a:pt x="66" y="39"/>
                  </a:cubicBezTo>
                  <a:cubicBezTo>
                    <a:pt x="66" y="38"/>
                    <a:pt x="67" y="38"/>
                    <a:pt x="68" y="37"/>
                  </a:cubicBezTo>
                  <a:cubicBezTo>
                    <a:pt x="71" y="35"/>
                    <a:pt x="73" y="36"/>
                    <a:pt x="76" y="36"/>
                  </a:cubicBezTo>
                  <a:cubicBezTo>
                    <a:pt x="78" y="36"/>
                    <a:pt x="78" y="33"/>
                    <a:pt x="80" y="32"/>
                  </a:cubicBezTo>
                  <a:cubicBezTo>
                    <a:pt x="81" y="31"/>
                    <a:pt x="82" y="31"/>
                    <a:pt x="84" y="30"/>
                  </a:cubicBezTo>
                  <a:cubicBezTo>
                    <a:pt x="83" y="29"/>
                    <a:pt x="83" y="25"/>
                    <a:pt x="81" y="24"/>
                  </a:cubicBezTo>
                  <a:cubicBezTo>
                    <a:pt x="79" y="22"/>
                    <a:pt x="77" y="19"/>
                    <a:pt x="78" y="17"/>
                  </a:cubicBezTo>
                  <a:cubicBezTo>
                    <a:pt x="78" y="15"/>
                    <a:pt x="78" y="13"/>
                    <a:pt x="76" y="11"/>
                  </a:cubicBezTo>
                  <a:cubicBezTo>
                    <a:pt x="75" y="10"/>
                    <a:pt x="75" y="9"/>
                    <a:pt x="74" y="8"/>
                  </a:cubicBezTo>
                  <a:cubicBezTo>
                    <a:pt x="70" y="7"/>
                    <a:pt x="65" y="7"/>
                    <a:pt x="64" y="7"/>
                  </a:cubicBezTo>
                  <a:cubicBezTo>
                    <a:pt x="62" y="8"/>
                    <a:pt x="54" y="2"/>
                    <a:pt x="52" y="1"/>
                  </a:cubicBezTo>
                  <a:cubicBezTo>
                    <a:pt x="51" y="0"/>
                    <a:pt x="46" y="0"/>
                    <a:pt x="40" y="1"/>
                  </a:cubicBezTo>
                  <a:cubicBezTo>
                    <a:pt x="37" y="4"/>
                    <a:pt x="39" y="7"/>
                    <a:pt x="39" y="12"/>
                  </a:cubicBezTo>
                  <a:cubicBezTo>
                    <a:pt x="39" y="17"/>
                    <a:pt x="33" y="16"/>
                    <a:pt x="30" y="16"/>
                  </a:cubicBezTo>
                  <a:cubicBezTo>
                    <a:pt x="27" y="16"/>
                    <a:pt x="22" y="7"/>
                    <a:pt x="20" y="5"/>
                  </a:cubicBezTo>
                  <a:cubicBezTo>
                    <a:pt x="18" y="2"/>
                    <a:pt x="13" y="7"/>
                    <a:pt x="9" y="10"/>
                  </a:cubicBezTo>
                  <a:cubicBezTo>
                    <a:pt x="5" y="12"/>
                    <a:pt x="7" y="16"/>
                    <a:pt x="5" y="19"/>
                  </a:cubicBezTo>
                  <a:cubicBezTo>
                    <a:pt x="2" y="21"/>
                    <a:pt x="0" y="24"/>
                    <a:pt x="3" y="29"/>
                  </a:cubicBezTo>
                  <a:cubicBezTo>
                    <a:pt x="3" y="29"/>
                    <a:pt x="3" y="30"/>
                    <a:pt x="3" y="30"/>
                  </a:cubicBezTo>
                  <a:cubicBezTo>
                    <a:pt x="7" y="30"/>
                    <a:pt x="10" y="29"/>
                    <a:pt x="12" y="27"/>
                  </a:cubicBezTo>
                  <a:cubicBezTo>
                    <a:pt x="16" y="25"/>
                    <a:pt x="25" y="27"/>
                    <a:pt x="29" y="2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32373" y="2524856"/>
              <a:ext cx="149733" cy="94767"/>
            </a:xfrm>
            <a:custGeom>
              <a:avLst/>
              <a:gdLst/>
              <a:ahLst/>
              <a:cxnLst>
                <a:cxn ang="0">
                  <a:pos x="10" y="21"/>
                </a:cxn>
                <a:cxn ang="0">
                  <a:pos x="16" y="23"/>
                </a:cxn>
                <a:cxn ang="0">
                  <a:pos x="23" y="27"/>
                </a:cxn>
                <a:cxn ang="0">
                  <a:pos x="23" y="35"/>
                </a:cxn>
                <a:cxn ang="0">
                  <a:pos x="31" y="40"/>
                </a:cxn>
                <a:cxn ang="0">
                  <a:pos x="40" y="41"/>
                </a:cxn>
                <a:cxn ang="0">
                  <a:pos x="45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60" y="25"/>
                </a:cxn>
                <a:cxn ang="0">
                  <a:pos x="64" y="22"/>
                </a:cxn>
                <a:cxn ang="0">
                  <a:pos x="65" y="18"/>
                </a:cxn>
                <a:cxn ang="0">
                  <a:pos x="66" y="14"/>
                </a:cxn>
                <a:cxn ang="0">
                  <a:pos x="60" y="11"/>
                </a:cxn>
                <a:cxn ang="0">
                  <a:pos x="49" y="5"/>
                </a:cxn>
                <a:cxn ang="0">
                  <a:pos x="43" y="2"/>
                </a:cxn>
                <a:cxn ang="0">
                  <a:pos x="29" y="2"/>
                </a:cxn>
                <a:cxn ang="0">
                  <a:pos x="12" y="2"/>
                </a:cxn>
                <a:cxn ang="0">
                  <a:pos x="3" y="5"/>
                </a:cxn>
                <a:cxn ang="0">
                  <a:pos x="2" y="17"/>
                </a:cxn>
                <a:cxn ang="0">
                  <a:pos x="3" y="20"/>
                </a:cxn>
                <a:cxn ang="0">
                  <a:pos x="10" y="21"/>
                </a:cxn>
              </a:cxnLst>
              <a:rect l="0" t="0" r="r" b="b"/>
              <a:pathLst>
                <a:path w="66" h="42">
                  <a:moveTo>
                    <a:pt x="10" y="21"/>
                  </a:moveTo>
                  <a:cubicBezTo>
                    <a:pt x="11" y="23"/>
                    <a:pt x="15" y="24"/>
                    <a:pt x="16" y="23"/>
                  </a:cubicBezTo>
                  <a:cubicBezTo>
                    <a:pt x="18" y="23"/>
                    <a:pt x="23" y="25"/>
                    <a:pt x="23" y="27"/>
                  </a:cubicBezTo>
                  <a:cubicBezTo>
                    <a:pt x="23" y="29"/>
                    <a:pt x="21" y="35"/>
                    <a:pt x="23" y="35"/>
                  </a:cubicBezTo>
                  <a:cubicBezTo>
                    <a:pt x="24" y="35"/>
                    <a:pt x="31" y="37"/>
                    <a:pt x="31" y="40"/>
                  </a:cubicBezTo>
                  <a:cubicBezTo>
                    <a:pt x="35" y="40"/>
                    <a:pt x="38" y="41"/>
                    <a:pt x="40" y="41"/>
                  </a:cubicBezTo>
                  <a:cubicBezTo>
                    <a:pt x="42" y="42"/>
                    <a:pt x="44" y="40"/>
                    <a:pt x="45" y="38"/>
                  </a:cubicBezTo>
                  <a:cubicBezTo>
                    <a:pt x="47" y="37"/>
                    <a:pt x="51" y="36"/>
                    <a:pt x="53" y="36"/>
                  </a:cubicBezTo>
                  <a:cubicBezTo>
                    <a:pt x="54" y="36"/>
                    <a:pt x="54" y="32"/>
                    <a:pt x="54" y="31"/>
                  </a:cubicBezTo>
                  <a:cubicBezTo>
                    <a:pt x="55" y="29"/>
                    <a:pt x="58" y="26"/>
                    <a:pt x="60" y="25"/>
                  </a:cubicBezTo>
                  <a:cubicBezTo>
                    <a:pt x="62" y="25"/>
                    <a:pt x="62" y="22"/>
                    <a:pt x="64" y="22"/>
                  </a:cubicBezTo>
                  <a:cubicBezTo>
                    <a:pt x="66" y="22"/>
                    <a:pt x="65" y="20"/>
                    <a:pt x="65" y="18"/>
                  </a:cubicBezTo>
                  <a:cubicBezTo>
                    <a:pt x="65" y="17"/>
                    <a:pt x="65" y="16"/>
                    <a:pt x="66" y="14"/>
                  </a:cubicBezTo>
                  <a:cubicBezTo>
                    <a:pt x="64" y="13"/>
                    <a:pt x="62" y="12"/>
                    <a:pt x="60" y="11"/>
                  </a:cubicBezTo>
                  <a:cubicBezTo>
                    <a:pt x="57" y="8"/>
                    <a:pt x="52" y="4"/>
                    <a:pt x="49" y="5"/>
                  </a:cubicBezTo>
                  <a:cubicBezTo>
                    <a:pt x="47" y="6"/>
                    <a:pt x="47" y="1"/>
                    <a:pt x="43" y="2"/>
                  </a:cubicBezTo>
                  <a:cubicBezTo>
                    <a:pt x="39" y="4"/>
                    <a:pt x="32" y="2"/>
                    <a:pt x="29" y="2"/>
                  </a:cubicBezTo>
                  <a:cubicBezTo>
                    <a:pt x="25" y="2"/>
                    <a:pt x="16" y="0"/>
                    <a:pt x="12" y="2"/>
                  </a:cubicBezTo>
                  <a:cubicBezTo>
                    <a:pt x="10" y="4"/>
                    <a:pt x="7" y="5"/>
                    <a:pt x="3" y="5"/>
                  </a:cubicBezTo>
                  <a:cubicBezTo>
                    <a:pt x="6" y="9"/>
                    <a:pt x="5" y="14"/>
                    <a:pt x="2" y="17"/>
                  </a:cubicBezTo>
                  <a:cubicBezTo>
                    <a:pt x="0" y="19"/>
                    <a:pt x="1" y="19"/>
                    <a:pt x="3" y="20"/>
                  </a:cubicBezTo>
                  <a:cubicBezTo>
                    <a:pt x="5" y="20"/>
                    <a:pt x="9" y="19"/>
                    <a:pt x="10" y="2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464676" y="2831902"/>
              <a:ext cx="115617" cy="66338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40" y="9"/>
                </a:cxn>
                <a:cxn ang="0">
                  <a:pos x="40" y="4"/>
                </a:cxn>
                <a:cxn ang="0">
                  <a:pos x="33" y="1"/>
                </a:cxn>
                <a:cxn ang="0">
                  <a:pos x="26" y="2"/>
                </a:cxn>
                <a:cxn ang="0">
                  <a:pos x="16" y="2"/>
                </a:cxn>
                <a:cxn ang="0">
                  <a:pos x="15" y="4"/>
                </a:cxn>
                <a:cxn ang="0">
                  <a:pos x="9" y="8"/>
                </a:cxn>
                <a:cxn ang="0">
                  <a:pos x="2" y="17"/>
                </a:cxn>
                <a:cxn ang="0">
                  <a:pos x="3" y="21"/>
                </a:cxn>
                <a:cxn ang="0">
                  <a:pos x="8" y="22"/>
                </a:cxn>
                <a:cxn ang="0">
                  <a:pos x="10" y="27"/>
                </a:cxn>
                <a:cxn ang="0">
                  <a:pos x="10" y="27"/>
                </a:cxn>
                <a:cxn ang="0">
                  <a:pos x="20" y="27"/>
                </a:cxn>
                <a:cxn ang="0">
                  <a:pos x="25" y="19"/>
                </a:cxn>
                <a:cxn ang="0">
                  <a:pos x="32" y="26"/>
                </a:cxn>
                <a:cxn ang="0">
                  <a:pos x="35" y="22"/>
                </a:cxn>
                <a:cxn ang="0">
                  <a:pos x="39" y="20"/>
                </a:cxn>
                <a:cxn ang="0">
                  <a:pos x="44" y="19"/>
                </a:cxn>
                <a:cxn ang="0">
                  <a:pos x="47" y="17"/>
                </a:cxn>
                <a:cxn ang="0">
                  <a:pos x="49" y="15"/>
                </a:cxn>
                <a:cxn ang="0">
                  <a:pos x="51" y="12"/>
                </a:cxn>
                <a:cxn ang="0">
                  <a:pos x="46" y="12"/>
                </a:cxn>
              </a:cxnLst>
              <a:rect l="0" t="0" r="r" b="b"/>
              <a:pathLst>
                <a:path w="51" h="29">
                  <a:moveTo>
                    <a:pt x="46" y="12"/>
                  </a:moveTo>
                  <a:cubicBezTo>
                    <a:pt x="43" y="13"/>
                    <a:pt x="40" y="10"/>
                    <a:pt x="40" y="9"/>
                  </a:cubicBezTo>
                  <a:cubicBezTo>
                    <a:pt x="40" y="8"/>
                    <a:pt x="39" y="6"/>
                    <a:pt x="40" y="4"/>
                  </a:cubicBezTo>
                  <a:cubicBezTo>
                    <a:pt x="38" y="3"/>
                    <a:pt x="35" y="2"/>
                    <a:pt x="33" y="1"/>
                  </a:cubicBezTo>
                  <a:cubicBezTo>
                    <a:pt x="30" y="0"/>
                    <a:pt x="28" y="0"/>
                    <a:pt x="26" y="2"/>
                  </a:cubicBezTo>
                  <a:cubicBezTo>
                    <a:pt x="24" y="2"/>
                    <a:pt x="19" y="2"/>
                    <a:pt x="16" y="2"/>
                  </a:cubicBezTo>
                  <a:cubicBezTo>
                    <a:pt x="16" y="3"/>
                    <a:pt x="15" y="4"/>
                    <a:pt x="15" y="4"/>
                  </a:cubicBezTo>
                  <a:cubicBezTo>
                    <a:pt x="12" y="4"/>
                    <a:pt x="9" y="6"/>
                    <a:pt x="9" y="8"/>
                  </a:cubicBezTo>
                  <a:cubicBezTo>
                    <a:pt x="8" y="11"/>
                    <a:pt x="3" y="13"/>
                    <a:pt x="2" y="17"/>
                  </a:cubicBezTo>
                  <a:cubicBezTo>
                    <a:pt x="0" y="22"/>
                    <a:pt x="1" y="24"/>
                    <a:pt x="3" y="21"/>
                  </a:cubicBezTo>
                  <a:cubicBezTo>
                    <a:pt x="5" y="18"/>
                    <a:pt x="8" y="19"/>
                    <a:pt x="8" y="22"/>
                  </a:cubicBezTo>
                  <a:cubicBezTo>
                    <a:pt x="8" y="24"/>
                    <a:pt x="11" y="24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3" y="27"/>
                    <a:pt x="18" y="27"/>
                    <a:pt x="20" y="27"/>
                  </a:cubicBezTo>
                  <a:cubicBezTo>
                    <a:pt x="22" y="27"/>
                    <a:pt x="24" y="19"/>
                    <a:pt x="25" y="19"/>
                  </a:cubicBezTo>
                  <a:cubicBezTo>
                    <a:pt x="26" y="18"/>
                    <a:pt x="29" y="24"/>
                    <a:pt x="32" y="26"/>
                  </a:cubicBezTo>
                  <a:cubicBezTo>
                    <a:pt x="34" y="29"/>
                    <a:pt x="35" y="24"/>
                    <a:pt x="35" y="22"/>
                  </a:cubicBezTo>
                  <a:cubicBezTo>
                    <a:pt x="35" y="20"/>
                    <a:pt x="37" y="20"/>
                    <a:pt x="39" y="20"/>
                  </a:cubicBezTo>
                  <a:cubicBezTo>
                    <a:pt x="40" y="20"/>
                    <a:pt x="44" y="21"/>
                    <a:pt x="44" y="19"/>
                  </a:cubicBezTo>
                  <a:cubicBezTo>
                    <a:pt x="44" y="16"/>
                    <a:pt x="46" y="17"/>
                    <a:pt x="47" y="17"/>
                  </a:cubicBezTo>
                  <a:cubicBezTo>
                    <a:pt x="49" y="17"/>
                    <a:pt x="49" y="15"/>
                    <a:pt x="49" y="15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49" y="12"/>
                    <a:pt x="47" y="11"/>
                    <a:pt x="46" y="1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462781" y="2587402"/>
              <a:ext cx="229338" cy="261558"/>
            </a:xfrm>
            <a:custGeom>
              <a:avLst/>
              <a:gdLst/>
              <a:ahLst/>
              <a:cxnLst>
                <a:cxn ang="0">
                  <a:pos x="13" y="29"/>
                </a:cxn>
                <a:cxn ang="0">
                  <a:pos x="7" y="35"/>
                </a:cxn>
                <a:cxn ang="0">
                  <a:pos x="11" y="41"/>
                </a:cxn>
                <a:cxn ang="0">
                  <a:pos x="9" y="44"/>
                </a:cxn>
                <a:cxn ang="0">
                  <a:pos x="2" y="47"/>
                </a:cxn>
                <a:cxn ang="0">
                  <a:pos x="2" y="53"/>
                </a:cxn>
                <a:cxn ang="0">
                  <a:pos x="0" y="62"/>
                </a:cxn>
                <a:cxn ang="0">
                  <a:pos x="3" y="69"/>
                </a:cxn>
                <a:cxn ang="0">
                  <a:pos x="1" y="73"/>
                </a:cxn>
                <a:cxn ang="0">
                  <a:pos x="5" y="82"/>
                </a:cxn>
                <a:cxn ang="0">
                  <a:pos x="7" y="84"/>
                </a:cxn>
                <a:cxn ang="0">
                  <a:pos x="14" y="87"/>
                </a:cxn>
                <a:cxn ang="0">
                  <a:pos x="20" y="89"/>
                </a:cxn>
                <a:cxn ang="0">
                  <a:pos x="23" y="93"/>
                </a:cxn>
                <a:cxn ang="0">
                  <a:pos x="18" y="102"/>
                </a:cxn>
                <a:cxn ang="0">
                  <a:pos x="17" y="109"/>
                </a:cxn>
                <a:cxn ang="0">
                  <a:pos x="27" y="109"/>
                </a:cxn>
                <a:cxn ang="0">
                  <a:pos x="34" y="108"/>
                </a:cxn>
                <a:cxn ang="0">
                  <a:pos x="41" y="111"/>
                </a:cxn>
                <a:cxn ang="0">
                  <a:pos x="42" y="110"/>
                </a:cxn>
                <a:cxn ang="0">
                  <a:pos x="49" y="112"/>
                </a:cxn>
                <a:cxn ang="0">
                  <a:pos x="55" y="111"/>
                </a:cxn>
                <a:cxn ang="0">
                  <a:pos x="62" y="110"/>
                </a:cxn>
                <a:cxn ang="0">
                  <a:pos x="73" y="108"/>
                </a:cxn>
                <a:cxn ang="0">
                  <a:pos x="78" y="105"/>
                </a:cxn>
                <a:cxn ang="0">
                  <a:pos x="82" y="98"/>
                </a:cxn>
                <a:cxn ang="0">
                  <a:pos x="89" y="93"/>
                </a:cxn>
                <a:cxn ang="0">
                  <a:pos x="77" y="84"/>
                </a:cxn>
                <a:cxn ang="0">
                  <a:pos x="73" y="74"/>
                </a:cxn>
                <a:cxn ang="0">
                  <a:pos x="72" y="68"/>
                </a:cxn>
                <a:cxn ang="0">
                  <a:pos x="84" y="64"/>
                </a:cxn>
                <a:cxn ang="0">
                  <a:pos x="93" y="60"/>
                </a:cxn>
                <a:cxn ang="0">
                  <a:pos x="99" y="59"/>
                </a:cxn>
                <a:cxn ang="0">
                  <a:pos x="100" y="53"/>
                </a:cxn>
                <a:cxn ang="0">
                  <a:pos x="97" y="44"/>
                </a:cxn>
                <a:cxn ang="0">
                  <a:pos x="95" y="38"/>
                </a:cxn>
                <a:cxn ang="0">
                  <a:pos x="93" y="33"/>
                </a:cxn>
                <a:cxn ang="0">
                  <a:pos x="92" y="28"/>
                </a:cxn>
                <a:cxn ang="0">
                  <a:pos x="92" y="16"/>
                </a:cxn>
                <a:cxn ang="0">
                  <a:pos x="92" y="15"/>
                </a:cxn>
                <a:cxn ang="0">
                  <a:pos x="91" y="14"/>
                </a:cxn>
                <a:cxn ang="0">
                  <a:pos x="85" y="10"/>
                </a:cxn>
                <a:cxn ang="0">
                  <a:pos x="86" y="3"/>
                </a:cxn>
                <a:cxn ang="0">
                  <a:pos x="76" y="6"/>
                </a:cxn>
                <a:cxn ang="0">
                  <a:pos x="63" y="13"/>
                </a:cxn>
                <a:cxn ang="0">
                  <a:pos x="57" y="9"/>
                </a:cxn>
                <a:cxn ang="0">
                  <a:pos x="53" y="7"/>
                </a:cxn>
                <a:cxn ang="0">
                  <a:pos x="45" y="3"/>
                </a:cxn>
                <a:cxn ang="0">
                  <a:pos x="44" y="0"/>
                </a:cxn>
                <a:cxn ang="0">
                  <a:pos x="40" y="1"/>
                </a:cxn>
                <a:cxn ang="0">
                  <a:pos x="30" y="0"/>
                </a:cxn>
                <a:cxn ang="0">
                  <a:pos x="32" y="5"/>
                </a:cxn>
                <a:cxn ang="0">
                  <a:pos x="35" y="15"/>
                </a:cxn>
                <a:cxn ang="0">
                  <a:pos x="30" y="19"/>
                </a:cxn>
                <a:cxn ang="0">
                  <a:pos x="22" y="18"/>
                </a:cxn>
                <a:cxn ang="0">
                  <a:pos x="13" y="19"/>
                </a:cxn>
                <a:cxn ang="0">
                  <a:pos x="13" y="22"/>
                </a:cxn>
                <a:cxn ang="0">
                  <a:pos x="13" y="29"/>
                </a:cxn>
              </a:cxnLst>
              <a:rect l="0" t="0" r="r" b="b"/>
              <a:pathLst>
                <a:path w="101" h="114">
                  <a:moveTo>
                    <a:pt x="13" y="29"/>
                  </a:moveTo>
                  <a:cubicBezTo>
                    <a:pt x="10" y="33"/>
                    <a:pt x="7" y="34"/>
                    <a:pt x="7" y="35"/>
                  </a:cubicBezTo>
                  <a:cubicBezTo>
                    <a:pt x="8" y="36"/>
                    <a:pt x="12" y="39"/>
                    <a:pt x="11" y="41"/>
                  </a:cubicBezTo>
                  <a:cubicBezTo>
                    <a:pt x="10" y="42"/>
                    <a:pt x="9" y="41"/>
                    <a:pt x="9" y="44"/>
                  </a:cubicBezTo>
                  <a:cubicBezTo>
                    <a:pt x="9" y="47"/>
                    <a:pt x="4" y="47"/>
                    <a:pt x="2" y="47"/>
                  </a:cubicBezTo>
                  <a:cubicBezTo>
                    <a:pt x="1" y="47"/>
                    <a:pt x="3" y="50"/>
                    <a:pt x="2" y="53"/>
                  </a:cubicBezTo>
                  <a:cubicBezTo>
                    <a:pt x="1" y="55"/>
                    <a:pt x="1" y="60"/>
                    <a:pt x="0" y="62"/>
                  </a:cubicBezTo>
                  <a:cubicBezTo>
                    <a:pt x="0" y="64"/>
                    <a:pt x="4" y="67"/>
                    <a:pt x="3" y="69"/>
                  </a:cubicBezTo>
                  <a:cubicBezTo>
                    <a:pt x="3" y="70"/>
                    <a:pt x="0" y="72"/>
                    <a:pt x="1" y="73"/>
                  </a:cubicBezTo>
                  <a:cubicBezTo>
                    <a:pt x="2" y="74"/>
                    <a:pt x="4" y="76"/>
                    <a:pt x="5" y="82"/>
                  </a:cubicBezTo>
                  <a:cubicBezTo>
                    <a:pt x="6" y="83"/>
                    <a:pt x="7" y="83"/>
                    <a:pt x="7" y="84"/>
                  </a:cubicBezTo>
                  <a:cubicBezTo>
                    <a:pt x="9" y="86"/>
                    <a:pt x="11" y="87"/>
                    <a:pt x="14" y="87"/>
                  </a:cubicBezTo>
                  <a:cubicBezTo>
                    <a:pt x="18" y="87"/>
                    <a:pt x="19" y="89"/>
                    <a:pt x="20" y="89"/>
                  </a:cubicBezTo>
                  <a:cubicBezTo>
                    <a:pt x="22" y="89"/>
                    <a:pt x="26" y="90"/>
                    <a:pt x="23" y="93"/>
                  </a:cubicBezTo>
                  <a:cubicBezTo>
                    <a:pt x="19" y="96"/>
                    <a:pt x="19" y="99"/>
                    <a:pt x="18" y="102"/>
                  </a:cubicBezTo>
                  <a:cubicBezTo>
                    <a:pt x="18" y="104"/>
                    <a:pt x="18" y="107"/>
                    <a:pt x="17" y="109"/>
                  </a:cubicBezTo>
                  <a:cubicBezTo>
                    <a:pt x="20" y="109"/>
                    <a:pt x="25" y="109"/>
                    <a:pt x="27" y="109"/>
                  </a:cubicBezTo>
                  <a:cubicBezTo>
                    <a:pt x="29" y="107"/>
                    <a:pt x="31" y="107"/>
                    <a:pt x="34" y="108"/>
                  </a:cubicBezTo>
                  <a:cubicBezTo>
                    <a:pt x="36" y="109"/>
                    <a:pt x="39" y="110"/>
                    <a:pt x="41" y="111"/>
                  </a:cubicBezTo>
                  <a:cubicBezTo>
                    <a:pt x="41" y="110"/>
                    <a:pt x="41" y="110"/>
                    <a:pt x="42" y="110"/>
                  </a:cubicBezTo>
                  <a:cubicBezTo>
                    <a:pt x="44" y="110"/>
                    <a:pt x="47" y="114"/>
                    <a:pt x="49" y="112"/>
                  </a:cubicBezTo>
                  <a:cubicBezTo>
                    <a:pt x="50" y="109"/>
                    <a:pt x="54" y="110"/>
                    <a:pt x="55" y="111"/>
                  </a:cubicBezTo>
                  <a:cubicBezTo>
                    <a:pt x="57" y="112"/>
                    <a:pt x="60" y="112"/>
                    <a:pt x="62" y="110"/>
                  </a:cubicBezTo>
                  <a:cubicBezTo>
                    <a:pt x="64" y="108"/>
                    <a:pt x="72" y="107"/>
                    <a:pt x="73" y="108"/>
                  </a:cubicBezTo>
                  <a:cubicBezTo>
                    <a:pt x="75" y="109"/>
                    <a:pt x="80" y="111"/>
                    <a:pt x="78" y="105"/>
                  </a:cubicBezTo>
                  <a:cubicBezTo>
                    <a:pt x="76" y="99"/>
                    <a:pt x="82" y="100"/>
                    <a:pt x="82" y="98"/>
                  </a:cubicBezTo>
                  <a:cubicBezTo>
                    <a:pt x="83" y="95"/>
                    <a:pt x="90" y="94"/>
                    <a:pt x="89" y="93"/>
                  </a:cubicBezTo>
                  <a:cubicBezTo>
                    <a:pt x="88" y="91"/>
                    <a:pt x="79" y="86"/>
                    <a:pt x="77" y="84"/>
                  </a:cubicBezTo>
                  <a:cubicBezTo>
                    <a:pt x="74" y="82"/>
                    <a:pt x="74" y="77"/>
                    <a:pt x="73" y="74"/>
                  </a:cubicBezTo>
                  <a:cubicBezTo>
                    <a:pt x="72" y="72"/>
                    <a:pt x="69" y="69"/>
                    <a:pt x="72" y="68"/>
                  </a:cubicBezTo>
                  <a:cubicBezTo>
                    <a:pt x="76" y="68"/>
                    <a:pt x="81" y="66"/>
                    <a:pt x="84" y="64"/>
                  </a:cubicBezTo>
                  <a:cubicBezTo>
                    <a:pt x="87" y="61"/>
                    <a:pt x="92" y="61"/>
                    <a:pt x="93" y="60"/>
                  </a:cubicBezTo>
                  <a:cubicBezTo>
                    <a:pt x="95" y="58"/>
                    <a:pt x="98" y="61"/>
                    <a:pt x="99" y="59"/>
                  </a:cubicBezTo>
                  <a:cubicBezTo>
                    <a:pt x="100" y="58"/>
                    <a:pt x="101" y="55"/>
                    <a:pt x="100" y="53"/>
                  </a:cubicBezTo>
                  <a:cubicBezTo>
                    <a:pt x="98" y="51"/>
                    <a:pt x="97" y="48"/>
                    <a:pt x="97" y="44"/>
                  </a:cubicBezTo>
                  <a:cubicBezTo>
                    <a:pt x="97" y="40"/>
                    <a:pt x="95" y="40"/>
                    <a:pt x="95" y="38"/>
                  </a:cubicBezTo>
                  <a:cubicBezTo>
                    <a:pt x="95" y="36"/>
                    <a:pt x="95" y="34"/>
                    <a:pt x="93" y="33"/>
                  </a:cubicBezTo>
                  <a:cubicBezTo>
                    <a:pt x="91" y="32"/>
                    <a:pt x="90" y="31"/>
                    <a:pt x="92" y="28"/>
                  </a:cubicBezTo>
                  <a:cubicBezTo>
                    <a:pt x="94" y="25"/>
                    <a:pt x="93" y="18"/>
                    <a:pt x="92" y="16"/>
                  </a:cubicBezTo>
                  <a:cubicBezTo>
                    <a:pt x="92" y="16"/>
                    <a:pt x="92" y="15"/>
                    <a:pt x="92" y="15"/>
                  </a:cubicBezTo>
                  <a:cubicBezTo>
                    <a:pt x="92" y="15"/>
                    <a:pt x="91" y="14"/>
                    <a:pt x="91" y="14"/>
                  </a:cubicBezTo>
                  <a:cubicBezTo>
                    <a:pt x="91" y="11"/>
                    <a:pt x="89" y="10"/>
                    <a:pt x="85" y="10"/>
                  </a:cubicBezTo>
                  <a:cubicBezTo>
                    <a:pt x="80" y="10"/>
                    <a:pt x="87" y="6"/>
                    <a:pt x="86" y="3"/>
                  </a:cubicBezTo>
                  <a:cubicBezTo>
                    <a:pt x="84" y="1"/>
                    <a:pt x="80" y="7"/>
                    <a:pt x="76" y="6"/>
                  </a:cubicBezTo>
                  <a:cubicBezTo>
                    <a:pt x="72" y="5"/>
                    <a:pt x="67" y="11"/>
                    <a:pt x="63" y="13"/>
                  </a:cubicBezTo>
                  <a:cubicBezTo>
                    <a:pt x="60" y="16"/>
                    <a:pt x="55" y="13"/>
                    <a:pt x="57" y="9"/>
                  </a:cubicBezTo>
                  <a:cubicBezTo>
                    <a:pt x="60" y="5"/>
                    <a:pt x="57" y="6"/>
                    <a:pt x="53" y="7"/>
                  </a:cubicBezTo>
                  <a:cubicBezTo>
                    <a:pt x="49" y="9"/>
                    <a:pt x="44" y="7"/>
                    <a:pt x="45" y="3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2" y="1"/>
                    <a:pt x="41" y="1"/>
                    <a:pt x="40" y="1"/>
                  </a:cubicBezTo>
                  <a:cubicBezTo>
                    <a:pt x="38" y="0"/>
                    <a:pt x="34" y="0"/>
                    <a:pt x="30" y="0"/>
                  </a:cubicBezTo>
                  <a:cubicBezTo>
                    <a:pt x="31" y="1"/>
                    <a:pt x="32" y="3"/>
                    <a:pt x="32" y="5"/>
                  </a:cubicBezTo>
                  <a:cubicBezTo>
                    <a:pt x="30" y="8"/>
                    <a:pt x="33" y="10"/>
                    <a:pt x="35" y="15"/>
                  </a:cubicBezTo>
                  <a:cubicBezTo>
                    <a:pt x="37" y="19"/>
                    <a:pt x="30" y="16"/>
                    <a:pt x="30" y="19"/>
                  </a:cubicBezTo>
                  <a:cubicBezTo>
                    <a:pt x="30" y="22"/>
                    <a:pt x="24" y="19"/>
                    <a:pt x="22" y="18"/>
                  </a:cubicBezTo>
                  <a:cubicBezTo>
                    <a:pt x="20" y="17"/>
                    <a:pt x="13" y="18"/>
                    <a:pt x="13" y="19"/>
                  </a:cubicBezTo>
                  <a:cubicBezTo>
                    <a:pt x="13" y="20"/>
                    <a:pt x="13" y="21"/>
                    <a:pt x="13" y="22"/>
                  </a:cubicBezTo>
                  <a:cubicBezTo>
                    <a:pt x="14" y="25"/>
                    <a:pt x="14" y="28"/>
                    <a:pt x="13" y="2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838060" y="1963834"/>
              <a:ext cx="269139" cy="430244"/>
            </a:xfrm>
            <a:custGeom>
              <a:avLst/>
              <a:gdLst/>
              <a:ahLst/>
              <a:cxnLst>
                <a:cxn ang="0">
                  <a:pos x="100" y="158"/>
                </a:cxn>
                <a:cxn ang="0">
                  <a:pos x="117" y="142"/>
                </a:cxn>
                <a:cxn ang="0">
                  <a:pos x="114" y="133"/>
                </a:cxn>
                <a:cxn ang="0">
                  <a:pos x="100" y="122"/>
                </a:cxn>
                <a:cxn ang="0">
                  <a:pos x="107" y="116"/>
                </a:cxn>
                <a:cxn ang="0">
                  <a:pos x="101" y="110"/>
                </a:cxn>
                <a:cxn ang="0">
                  <a:pos x="102" y="104"/>
                </a:cxn>
                <a:cxn ang="0">
                  <a:pos x="97" y="101"/>
                </a:cxn>
                <a:cxn ang="0">
                  <a:pos x="99" y="97"/>
                </a:cxn>
                <a:cxn ang="0">
                  <a:pos x="98" y="89"/>
                </a:cxn>
                <a:cxn ang="0">
                  <a:pos x="101" y="82"/>
                </a:cxn>
                <a:cxn ang="0">
                  <a:pos x="91" y="65"/>
                </a:cxn>
                <a:cxn ang="0">
                  <a:pos x="94" y="58"/>
                </a:cxn>
                <a:cxn ang="0">
                  <a:pos x="101" y="50"/>
                </a:cxn>
                <a:cxn ang="0">
                  <a:pos x="93" y="42"/>
                </a:cxn>
                <a:cxn ang="0">
                  <a:pos x="86" y="38"/>
                </a:cxn>
                <a:cxn ang="0">
                  <a:pos x="84" y="31"/>
                </a:cxn>
                <a:cxn ang="0">
                  <a:pos x="86" y="25"/>
                </a:cxn>
                <a:cxn ang="0">
                  <a:pos x="90" y="22"/>
                </a:cxn>
                <a:cxn ang="0">
                  <a:pos x="93" y="18"/>
                </a:cxn>
                <a:cxn ang="0">
                  <a:pos x="93" y="11"/>
                </a:cxn>
                <a:cxn ang="0">
                  <a:pos x="81" y="3"/>
                </a:cxn>
                <a:cxn ang="0">
                  <a:pos x="72" y="3"/>
                </a:cxn>
                <a:cxn ang="0">
                  <a:pos x="61" y="6"/>
                </a:cxn>
                <a:cxn ang="0">
                  <a:pos x="54" y="14"/>
                </a:cxn>
                <a:cxn ang="0">
                  <a:pos x="52" y="23"/>
                </a:cxn>
                <a:cxn ang="0">
                  <a:pos x="47" y="30"/>
                </a:cxn>
                <a:cxn ang="0">
                  <a:pos x="40" y="28"/>
                </a:cxn>
                <a:cxn ang="0">
                  <a:pos x="32" y="28"/>
                </a:cxn>
                <a:cxn ang="0">
                  <a:pos x="19" y="27"/>
                </a:cxn>
                <a:cxn ang="0">
                  <a:pos x="7" y="18"/>
                </a:cxn>
                <a:cxn ang="0">
                  <a:pos x="0" y="23"/>
                </a:cxn>
                <a:cxn ang="0">
                  <a:pos x="12" y="32"/>
                </a:cxn>
                <a:cxn ang="0">
                  <a:pos x="28" y="42"/>
                </a:cxn>
                <a:cxn ang="0">
                  <a:pos x="29" y="53"/>
                </a:cxn>
                <a:cxn ang="0">
                  <a:pos x="31" y="63"/>
                </a:cxn>
                <a:cxn ang="0">
                  <a:pos x="31" y="73"/>
                </a:cxn>
                <a:cxn ang="0">
                  <a:pos x="33" y="78"/>
                </a:cxn>
                <a:cxn ang="0">
                  <a:pos x="34" y="84"/>
                </a:cxn>
                <a:cxn ang="0">
                  <a:pos x="44" y="88"/>
                </a:cxn>
                <a:cxn ang="0">
                  <a:pos x="48" y="96"/>
                </a:cxn>
                <a:cxn ang="0">
                  <a:pos x="46" y="100"/>
                </a:cxn>
                <a:cxn ang="0">
                  <a:pos x="39" y="105"/>
                </a:cxn>
                <a:cxn ang="0">
                  <a:pos x="28" y="117"/>
                </a:cxn>
                <a:cxn ang="0">
                  <a:pos x="21" y="122"/>
                </a:cxn>
                <a:cxn ang="0">
                  <a:pos x="15" y="128"/>
                </a:cxn>
                <a:cxn ang="0">
                  <a:pos x="7" y="132"/>
                </a:cxn>
                <a:cxn ang="0">
                  <a:pos x="2" y="139"/>
                </a:cxn>
                <a:cxn ang="0">
                  <a:pos x="3" y="146"/>
                </a:cxn>
                <a:cxn ang="0">
                  <a:pos x="4" y="153"/>
                </a:cxn>
                <a:cxn ang="0">
                  <a:pos x="6" y="166"/>
                </a:cxn>
                <a:cxn ang="0">
                  <a:pos x="3" y="178"/>
                </a:cxn>
                <a:cxn ang="0">
                  <a:pos x="13" y="182"/>
                </a:cxn>
                <a:cxn ang="0">
                  <a:pos x="20" y="186"/>
                </a:cxn>
                <a:cxn ang="0">
                  <a:pos x="33" y="188"/>
                </a:cxn>
                <a:cxn ang="0">
                  <a:pos x="68" y="180"/>
                </a:cxn>
                <a:cxn ang="0">
                  <a:pos x="78" y="179"/>
                </a:cxn>
                <a:cxn ang="0">
                  <a:pos x="83" y="172"/>
                </a:cxn>
                <a:cxn ang="0">
                  <a:pos x="100" y="158"/>
                </a:cxn>
              </a:cxnLst>
              <a:rect l="0" t="0" r="r" b="b"/>
              <a:pathLst>
                <a:path w="118" h="189">
                  <a:moveTo>
                    <a:pt x="100" y="158"/>
                  </a:moveTo>
                  <a:cubicBezTo>
                    <a:pt x="103" y="152"/>
                    <a:pt x="115" y="148"/>
                    <a:pt x="117" y="142"/>
                  </a:cubicBezTo>
                  <a:cubicBezTo>
                    <a:pt x="118" y="140"/>
                    <a:pt x="118" y="138"/>
                    <a:pt x="114" y="133"/>
                  </a:cubicBezTo>
                  <a:cubicBezTo>
                    <a:pt x="110" y="128"/>
                    <a:pt x="100" y="125"/>
                    <a:pt x="100" y="122"/>
                  </a:cubicBezTo>
                  <a:cubicBezTo>
                    <a:pt x="99" y="120"/>
                    <a:pt x="107" y="119"/>
                    <a:pt x="107" y="116"/>
                  </a:cubicBezTo>
                  <a:cubicBezTo>
                    <a:pt x="106" y="113"/>
                    <a:pt x="102" y="113"/>
                    <a:pt x="101" y="110"/>
                  </a:cubicBezTo>
                  <a:cubicBezTo>
                    <a:pt x="99" y="107"/>
                    <a:pt x="103" y="106"/>
                    <a:pt x="102" y="104"/>
                  </a:cubicBezTo>
                  <a:cubicBezTo>
                    <a:pt x="102" y="103"/>
                    <a:pt x="97" y="102"/>
                    <a:pt x="97" y="101"/>
                  </a:cubicBezTo>
                  <a:cubicBezTo>
                    <a:pt x="96" y="99"/>
                    <a:pt x="100" y="99"/>
                    <a:pt x="99" y="97"/>
                  </a:cubicBezTo>
                  <a:cubicBezTo>
                    <a:pt x="99" y="95"/>
                    <a:pt x="95" y="92"/>
                    <a:pt x="98" y="89"/>
                  </a:cubicBezTo>
                  <a:cubicBezTo>
                    <a:pt x="100" y="86"/>
                    <a:pt x="105" y="89"/>
                    <a:pt x="101" y="82"/>
                  </a:cubicBezTo>
                  <a:cubicBezTo>
                    <a:pt x="98" y="75"/>
                    <a:pt x="92" y="67"/>
                    <a:pt x="91" y="65"/>
                  </a:cubicBezTo>
                  <a:cubicBezTo>
                    <a:pt x="89" y="63"/>
                    <a:pt x="92" y="60"/>
                    <a:pt x="94" y="58"/>
                  </a:cubicBezTo>
                  <a:cubicBezTo>
                    <a:pt x="96" y="57"/>
                    <a:pt x="101" y="52"/>
                    <a:pt x="101" y="50"/>
                  </a:cubicBezTo>
                  <a:cubicBezTo>
                    <a:pt x="101" y="48"/>
                    <a:pt x="95" y="43"/>
                    <a:pt x="93" y="42"/>
                  </a:cubicBezTo>
                  <a:cubicBezTo>
                    <a:pt x="91" y="41"/>
                    <a:pt x="88" y="41"/>
                    <a:pt x="86" y="38"/>
                  </a:cubicBezTo>
                  <a:cubicBezTo>
                    <a:pt x="84" y="34"/>
                    <a:pt x="83" y="33"/>
                    <a:pt x="84" y="31"/>
                  </a:cubicBezTo>
                  <a:cubicBezTo>
                    <a:pt x="86" y="29"/>
                    <a:pt x="86" y="27"/>
                    <a:pt x="86" y="25"/>
                  </a:cubicBezTo>
                  <a:cubicBezTo>
                    <a:pt x="86" y="23"/>
                    <a:pt x="90" y="25"/>
                    <a:pt x="90" y="22"/>
                  </a:cubicBezTo>
                  <a:cubicBezTo>
                    <a:pt x="91" y="20"/>
                    <a:pt x="92" y="19"/>
                    <a:pt x="93" y="18"/>
                  </a:cubicBezTo>
                  <a:cubicBezTo>
                    <a:pt x="93" y="15"/>
                    <a:pt x="93" y="13"/>
                    <a:pt x="93" y="11"/>
                  </a:cubicBezTo>
                  <a:cubicBezTo>
                    <a:pt x="92" y="8"/>
                    <a:pt x="83" y="7"/>
                    <a:pt x="81" y="3"/>
                  </a:cubicBezTo>
                  <a:cubicBezTo>
                    <a:pt x="79" y="0"/>
                    <a:pt x="74" y="1"/>
                    <a:pt x="72" y="3"/>
                  </a:cubicBezTo>
                  <a:cubicBezTo>
                    <a:pt x="70" y="6"/>
                    <a:pt x="61" y="3"/>
                    <a:pt x="61" y="6"/>
                  </a:cubicBezTo>
                  <a:cubicBezTo>
                    <a:pt x="61" y="9"/>
                    <a:pt x="54" y="10"/>
                    <a:pt x="54" y="14"/>
                  </a:cubicBezTo>
                  <a:cubicBezTo>
                    <a:pt x="54" y="17"/>
                    <a:pt x="57" y="24"/>
                    <a:pt x="52" y="23"/>
                  </a:cubicBezTo>
                  <a:cubicBezTo>
                    <a:pt x="46" y="23"/>
                    <a:pt x="50" y="25"/>
                    <a:pt x="47" y="30"/>
                  </a:cubicBezTo>
                  <a:cubicBezTo>
                    <a:pt x="44" y="34"/>
                    <a:pt x="44" y="27"/>
                    <a:pt x="40" y="28"/>
                  </a:cubicBezTo>
                  <a:cubicBezTo>
                    <a:pt x="37" y="29"/>
                    <a:pt x="33" y="25"/>
                    <a:pt x="32" y="28"/>
                  </a:cubicBezTo>
                  <a:cubicBezTo>
                    <a:pt x="30" y="30"/>
                    <a:pt x="25" y="28"/>
                    <a:pt x="19" y="27"/>
                  </a:cubicBezTo>
                  <a:cubicBezTo>
                    <a:pt x="14" y="26"/>
                    <a:pt x="11" y="18"/>
                    <a:pt x="7" y="18"/>
                  </a:cubicBezTo>
                  <a:cubicBezTo>
                    <a:pt x="4" y="18"/>
                    <a:pt x="1" y="20"/>
                    <a:pt x="0" y="23"/>
                  </a:cubicBezTo>
                  <a:cubicBezTo>
                    <a:pt x="4" y="26"/>
                    <a:pt x="7" y="30"/>
                    <a:pt x="12" y="32"/>
                  </a:cubicBezTo>
                  <a:cubicBezTo>
                    <a:pt x="18" y="35"/>
                    <a:pt x="29" y="38"/>
                    <a:pt x="28" y="42"/>
                  </a:cubicBezTo>
                  <a:cubicBezTo>
                    <a:pt x="28" y="46"/>
                    <a:pt x="26" y="51"/>
                    <a:pt x="29" y="53"/>
                  </a:cubicBezTo>
                  <a:cubicBezTo>
                    <a:pt x="31" y="54"/>
                    <a:pt x="28" y="61"/>
                    <a:pt x="31" y="63"/>
                  </a:cubicBezTo>
                  <a:cubicBezTo>
                    <a:pt x="34" y="64"/>
                    <a:pt x="33" y="73"/>
                    <a:pt x="31" y="73"/>
                  </a:cubicBezTo>
                  <a:cubicBezTo>
                    <a:pt x="28" y="73"/>
                    <a:pt x="31" y="77"/>
                    <a:pt x="33" y="78"/>
                  </a:cubicBezTo>
                  <a:cubicBezTo>
                    <a:pt x="34" y="79"/>
                    <a:pt x="34" y="81"/>
                    <a:pt x="34" y="84"/>
                  </a:cubicBezTo>
                  <a:cubicBezTo>
                    <a:pt x="38" y="85"/>
                    <a:pt x="41" y="86"/>
                    <a:pt x="44" y="88"/>
                  </a:cubicBezTo>
                  <a:cubicBezTo>
                    <a:pt x="48" y="90"/>
                    <a:pt x="47" y="93"/>
                    <a:pt x="48" y="96"/>
                  </a:cubicBezTo>
                  <a:cubicBezTo>
                    <a:pt x="48" y="100"/>
                    <a:pt x="48" y="102"/>
                    <a:pt x="46" y="100"/>
                  </a:cubicBezTo>
                  <a:cubicBezTo>
                    <a:pt x="43" y="99"/>
                    <a:pt x="41" y="100"/>
                    <a:pt x="39" y="105"/>
                  </a:cubicBezTo>
                  <a:cubicBezTo>
                    <a:pt x="38" y="110"/>
                    <a:pt x="32" y="116"/>
                    <a:pt x="28" y="117"/>
                  </a:cubicBezTo>
                  <a:cubicBezTo>
                    <a:pt x="24" y="117"/>
                    <a:pt x="24" y="121"/>
                    <a:pt x="21" y="122"/>
                  </a:cubicBezTo>
                  <a:cubicBezTo>
                    <a:pt x="18" y="123"/>
                    <a:pt x="15" y="125"/>
                    <a:pt x="15" y="128"/>
                  </a:cubicBezTo>
                  <a:cubicBezTo>
                    <a:pt x="15" y="132"/>
                    <a:pt x="11" y="132"/>
                    <a:pt x="7" y="132"/>
                  </a:cubicBezTo>
                  <a:cubicBezTo>
                    <a:pt x="4" y="132"/>
                    <a:pt x="5" y="138"/>
                    <a:pt x="2" y="139"/>
                  </a:cubicBezTo>
                  <a:cubicBezTo>
                    <a:pt x="0" y="141"/>
                    <a:pt x="0" y="143"/>
                    <a:pt x="3" y="146"/>
                  </a:cubicBezTo>
                  <a:cubicBezTo>
                    <a:pt x="5" y="149"/>
                    <a:pt x="3" y="151"/>
                    <a:pt x="4" y="153"/>
                  </a:cubicBezTo>
                  <a:cubicBezTo>
                    <a:pt x="5" y="156"/>
                    <a:pt x="8" y="161"/>
                    <a:pt x="6" y="166"/>
                  </a:cubicBezTo>
                  <a:cubicBezTo>
                    <a:pt x="3" y="172"/>
                    <a:pt x="1" y="178"/>
                    <a:pt x="3" y="178"/>
                  </a:cubicBezTo>
                  <a:cubicBezTo>
                    <a:pt x="5" y="177"/>
                    <a:pt x="10" y="182"/>
                    <a:pt x="13" y="182"/>
                  </a:cubicBezTo>
                  <a:cubicBezTo>
                    <a:pt x="17" y="182"/>
                    <a:pt x="17" y="187"/>
                    <a:pt x="20" y="186"/>
                  </a:cubicBezTo>
                  <a:cubicBezTo>
                    <a:pt x="23" y="185"/>
                    <a:pt x="23" y="189"/>
                    <a:pt x="33" y="188"/>
                  </a:cubicBezTo>
                  <a:cubicBezTo>
                    <a:pt x="42" y="188"/>
                    <a:pt x="60" y="180"/>
                    <a:pt x="68" y="180"/>
                  </a:cubicBezTo>
                  <a:cubicBezTo>
                    <a:pt x="72" y="180"/>
                    <a:pt x="75" y="180"/>
                    <a:pt x="78" y="179"/>
                  </a:cubicBezTo>
                  <a:cubicBezTo>
                    <a:pt x="79" y="177"/>
                    <a:pt x="81" y="174"/>
                    <a:pt x="83" y="172"/>
                  </a:cubicBezTo>
                  <a:cubicBezTo>
                    <a:pt x="88" y="168"/>
                    <a:pt x="98" y="164"/>
                    <a:pt x="100" y="15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83013" y="3311424"/>
              <a:ext cx="543965" cy="434035"/>
            </a:xfrm>
            <a:custGeom>
              <a:avLst/>
              <a:gdLst/>
              <a:ahLst/>
              <a:cxnLst>
                <a:cxn ang="0">
                  <a:pos x="142" y="40"/>
                </a:cxn>
                <a:cxn ang="0">
                  <a:pos x="122" y="38"/>
                </a:cxn>
                <a:cxn ang="0">
                  <a:pos x="109" y="33"/>
                </a:cxn>
                <a:cxn ang="0">
                  <a:pos x="82" y="13"/>
                </a:cxn>
                <a:cxn ang="0">
                  <a:pos x="59" y="0"/>
                </a:cxn>
                <a:cxn ang="0">
                  <a:pos x="50" y="0"/>
                </a:cxn>
                <a:cxn ang="0">
                  <a:pos x="38" y="4"/>
                </a:cxn>
                <a:cxn ang="0">
                  <a:pos x="27" y="11"/>
                </a:cxn>
                <a:cxn ang="0">
                  <a:pos x="36" y="21"/>
                </a:cxn>
                <a:cxn ang="0">
                  <a:pos x="29" y="26"/>
                </a:cxn>
                <a:cxn ang="0">
                  <a:pos x="22" y="29"/>
                </a:cxn>
                <a:cxn ang="0">
                  <a:pos x="13" y="36"/>
                </a:cxn>
                <a:cxn ang="0">
                  <a:pos x="2" y="31"/>
                </a:cxn>
                <a:cxn ang="0">
                  <a:pos x="1" y="34"/>
                </a:cxn>
                <a:cxn ang="0">
                  <a:pos x="0" y="37"/>
                </a:cxn>
                <a:cxn ang="0">
                  <a:pos x="2" y="50"/>
                </a:cxn>
                <a:cxn ang="0">
                  <a:pos x="11" y="61"/>
                </a:cxn>
                <a:cxn ang="0">
                  <a:pos x="28" y="87"/>
                </a:cxn>
                <a:cxn ang="0">
                  <a:pos x="36" y="99"/>
                </a:cxn>
                <a:cxn ang="0">
                  <a:pos x="47" y="112"/>
                </a:cxn>
                <a:cxn ang="0">
                  <a:pos x="49" y="124"/>
                </a:cxn>
                <a:cxn ang="0">
                  <a:pos x="59" y="143"/>
                </a:cxn>
                <a:cxn ang="0">
                  <a:pos x="72" y="158"/>
                </a:cxn>
                <a:cxn ang="0">
                  <a:pos x="82" y="175"/>
                </a:cxn>
                <a:cxn ang="0">
                  <a:pos x="86" y="184"/>
                </a:cxn>
                <a:cxn ang="0">
                  <a:pos x="89" y="190"/>
                </a:cxn>
                <a:cxn ang="0">
                  <a:pos x="95" y="188"/>
                </a:cxn>
                <a:cxn ang="0">
                  <a:pos x="94" y="181"/>
                </a:cxn>
                <a:cxn ang="0">
                  <a:pos x="99" y="177"/>
                </a:cxn>
                <a:cxn ang="0">
                  <a:pos x="107" y="179"/>
                </a:cxn>
                <a:cxn ang="0">
                  <a:pos x="121" y="180"/>
                </a:cxn>
                <a:cxn ang="0">
                  <a:pos x="137" y="182"/>
                </a:cxn>
                <a:cxn ang="0">
                  <a:pos x="145" y="179"/>
                </a:cxn>
                <a:cxn ang="0">
                  <a:pos x="162" y="164"/>
                </a:cxn>
                <a:cxn ang="0">
                  <a:pos x="184" y="163"/>
                </a:cxn>
                <a:cxn ang="0">
                  <a:pos x="230" y="148"/>
                </a:cxn>
                <a:cxn ang="0">
                  <a:pos x="238" y="125"/>
                </a:cxn>
                <a:cxn ang="0">
                  <a:pos x="232" y="117"/>
                </a:cxn>
                <a:cxn ang="0">
                  <a:pos x="203" y="113"/>
                </a:cxn>
                <a:cxn ang="0">
                  <a:pos x="195" y="101"/>
                </a:cxn>
                <a:cxn ang="0">
                  <a:pos x="190" y="94"/>
                </a:cxn>
                <a:cxn ang="0">
                  <a:pos x="181" y="88"/>
                </a:cxn>
                <a:cxn ang="0">
                  <a:pos x="175" y="76"/>
                </a:cxn>
                <a:cxn ang="0">
                  <a:pos x="170" y="63"/>
                </a:cxn>
                <a:cxn ang="0">
                  <a:pos x="158" y="50"/>
                </a:cxn>
                <a:cxn ang="0">
                  <a:pos x="157" y="45"/>
                </a:cxn>
                <a:cxn ang="0">
                  <a:pos x="148" y="45"/>
                </a:cxn>
                <a:cxn ang="0">
                  <a:pos x="142" y="40"/>
                </a:cxn>
              </a:cxnLst>
              <a:rect l="0" t="0" r="r" b="b"/>
              <a:pathLst>
                <a:path w="238" h="190">
                  <a:moveTo>
                    <a:pt x="142" y="40"/>
                  </a:moveTo>
                  <a:cubicBezTo>
                    <a:pt x="142" y="40"/>
                    <a:pt x="125" y="38"/>
                    <a:pt x="122" y="38"/>
                  </a:cubicBezTo>
                  <a:cubicBezTo>
                    <a:pt x="119" y="38"/>
                    <a:pt x="113" y="37"/>
                    <a:pt x="109" y="33"/>
                  </a:cubicBezTo>
                  <a:cubicBezTo>
                    <a:pt x="105" y="30"/>
                    <a:pt x="85" y="15"/>
                    <a:pt x="82" y="13"/>
                  </a:cubicBezTo>
                  <a:cubicBezTo>
                    <a:pt x="78" y="11"/>
                    <a:pt x="63" y="1"/>
                    <a:pt x="59" y="0"/>
                  </a:cubicBezTo>
                  <a:cubicBezTo>
                    <a:pt x="55" y="0"/>
                    <a:pt x="55" y="0"/>
                    <a:pt x="50" y="0"/>
                  </a:cubicBezTo>
                  <a:cubicBezTo>
                    <a:pt x="45" y="0"/>
                    <a:pt x="47" y="3"/>
                    <a:pt x="38" y="4"/>
                  </a:cubicBezTo>
                  <a:cubicBezTo>
                    <a:pt x="30" y="4"/>
                    <a:pt x="25" y="10"/>
                    <a:pt x="27" y="11"/>
                  </a:cubicBezTo>
                  <a:cubicBezTo>
                    <a:pt x="30" y="12"/>
                    <a:pt x="38" y="19"/>
                    <a:pt x="36" y="21"/>
                  </a:cubicBezTo>
                  <a:cubicBezTo>
                    <a:pt x="33" y="22"/>
                    <a:pt x="33" y="26"/>
                    <a:pt x="29" y="26"/>
                  </a:cubicBezTo>
                  <a:cubicBezTo>
                    <a:pt x="26" y="26"/>
                    <a:pt x="22" y="27"/>
                    <a:pt x="22" y="29"/>
                  </a:cubicBezTo>
                  <a:cubicBezTo>
                    <a:pt x="22" y="32"/>
                    <a:pt x="17" y="36"/>
                    <a:pt x="13" y="36"/>
                  </a:cubicBezTo>
                  <a:cubicBezTo>
                    <a:pt x="11" y="36"/>
                    <a:pt x="6" y="33"/>
                    <a:pt x="2" y="31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40"/>
                    <a:pt x="0" y="49"/>
                    <a:pt x="2" y="50"/>
                  </a:cubicBezTo>
                  <a:cubicBezTo>
                    <a:pt x="5" y="51"/>
                    <a:pt x="6" y="55"/>
                    <a:pt x="11" y="61"/>
                  </a:cubicBezTo>
                  <a:cubicBezTo>
                    <a:pt x="17" y="67"/>
                    <a:pt x="28" y="83"/>
                    <a:pt x="28" y="87"/>
                  </a:cubicBezTo>
                  <a:cubicBezTo>
                    <a:pt x="28" y="90"/>
                    <a:pt x="30" y="95"/>
                    <a:pt x="36" y="99"/>
                  </a:cubicBezTo>
                  <a:cubicBezTo>
                    <a:pt x="43" y="104"/>
                    <a:pt x="43" y="109"/>
                    <a:pt x="47" y="112"/>
                  </a:cubicBezTo>
                  <a:cubicBezTo>
                    <a:pt x="50" y="114"/>
                    <a:pt x="49" y="118"/>
                    <a:pt x="49" y="124"/>
                  </a:cubicBezTo>
                  <a:cubicBezTo>
                    <a:pt x="50" y="131"/>
                    <a:pt x="53" y="140"/>
                    <a:pt x="59" y="143"/>
                  </a:cubicBezTo>
                  <a:cubicBezTo>
                    <a:pt x="65" y="147"/>
                    <a:pt x="69" y="151"/>
                    <a:pt x="72" y="158"/>
                  </a:cubicBezTo>
                  <a:cubicBezTo>
                    <a:pt x="74" y="165"/>
                    <a:pt x="78" y="171"/>
                    <a:pt x="82" y="175"/>
                  </a:cubicBezTo>
                  <a:cubicBezTo>
                    <a:pt x="86" y="179"/>
                    <a:pt x="84" y="181"/>
                    <a:pt x="86" y="184"/>
                  </a:cubicBezTo>
                  <a:cubicBezTo>
                    <a:pt x="87" y="185"/>
                    <a:pt x="88" y="188"/>
                    <a:pt x="89" y="190"/>
                  </a:cubicBezTo>
                  <a:cubicBezTo>
                    <a:pt x="92" y="189"/>
                    <a:pt x="94" y="188"/>
                    <a:pt x="95" y="188"/>
                  </a:cubicBezTo>
                  <a:cubicBezTo>
                    <a:pt x="95" y="186"/>
                    <a:pt x="93" y="183"/>
                    <a:pt x="94" y="181"/>
                  </a:cubicBezTo>
                  <a:cubicBezTo>
                    <a:pt x="95" y="180"/>
                    <a:pt x="97" y="178"/>
                    <a:pt x="99" y="177"/>
                  </a:cubicBezTo>
                  <a:cubicBezTo>
                    <a:pt x="101" y="177"/>
                    <a:pt x="103" y="179"/>
                    <a:pt x="107" y="179"/>
                  </a:cubicBezTo>
                  <a:cubicBezTo>
                    <a:pt x="112" y="178"/>
                    <a:pt x="120" y="179"/>
                    <a:pt x="121" y="180"/>
                  </a:cubicBezTo>
                  <a:cubicBezTo>
                    <a:pt x="122" y="181"/>
                    <a:pt x="134" y="180"/>
                    <a:pt x="137" y="182"/>
                  </a:cubicBezTo>
                  <a:cubicBezTo>
                    <a:pt x="140" y="185"/>
                    <a:pt x="143" y="184"/>
                    <a:pt x="145" y="179"/>
                  </a:cubicBezTo>
                  <a:cubicBezTo>
                    <a:pt x="147" y="175"/>
                    <a:pt x="160" y="165"/>
                    <a:pt x="162" y="164"/>
                  </a:cubicBezTo>
                  <a:cubicBezTo>
                    <a:pt x="164" y="163"/>
                    <a:pt x="179" y="164"/>
                    <a:pt x="184" y="163"/>
                  </a:cubicBezTo>
                  <a:cubicBezTo>
                    <a:pt x="190" y="162"/>
                    <a:pt x="228" y="150"/>
                    <a:pt x="230" y="148"/>
                  </a:cubicBezTo>
                  <a:cubicBezTo>
                    <a:pt x="231" y="147"/>
                    <a:pt x="238" y="127"/>
                    <a:pt x="238" y="125"/>
                  </a:cubicBezTo>
                  <a:cubicBezTo>
                    <a:pt x="238" y="122"/>
                    <a:pt x="235" y="116"/>
                    <a:pt x="232" y="117"/>
                  </a:cubicBezTo>
                  <a:cubicBezTo>
                    <a:pt x="229" y="117"/>
                    <a:pt x="205" y="114"/>
                    <a:pt x="203" y="113"/>
                  </a:cubicBezTo>
                  <a:cubicBezTo>
                    <a:pt x="202" y="113"/>
                    <a:pt x="196" y="108"/>
                    <a:pt x="195" y="101"/>
                  </a:cubicBezTo>
                  <a:cubicBezTo>
                    <a:pt x="193" y="100"/>
                    <a:pt x="191" y="97"/>
                    <a:pt x="190" y="94"/>
                  </a:cubicBezTo>
                  <a:cubicBezTo>
                    <a:pt x="188" y="95"/>
                    <a:pt x="183" y="94"/>
                    <a:pt x="181" y="88"/>
                  </a:cubicBezTo>
                  <a:cubicBezTo>
                    <a:pt x="179" y="86"/>
                    <a:pt x="173" y="78"/>
                    <a:pt x="175" y="76"/>
                  </a:cubicBezTo>
                  <a:cubicBezTo>
                    <a:pt x="177" y="73"/>
                    <a:pt x="174" y="67"/>
                    <a:pt x="170" y="63"/>
                  </a:cubicBezTo>
                  <a:cubicBezTo>
                    <a:pt x="166" y="60"/>
                    <a:pt x="159" y="54"/>
                    <a:pt x="158" y="50"/>
                  </a:cubicBezTo>
                  <a:cubicBezTo>
                    <a:pt x="158" y="49"/>
                    <a:pt x="158" y="47"/>
                    <a:pt x="157" y="45"/>
                  </a:cubicBezTo>
                  <a:cubicBezTo>
                    <a:pt x="148" y="45"/>
                    <a:pt x="148" y="45"/>
                    <a:pt x="148" y="45"/>
                  </a:cubicBezTo>
                  <a:lnTo>
                    <a:pt x="142" y="4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628419" y="3510436"/>
              <a:ext cx="208488" cy="229337"/>
            </a:xfrm>
            <a:custGeom>
              <a:avLst/>
              <a:gdLst/>
              <a:ahLst/>
              <a:cxnLst>
                <a:cxn ang="0">
                  <a:pos x="45" y="3"/>
                </a:cxn>
                <a:cxn ang="0">
                  <a:pos x="45" y="11"/>
                </a:cxn>
                <a:cxn ang="0">
                  <a:pos x="38" y="20"/>
                </a:cxn>
                <a:cxn ang="0">
                  <a:pos x="35" y="30"/>
                </a:cxn>
                <a:cxn ang="0">
                  <a:pos x="37" y="30"/>
                </a:cxn>
                <a:cxn ang="0">
                  <a:pos x="43" y="38"/>
                </a:cxn>
                <a:cxn ang="0">
                  <a:pos x="35" y="61"/>
                </a:cxn>
                <a:cxn ang="0">
                  <a:pos x="0" y="73"/>
                </a:cxn>
                <a:cxn ang="0">
                  <a:pos x="14" y="101"/>
                </a:cxn>
                <a:cxn ang="0">
                  <a:pos x="17" y="100"/>
                </a:cxn>
                <a:cxn ang="0">
                  <a:pos x="35" y="97"/>
                </a:cxn>
                <a:cxn ang="0">
                  <a:pos x="40" y="88"/>
                </a:cxn>
                <a:cxn ang="0">
                  <a:pos x="52" y="86"/>
                </a:cxn>
                <a:cxn ang="0">
                  <a:pos x="59" y="76"/>
                </a:cxn>
                <a:cxn ang="0">
                  <a:pos x="67" y="72"/>
                </a:cxn>
                <a:cxn ang="0">
                  <a:pos x="70" y="57"/>
                </a:cxn>
                <a:cxn ang="0">
                  <a:pos x="80" y="51"/>
                </a:cxn>
                <a:cxn ang="0">
                  <a:pos x="89" y="37"/>
                </a:cxn>
                <a:cxn ang="0">
                  <a:pos x="88" y="31"/>
                </a:cxn>
                <a:cxn ang="0">
                  <a:pos x="79" y="19"/>
                </a:cxn>
                <a:cxn ang="0">
                  <a:pos x="60" y="12"/>
                </a:cxn>
                <a:cxn ang="0">
                  <a:pos x="54" y="0"/>
                </a:cxn>
                <a:cxn ang="0">
                  <a:pos x="50" y="3"/>
                </a:cxn>
                <a:cxn ang="0">
                  <a:pos x="45" y="3"/>
                </a:cxn>
              </a:cxnLst>
              <a:rect l="0" t="0" r="r" b="b"/>
              <a:pathLst>
                <a:path w="91" h="101">
                  <a:moveTo>
                    <a:pt x="45" y="3"/>
                  </a:moveTo>
                  <a:cubicBezTo>
                    <a:pt x="45" y="11"/>
                    <a:pt x="45" y="11"/>
                    <a:pt x="45" y="11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30"/>
                    <a:pt x="37" y="30"/>
                  </a:cubicBezTo>
                  <a:cubicBezTo>
                    <a:pt x="40" y="29"/>
                    <a:pt x="43" y="35"/>
                    <a:pt x="43" y="38"/>
                  </a:cubicBezTo>
                  <a:cubicBezTo>
                    <a:pt x="43" y="40"/>
                    <a:pt x="36" y="60"/>
                    <a:pt x="35" y="61"/>
                  </a:cubicBezTo>
                  <a:cubicBezTo>
                    <a:pt x="34" y="62"/>
                    <a:pt x="14" y="69"/>
                    <a:pt x="0" y="73"/>
                  </a:cubicBezTo>
                  <a:cubicBezTo>
                    <a:pt x="3" y="79"/>
                    <a:pt x="9" y="91"/>
                    <a:pt x="14" y="101"/>
                  </a:cubicBezTo>
                  <a:cubicBezTo>
                    <a:pt x="15" y="101"/>
                    <a:pt x="16" y="101"/>
                    <a:pt x="17" y="100"/>
                  </a:cubicBezTo>
                  <a:cubicBezTo>
                    <a:pt x="23" y="96"/>
                    <a:pt x="31" y="98"/>
                    <a:pt x="35" y="97"/>
                  </a:cubicBezTo>
                  <a:cubicBezTo>
                    <a:pt x="40" y="96"/>
                    <a:pt x="36" y="92"/>
                    <a:pt x="40" y="88"/>
                  </a:cubicBezTo>
                  <a:cubicBezTo>
                    <a:pt x="44" y="85"/>
                    <a:pt x="50" y="87"/>
                    <a:pt x="52" y="86"/>
                  </a:cubicBezTo>
                  <a:cubicBezTo>
                    <a:pt x="54" y="85"/>
                    <a:pt x="56" y="77"/>
                    <a:pt x="59" y="76"/>
                  </a:cubicBezTo>
                  <a:cubicBezTo>
                    <a:pt x="63" y="74"/>
                    <a:pt x="67" y="75"/>
                    <a:pt x="67" y="72"/>
                  </a:cubicBezTo>
                  <a:cubicBezTo>
                    <a:pt x="66" y="69"/>
                    <a:pt x="67" y="58"/>
                    <a:pt x="70" y="57"/>
                  </a:cubicBezTo>
                  <a:cubicBezTo>
                    <a:pt x="74" y="56"/>
                    <a:pt x="79" y="53"/>
                    <a:pt x="80" y="51"/>
                  </a:cubicBezTo>
                  <a:cubicBezTo>
                    <a:pt x="80" y="49"/>
                    <a:pt x="87" y="41"/>
                    <a:pt x="89" y="37"/>
                  </a:cubicBezTo>
                  <a:cubicBezTo>
                    <a:pt x="91" y="34"/>
                    <a:pt x="91" y="32"/>
                    <a:pt x="88" y="31"/>
                  </a:cubicBezTo>
                  <a:cubicBezTo>
                    <a:pt x="85" y="31"/>
                    <a:pt x="80" y="22"/>
                    <a:pt x="79" y="19"/>
                  </a:cubicBezTo>
                  <a:cubicBezTo>
                    <a:pt x="77" y="17"/>
                    <a:pt x="68" y="19"/>
                    <a:pt x="60" y="12"/>
                  </a:cubicBezTo>
                  <a:cubicBezTo>
                    <a:pt x="57" y="10"/>
                    <a:pt x="55" y="5"/>
                    <a:pt x="54" y="0"/>
                  </a:cubicBezTo>
                  <a:cubicBezTo>
                    <a:pt x="50" y="3"/>
                    <a:pt x="50" y="3"/>
                    <a:pt x="50" y="3"/>
                  </a:cubicBezTo>
                  <a:lnTo>
                    <a:pt x="45" y="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596198" y="3482006"/>
              <a:ext cx="30326" cy="45488"/>
            </a:xfrm>
            <a:custGeom>
              <a:avLst/>
              <a:gdLst/>
              <a:ahLst/>
              <a:cxnLst>
                <a:cxn ang="0">
                  <a:pos x="9" y="19"/>
                </a:cxn>
                <a:cxn ang="0">
                  <a:pos x="10" y="16"/>
                </a:cxn>
                <a:cxn ang="0">
                  <a:pos x="8" y="2"/>
                </a:cxn>
                <a:cxn ang="0">
                  <a:pos x="1" y="13"/>
                </a:cxn>
                <a:cxn ang="0">
                  <a:pos x="0" y="13"/>
                </a:cxn>
                <a:cxn ang="0">
                  <a:pos x="9" y="19"/>
                </a:cxn>
              </a:cxnLst>
              <a:rect l="0" t="0" r="r" b="b"/>
              <a:pathLst>
                <a:path w="13" h="20">
                  <a:moveTo>
                    <a:pt x="9" y="19"/>
                  </a:moveTo>
                  <a:cubicBezTo>
                    <a:pt x="9" y="18"/>
                    <a:pt x="9" y="17"/>
                    <a:pt x="10" y="16"/>
                  </a:cubicBezTo>
                  <a:cubicBezTo>
                    <a:pt x="12" y="12"/>
                    <a:pt x="13" y="3"/>
                    <a:pt x="8" y="2"/>
                  </a:cubicBezTo>
                  <a:cubicBezTo>
                    <a:pt x="3" y="0"/>
                    <a:pt x="1" y="10"/>
                    <a:pt x="1" y="13"/>
                  </a:cubicBezTo>
                  <a:cubicBezTo>
                    <a:pt x="1" y="13"/>
                    <a:pt x="0" y="13"/>
                    <a:pt x="0" y="13"/>
                  </a:cubicBezTo>
                  <a:cubicBezTo>
                    <a:pt x="2" y="19"/>
                    <a:pt x="7" y="20"/>
                    <a:pt x="9" y="1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628419" y="3478215"/>
              <a:ext cx="123198" cy="100454"/>
            </a:xfrm>
            <a:custGeom>
              <a:avLst/>
              <a:gdLst/>
              <a:ahLst/>
              <a:cxnLst>
                <a:cxn ang="0">
                  <a:pos x="8" y="40"/>
                </a:cxn>
                <a:cxn ang="0">
                  <a:pos x="35" y="44"/>
                </a:cxn>
                <a:cxn ang="0">
                  <a:pos x="38" y="34"/>
                </a:cxn>
                <a:cxn ang="0">
                  <a:pos x="45" y="25"/>
                </a:cxn>
                <a:cxn ang="0">
                  <a:pos x="45" y="17"/>
                </a:cxn>
                <a:cxn ang="0">
                  <a:pos x="50" y="17"/>
                </a:cxn>
                <a:cxn ang="0">
                  <a:pos x="54" y="14"/>
                </a:cxn>
                <a:cxn ang="0">
                  <a:pos x="51" y="0"/>
                </a:cxn>
                <a:cxn ang="0">
                  <a:pos x="37" y="16"/>
                </a:cxn>
                <a:cxn ang="0">
                  <a:pos x="16" y="26"/>
                </a:cxn>
                <a:cxn ang="0">
                  <a:pos x="2" y="29"/>
                </a:cxn>
                <a:cxn ang="0">
                  <a:pos x="0" y="28"/>
                </a:cxn>
                <a:cxn ang="0">
                  <a:pos x="8" y="40"/>
                </a:cxn>
              </a:cxnLst>
              <a:rect l="0" t="0" r="r" b="b"/>
              <a:pathLst>
                <a:path w="54" h="44">
                  <a:moveTo>
                    <a:pt x="8" y="40"/>
                  </a:moveTo>
                  <a:cubicBezTo>
                    <a:pt x="10" y="41"/>
                    <a:pt x="28" y="43"/>
                    <a:pt x="35" y="4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2" y="7"/>
                    <a:pt x="52" y="0"/>
                    <a:pt x="51" y="0"/>
                  </a:cubicBezTo>
                  <a:cubicBezTo>
                    <a:pt x="49" y="0"/>
                    <a:pt x="40" y="9"/>
                    <a:pt x="37" y="16"/>
                  </a:cubicBezTo>
                  <a:cubicBezTo>
                    <a:pt x="34" y="22"/>
                    <a:pt x="24" y="27"/>
                    <a:pt x="16" y="26"/>
                  </a:cubicBezTo>
                  <a:cubicBezTo>
                    <a:pt x="7" y="24"/>
                    <a:pt x="5" y="28"/>
                    <a:pt x="2" y="29"/>
                  </a:cubicBezTo>
                  <a:cubicBezTo>
                    <a:pt x="2" y="29"/>
                    <a:pt x="1" y="29"/>
                    <a:pt x="0" y="28"/>
                  </a:cubicBezTo>
                  <a:cubicBezTo>
                    <a:pt x="1" y="35"/>
                    <a:pt x="7" y="40"/>
                    <a:pt x="8" y="4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8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7845231" y="4005121"/>
              <a:ext cx="500372" cy="155418"/>
            </a:xfrm>
            <a:custGeom>
              <a:avLst/>
              <a:gdLst/>
              <a:ahLst/>
              <a:cxnLst>
                <a:cxn ang="0">
                  <a:pos x="39" y="24"/>
                </a:cxn>
                <a:cxn ang="0">
                  <a:pos x="31" y="12"/>
                </a:cxn>
                <a:cxn ang="0">
                  <a:pos x="25" y="7"/>
                </a:cxn>
                <a:cxn ang="0">
                  <a:pos x="24" y="5"/>
                </a:cxn>
                <a:cxn ang="0">
                  <a:pos x="21" y="10"/>
                </a:cxn>
                <a:cxn ang="0">
                  <a:pos x="12" y="9"/>
                </a:cxn>
                <a:cxn ang="0">
                  <a:pos x="6" y="2"/>
                </a:cxn>
                <a:cxn ang="0">
                  <a:pos x="0" y="1"/>
                </a:cxn>
                <a:cxn ang="0">
                  <a:pos x="3" y="19"/>
                </a:cxn>
                <a:cxn ang="0">
                  <a:pos x="14" y="40"/>
                </a:cxn>
                <a:cxn ang="0">
                  <a:pos x="25" y="51"/>
                </a:cxn>
                <a:cxn ang="0">
                  <a:pos x="47" y="62"/>
                </a:cxn>
                <a:cxn ang="0">
                  <a:pos x="39" y="46"/>
                </a:cxn>
                <a:cxn ang="0">
                  <a:pos x="39" y="24"/>
                </a:cxn>
                <a:cxn ang="0">
                  <a:pos x="210" y="11"/>
                </a:cxn>
                <a:cxn ang="0">
                  <a:pos x="200" y="9"/>
                </a:cxn>
                <a:cxn ang="0">
                  <a:pos x="189" y="0"/>
                </a:cxn>
                <a:cxn ang="0">
                  <a:pos x="180" y="11"/>
                </a:cxn>
                <a:cxn ang="0">
                  <a:pos x="174" y="19"/>
                </a:cxn>
                <a:cxn ang="0">
                  <a:pos x="172" y="22"/>
                </a:cxn>
                <a:cxn ang="0">
                  <a:pos x="172" y="29"/>
                </a:cxn>
                <a:cxn ang="0">
                  <a:pos x="165" y="31"/>
                </a:cxn>
                <a:cxn ang="0">
                  <a:pos x="159" y="23"/>
                </a:cxn>
                <a:cxn ang="0">
                  <a:pos x="158" y="23"/>
                </a:cxn>
                <a:cxn ang="0">
                  <a:pos x="148" y="39"/>
                </a:cxn>
                <a:cxn ang="0">
                  <a:pos x="132" y="44"/>
                </a:cxn>
                <a:cxn ang="0">
                  <a:pos x="125" y="58"/>
                </a:cxn>
                <a:cxn ang="0">
                  <a:pos x="108" y="54"/>
                </a:cxn>
                <a:cxn ang="0">
                  <a:pos x="111" y="61"/>
                </a:cxn>
                <a:cxn ang="0">
                  <a:pos x="121" y="66"/>
                </a:cxn>
                <a:cxn ang="0">
                  <a:pos x="135" y="65"/>
                </a:cxn>
                <a:cxn ang="0">
                  <a:pos x="147" y="60"/>
                </a:cxn>
                <a:cxn ang="0">
                  <a:pos x="157" y="62"/>
                </a:cxn>
                <a:cxn ang="0">
                  <a:pos x="167" y="55"/>
                </a:cxn>
                <a:cxn ang="0">
                  <a:pos x="171" y="45"/>
                </a:cxn>
                <a:cxn ang="0">
                  <a:pos x="177" y="35"/>
                </a:cxn>
                <a:cxn ang="0">
                  <a:pos x="195" y="27"/>
                </a:cxn>
                <a:cxn ang="0">
                  <a:pos x="200" y="29"/>
                </a:cxn>
                <a:cxn ang="0">
                  <a:pos x="207" y="22"/>
                </a:cxn>
                <a:cxn ang="0">
                  <a:pos x="217" y="18"/>
                </a:cxn>
                <a:cxn ang="0">
                  <a:pos x="210" y="11"/>
                </a:cxn>
              </a:cxnLst>
              <a:rect l="0" t="0" r="r" b="b"/>
              <a:pathLst>
                <a:path w="219" h="68">
                  <a:moveTo>
                    <a:pt x="39" y="24"/>
                  </a:moveTo>
                  <a:cubicBezTo>
                    <a:pt x="39" y="17"/>
                    <a:pt x="32" y="17"/>
                    <a:pt x="31" y="12"/>
                  </a:cubicBezTo>
                  <a:cubicBezTo>
                    <a:pt x="29" y="7"/>
                    <a:pt x="26" y="10"/>
                    <a:pt x="25" y="7"/>
                  </a:cubicBezTo>
                  <a:cubicBezTo>
                    <a:pt x="25" y="6"/>
                    <a:pt x="25" y="6"/>
                    <a:pt x="24" y="5"/>
                  </a:cubicBezTo>
                  <a:cubicBezTo>
                    <a:pt x="20" y="6"/>
                    <a:pt x="22" y="9"/>
                    <a:pt x="21" y="10"/>
                  </a:cubicBezTo>
                  <a:cubicBezTo>
                    <a:pt x="19" y="10"/>
                    <a:pt x="12" y="11"/>
                    <a:pt x="12" y="9"/>
                  </a:cubicBezTo>
                  <a:cubicBezTo>
                    <a:pt x="12" y="6"/>
                    <a:pt x="11" y="3"/>
                    <a:pt x="6" y="2"/>
                  </a:cubicBezTo>
                  <a:cubicBezTo>
                    <a:pt x="4" y="1"/>
                    <a:pt x="2" y="1"/>
                    <a:pt x="0" y="1"/>
                  </a:cubicBezTo>
                  <a:cubicBezTo>
                    <a:pt x="2" y="7"/>
                    <a:pt x="3" y="14"/>
                    <a:pt x="3" y="19"/>
                  </a:cubicBezTo>
                  <a:cubicBezTo>
                    <a:pt x="3" y="25"/>
                    <a:pt x="13" y="36"/>
                    <a:pt x="14" y="40"/>
                  </a:cubicBezTo>
                  <a:cubicBezTo>
                    <a:pt x="16" y="45"/>
                    <a:pt x="19" y="46"/>
                    <a:pt x="25" y="51"/>
                  </a:cubicBezTo>
                  <a:cubicBezTo>
                    <a:pt x="32" y="55"/>
                    <a:pt x="44" y="63"/>
                    <a:pt x="47" y="62"/>
                  </a:cubicBezTo>
                  <a:cubicBezTo>
                    <a:pt x="49" y="61"/>
                    <a:pt x="43" y="50"/>
                    <a:pt x="39" y="46"/>
                  </a:cubicBezTo>
                  <a:cubicBezTo>
                    <a:pt x="36" y="42"/>
                    <a:pt x="39" y="32"/>
                    <a:pt x="39" y="24"/>
                  </a:cubicBezTo>
                  <a:close/>
                  <a:moveTo>
                    <a:pt x="210" y="11"/>
                  </a:moveTo>
                  <a:cubicBezTo>
                    <a:pt x="207" y="12"/>
                    <a:pt x="200" y="12"/>
                    <a:pt x="200" y="9"/>
                  </a:cubicBezTo>
                  <a:cubicBezTo>
                    <a:pt x="200" y="6"/>
                    <a:pt x="193" y="0"/>
                    <a:pt x="189" y="0"/>
                  </a:cubicBezTo>
                  <a:cubicBezTo>
                    <a:pt x="185" y="0"/>
                    <a:pt x="181" y="8"/>
                    <a:pt x="180" y="11"/>
                  </a:cubicBezTo>
                  <a:cubicBezTo>
                    <a:pt x="180" y="15"/>
                    <a:pt x="174" y="14"/>
                    <a:pt x="174" y="19"/>
                  </a:cubicBezTo>
                  <a:cubicBezTo>
                    <a:pt x="175" y="21"/>
                    <a:pt x="173" y="21"/>
                    <a:pt x="172" y="22"/>
                  </a:cubicBezTo>
                  <a:cubicBezTo>
                    <a:pt x="173" y="26"/>
                    <a:pt x="174" y="29"/>
                    <a:pt x="172" y="29"/>
                  </a:cubicBezTo>
                  <a:cubicBezTo>
                    <a:pt x="169" y="28"/>
                    <a:pt x="169" y="31"/>
                    <a:pt x="165" y="31"/>
                  </a:cubicBezTo>
                  <a:cubicBezTo>
                    <a:pt x="163" y="31"/>
                    <a:pt x="161" y="28"/>
                    <a:pt x="159" y="23"/>
                  </a:cubicBezTo>
                  <a:cubicBezTo>
                    <a:pt x="159" y="23"/>
                    <a:pt x="158" y="23"/>
                    <a:pt x="158" y="23"/>
                  </a:cubicBezTo>
                  <a:cubicBezTo>
                    <a:pt x="156" y="23"/>
                    <a:pt x="150" y="33"/>
                    <a:pt x="148" y="39"/>
                  </a:cubicBezTo>
                  <a:cubicBezTo>
                    <a:pt x="147" y="45"/>
                    <a:pt x="141" y="43"/>
                    <a:pt x="132" y="44"/>
                  </a:cubicBezTo>
                  <a:cubicBezTo>
                    <a:pt x="123" y="45"/>
                    <a:pt x="127" y="54"/>
                    <a:pt x="125" y="58"/>
                  </a:cubicBezTo>
                  <a:cubicBezTo>
                    <a:pt x="123" y="62"/>
                    <a:pt x="113" y="55"/>
                    <a:pt x="108" y="54"/>
                  </a:cubicBezTo>
                  <a:cubicBezTo>
                    <a:pt x="109" y="58"/>
                    <a:pt x="110" y="61"/>
                    <a:pt x="111" y="61"/>
                  </a:cubicBezTo>
                  <a:cubicBezTo>
                    <a:pt x="114" y="61"/>
                    <a:pt x="118" y="68"/>
                    <a:pt x="121" y="66"/>
                  </a:cubicBezTo>
                  <a:cubicBezTo>
                    <a:pt x="123" y="64"/>
                    <a:pt x="131" y="66"/>
                    <a:pt x="135" y="65"/>
                  </a:cubicBezTo>
                  <a:cubicBezTo>
                    <a:pt x="139" y="63"/>
                    <a:pt x="140" y="60"/>
                    <a:pt x="147" y="60"/>
                  </a:cubicBezTo>
                  <a:cubicBezTo>
                    <a:pt x="153" y="60"/>
                    <a:pt x="151" y="65"/>
                    <a:pt x="157" y="62"/>
                  </a:cubicBezTo>
                  <a:cubicBezTo>
                    <a:pt x="164" y="59"/>
                    <a:pt x="168" y="61"/>
                    <a:pt x="167" y="55"/>
                  </a:cubicBezTo>
                  <a:cubicBezTo>
                    <a:pt x="167" y="49"/>
                    <a:pt x="171" y="49"/>
                    <a:pt x="171" y="45"/>
                  </a:cubicBezTo>
                  <a:cubicBezTo>
                    <a:pt x="170" y="40"/>
                    <a:pt x="178" y="43"/>
                    <a:pt x="177" y="35"/>
                  </a:cubicBezTo>
                  <a:cubicBezTo>
                    <a:pt x="177" y="26"/>
                    <a:pt x="189" y="27"/>
                    <a:pt x="195" y="27"/>
                  </a:cubicBezTo>
                  <a:cubicBezTo>
                    <a:pt x="196" y="27"/>
                    <a:pt x="198" y="28"/>
                    <a:pt x="200" y="29"/>
                  </a:cubicBezTo>
                  <a:cubicBezTo>
                    <a:pt x="204" y="27"/>
                    <a:pt x="210" y="24"/>
                    <a:pt x="207" y="22"/>
                  </a:cubicBezTo>
                  <a:cubicBezTo>
                    <a:pt x="204" y="20"/>
                    <a:pt x="216" y="22"/>
                    <a:pt x="217" y="18"/>
                  </a:cubicBezTo>
                  <a:cubicBezTo>
                    <a:pt x="219" y="14"/>
                    <a:pt x="213" y="11"/>
                    <a:pt x="210" y="1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9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207243" y="4054400"/>
              <a:ext cx="34116" cy="20849"/>
            </a:xfrm>
            <a:custGeom>
              <a:avLst/>
              <a:gdLst/>
              <a:ahLst/>
              <a:cxnLst>
                <a:cxn ang="0">
                  <a:pos x="6" y="9"/>
                </a:cxn>
                <a:cxn ang="0">
                  <a:pos x="13" y="7"/>
                </a:cxn>
                <a:cxn ang="0">
                  <a:pos x="13" y="0"/>
                </a:cxn>
                <a:cxn ang="0">
                  <a:pos x="7" y="3"/>
                </a:cxn>
                <a:cxn ang="0">
                  <a:pos x="0" y="1"/>
                </a:cxn>
                <a:cxn ang="0">
                  <a:pos x="6" y="9"/>
                </a:cxn>
              </a:cxnLst>
              <a:rect l="0" t="0" r="r" b="b"/>
              <a:pathLst>
                <a:path w="15" h="9">
                  <a:moveTo>
                    <a:pt x="6" y="9"/>
                  </a:moveTo>
                  <a:cubicBezTo>
                    <a:pt x="10" y="9"/>
                    <a:pt x="10" y="6"/>
                    <a:pt x="13" y="7"/>
                  </a:cubicBezTo>
                  <a:cubicBezTo>
                    <a:pt x="15" y="7"/>
                    <a:pt x="14" y="4"/>
                    <a:pt x="13" y="0"/>
                  </a:cubicBezTo>
                  <a:cubicBezTo>
                    <a:pt x="11" y="1"/>
                    <a:pt x="7" y="1"/>
                    <a:pt x="7" y="3"/>
                  </a:cubicBezTo>
                  <a:cubicBezTo>
                    <a:pt x="7" y="5"/>
                    <a:pt x="2" y="1"/>
                    <a:pt x="0" y="1"/>
                  </a:cubicBezTo>
                  <a:cubicBezTo>
                    <a:pt x="2" y="6"/>
                    <a:pt x="4" y="9"/>
                    <a:pt x="6" y="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291047" y="3154111"/>
              <a:ext cx="250186" cy="246395"/>
            </a:xfrm>
            <a:custGeom>
              <a:avLst/>
              <a:gdLst/>
              <a:ahLst/>
              <a:cxnLst>
                <a:cxn ang="0">
                  <a:pos x="93" y="98"/>
                </a:cxn>
                <a:cxn ang="0">
                  <a:pos x="98" y="94"/>
                </a:cxn>
                <a:cxn ang="0">
                  <a:pos x="106" y="98"/>
                </a:cxn>
                <a:cxn ang="0">
                  <a:pos x="110" y="95"/>
                </a:cxn>
                <a:cxn ang="0">
                  <a:pos x="104" y="87"/>
                </a:cxn>
                <a:cxn ang="0">
                  <a:pos x="100" y="79"/>
                </a:cxn>
                <a:cxn ang="0">
                  <a:pos x="101" y="71"/>
                </a:cxn>
                <a:cxn ang="0">
                  <a:pos x="96" y="65"/>
                </a:cxn>
                <a:cxn ang="0">
                  <a:pos x="83" y="56"/>
                </a:cxn>
                <a:cxn ang="0">
                  <a:pos x="78" y="50"/>
                </a:cxn>
                <a:cxn ang="0">
                  <a:pos x="76" y="40"/>
                </a:cxn>
                <a:cxn ang="0">
                  <a:pos x="81" y="31"/>
                </a:cxn>
                <a:cxn ang="0">
                  <a:pos x="82" y="24"/>
                </a:cxn>
                <a:cxn ang="0">
                  <a:pos x="78" y="20"/>
                </a:cxn>
                <a:cxn ang="0">
                  <a:pos x="72" y="14"/>
                </a:cxn>
                <a:cxn ang="0">
                  <a:pos x="68" y="5"/>
                </a:cxn>
                <a:cxn ang="0">
                  <a:pos x="56" y="3"/>
                </a:cxn>
                <a:cxn ang="0">
                  <a:pos x="46" y="1"/>
                </a:cxn>
                <a:cxn ang="0">
                  <a:pos x="41" y="5"/>
                </a:cxn>
                <a:cxn ang="0">
                  <a:pos x="41" y="5"/>
                </a:cxn>
                <a:cxn ang="0">
                  <a:pos x="34" y="10"/>
                </a:cxn>
                <a:cxn ang="0">
                  <a:pos x="27" y="15"/>
                </a:cxn>
                <a:cxn ang="0">
                  <a:pos x="28" y="24"/>
                </a:cxn>
                <a:cxn ang="0">
                  <a:pos x="27" y="33"/>
                </a:cxn>
                <a:cxn ang="0">
                  <a:pos x="24" y="40"/>
                </a:cxn>
                <a:cxn ang="0">
                  <a:pos x="0" y="53"/>
                </a:cxn>
                <a:cxn ang="0">
                  <a:pos x="1" y="58"/>
                </a:cxn>
                <a:cxn ang="0">
                  <a:pos x="4" y="69"/>
                </a:cxn>
                <a:cxn ang="0">
                  <a:pos x="12" y="69"/>
                </a:cxn>
                <a:cxn ang="0">
                  <a:pos x="35" y="82"/>
                </a:cxn>
                <a:cxn ang="0">
                  <a:pos x="62" y="102"/>
                </a:cxn>
                <a:cxn ang="0">
                  <a:pos x="75" y="107"/>
                </a:cxn>
                <a:cxn ang="0">
                  <a:pos x="88" y="108"/>
                </a:cxn>
                <a:cxn ang="0">
                  <a:pos x="93" y="98"/>
                </a:cxn>
              </a:cxnLst>
              <a:rect l="0" t="0" r="r" b="b"/>
              <a:pathLst>
                <a:path w="110" h="108">
                  <a:moveTo>
                    <a:pt x="93" y="98"/>
                  </a:moveTo>
                  <a:cubicBezTo>
                    <a:pt x="94" y="97"/>
                    <a:pt x="95" y="94"/>
                    <a:pt x="98" y="94"/>
                  </a:cubicBezTo>
                  <a:cubicBezTo>
                    <a:pt x="101" y="94"/>
                    <a:pt x="103" y="95"/>
                    <a:pt x="106" y="98"/>
                  </a:cubicBezTo>
                  <a:cubicBezTo>
                    <a:pt x="107" y="97"/>
                    <a:pt x="109" y="96"/>
                    <a:pt x="110" y="95"/>
                  </a:cubicBezTo>
                  <a:cubicBezTo>
                    <a:pt x="107" y="92"/>
                    <a:pt x="104" y="89"/>
                    <a:pt x="104" y="87"/>
                  </a:cubicBezTo>
                  <a:cubicBezTo>
                    <a:pt x="105" y="83"/>
                    <a:pt x="101" y="81"/>
                    <a:pt x="100" y="79"/>
                  </a:cubicBezTo>
                  <a:cubicBezTo>
                    <a:pt x="100" y="77"/>
                    <a:pt x="103" y="73"/>
                    <a:pt x="101" y="71"/>
                  </a:cubicBezTo>
                  <a:cubicBezTo>
                    <a:pt x="99" y="70"/>
                    <a:pt x="99" y="65"/>
                    <a:pt x="96" y="65"/>
                  </a:cubicBezTo>
                  <a:cubicBezTo>
                    <a:pt x="93" y="64"/>
                    <a:pt x="83" y="59"/>
                    <a:pt x="83" y="56"/>
                  </a:cubicBezTo>
                  <a:cubicBezTo>
                    <a:pt x="84" y="53"/>
                    <a:pt x="80" y="51"/>
                    <a:pt x="78" y="50"/>
                  </a:cubicBezTo>
                  <a:cubicBezTo>
                    <a:pt x="76" y="49"/>
                    <a:pt x="74" y="41"/>
                    <a:pt x="76" y="40"/>
                  </a:cubicBezTo>
                  <a:cubicBezTo>
                    <a:pt x="79" y="39"/>
                    <a:pt x="78" y="31"/>
                    <a:pt x="81" y="31"/>
                  </a:cubicBezTo>
                  <a:cubicBezTo>
                    <a:pt x="84" y="31"/>
                    <a:pt x="81" y="27"/>
                    <a:pt x="82" y="24"/>
                  </a:cubicBezTo>
                  <a:cubicBezTo>
                    <a:pt x="83" y="22"/>
                    <a:pt x="80" y="20"/>
                    <a:pt x="78" y="20"/>
                  </a:cubicBezTo>
                  <a:cubicBezTo>
                    <a:pt x="76" y="20"/>
                    <a:pt x="72" y="17"/>
                    <a:pt x="72" y="14"/>
                  </a:cubicBezTo>
                  <a:cubicBezTo>
                    <a:pt x="72" y="11"/>
                    <a:pt x="67" y="6"/>
                    <a:pt x="68" y="5"/>
                  </a:cubicBezTo>
                  <a:cubicBezTo>
                    <a:pt x="67" y="11"/>
                    <a:pt x="58" y="2"/>
                    <a:pt x="56" y="3"/>
                  </a:cubicBezTo>
                  <a:cubicBezTo>
                    <a:pt x="53" y="4"/>
                    <a:pt x="51" y="0"/>
                    <a:pt x="46" y="1"/>
                  </a:cubicBezTo>
                  <a:cubicBezTo>
                    <a:pt x="42" y="1"/>
                    <a:pt x="42" y="3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28" y="11"/>
                    <a:pt x="27" y="15"/>
                  </a:cubicBezTo>
                  <a:cubicBezTo>
                    <a:pt x="26" y="19"/>
                    <a:pt x="30" y="22"/>
                    <a:pt x="28" y="24"/>
                  </a:cubicBezTo>
                  <a:cubicBezTo>
                    <a:pt x="26" y="27"/>
                    <a:pt x="27" y="31"/>
                    <a:pt x="27" y="33"/>
                  </a:cubicBezTo>
                  <a:cubicBezTo>
                    <a:pt x="28" y="35"/>
                    <a:pt x="24" y="40"/>
                    <a:pt x="24" y="40"/>
                  </a:cubicBezTo>
                  <a:cubicBezTo>
                    <a:pt x="24" y="40"/>
                    <a:pt x="11" y="47"/>
                    <a:pt x="0" y="53"/>
                  </a:cubicBezTo>
                  <a:cubicBezTo>
                    <a:pt x="0" y="55"/>
                    <a:pt x="1" y="57"/>
                    <a:pt x="1" y="58"/>
                  </a:cubicBezTo>
                  <a:cubicBezTo>
                    <a:pt x="2" y="61"/>
                    <a:pt x="3" y="65"/>
                    <a:pt x="4" y="69"/>
                  </a:cubicBezTo>
                  <a:cubicBezTo>
                    <a:pt x="8" y="69"/>
                    <a:pt x="9" y="69"/>
                    <a:pt x="12" y="69"/>
                  </a:cubicBezTo>
                  <a:cubicBezTo>
                    <a:pt x="16" y="70"/>
                    <a:pt x="31" y="80"/>
                    <a:pt x="35" y="82"/>
                  </a:cubicBezTo>
                  <a:cubicBezTo>
                    <a:pt x="38" y="84"/>
                    <a:pt x="58" y="99"/>
                    <a:pt x="62" y="102"/>
                  </a:cubicBezTo>
                  <a:cubicBezTo>
                    <a:pt x="66" y="106"/>
                    <a:pt x="72" y="107"/>
                    <a:pt x="75" y="107"/>
                  </a:cubicBezTo>
                  <a:cubicBezTo>
                    <a:pt x="77" y="107"/>
                    <a:pt x="83" y="107"/>
                    <a:pt x="88" y="108"/>
                  </a:cubicBezTo>
                  <a:cubicBezTo>
                    <a:pt x="90" y="104"/>
                    <a:pt x="92" y="99"/>
                    <a:pt x="93" y="9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491954" y="3368285"/>
              <a:ext cx="49279" cy="45488"/>
            </a:xfrm>
            <a:custGeom>
              <a:avLst/>
              <a:gdLst/>
              <a:ahLst/>
              <a:cxnLst>
                <a:cxn ang="0">
                  <a:pos x="7" y="15"/>
                </a:cxn>
                <a:cxn ang="0">
                  <a:pos x="13" y="20"/>
                </a:cxn>
                <a:cxn ang="0">
                  <a:pos x="22" y="20"/>
                </a:cxn>
                <a:cxn ang="0">
                  <a:pos x="17" y="6"/>
                </a:cxn>
                <a:cxn ang="0">
                  <a:pos x="18" y="4"/>
                </a:cxn>
                <a:cxn ang="0">
                  <a:pos x="10" y="0"/>
                </a:cxn>
                <a:cxn ang="0">
                  <a:pos x="5" y="4"/>
                </a:cxn>
                <a:cxn ang="0">
                  <a:pos x="0" y="14"/>
                </a:cxn>
                <a:cxn ang="0">
                  <a:pos x="7" y="15"/>
                </a:cxn>
              </a:cxnLst>
              <a:rect l="0" t="0" r="r" b="b"/>
              <a:pathLst>
                <a:path w="22" h="20">
                  <a:moveTo>
                    <a:pt x="7" y="15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0" y="15"/>
                    <a:pt x="17" y="8"/>
                    <a:pt x="17" y="6"/>
                  </a:cubicBezTo>
                  <a:cubicBezTo>
                    <a:pt x="17" y="5"/>
                    <a:pt x="17" y="5"/>
                    <a:pt x="18" y="4"/>
                  </a:cubicBezTo>
                  <a:cubicBezTo>
                    <a:pt x="15" y="1"/>
                    <a:pt x="13" y="0"/>
                    <a:pt x="10" y="0"/>
                  </a:cubicBezTo>
                  <a:cubicBezTo>
                    <a:pt x="7" y="0"/>
                    <a:pt x="6" y="3"/>
                    <a:pt x="5" y="4"/>
                  </a:cubicBezTo>
                  <a:cubicBezTo>
                    <a:pt x="4" y="5"/>
                    <a:pt x="2" y="10"/>
                    <a:pt x="0" y="14"/>
                  </a:cubicBezTo>
                  <a:cubicBezTo>
                    <a:pt x="4" y="14"/>
                    <a:pt x="7" y="15"/>
                    <a:pt x="7" y="1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2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178479" y="2720076"/>
              <a:ext cx="377175" cy="312733"/>
            </a:xfrm>
            <a:custGeom>
              <a:avLst/>
              <a:gdLst/>
              <a:ahLst/>
              <a:cxnLst>
                <a:cxn ang="0">
                  <a:pos x="144" y="31"/>
                </a:cxn>
                <a:cxn ang="0">
                  <a:pos x="138" y="29"/>
                </a:cxn>
                <a:cxn ang="0">
                  <a:pos x="131" y="26"/>
                </a:cxn>
                <a:cxn ang="0">
                  <a:pos x="119" y="24"/>
                </a:cxn>
                <a:cxn ang="0">
                  <a:pos x="114" y="20"/>
                </a:cxn>
                <a:cxn ang="0">
                  <a:pos x="110" y="15"/>
                </a:cxn>
                <a:cxn ang="0">
                  <a:pos x="105" y="17"/>
                </a:cxn>
                <a:cxn ang="0">
                  <a:pos x="102" y="13"/>
                </a:cxn>
                <a:cxn ang="0">
                  <a:pos x="95" y="9"/>
                </a:cxn>
                <a:cxn ang="0">
                  <a:pos x="89" y="6"/>
                </a:cxn>
                <a:cxn ang="0">
                  <a:pos x="85" y="1"/>
                </a:cxn>
                <a:cxn ang="0">
                  <a:pos x="84" y="0"/>
                </a:cxn>
                <a:cxn ang="0">
                  <a:pos x="81" y="0"/>
                </a:cxn>
                <a:cxn ang="0">
                  <a:pos x="75" y="10"/>
                </a:cxn>
                <a:cxn ang="0">
                  <a:pos x="63" y="18"/>
                </a:cxn>
                <a:cxn ang="0">
                  <a:pos x="56" y="26"/>
                </a:cxn>
                <a:cxn ang="0">
                  <a:pos x="41" y="21"/>
                </a:cxn>
                <a:cxn ang="0">
                  <a:pos x="35" y="25"/>
                </a:cxn>
                <a:cxn ang="0">
                  <a:pos x="36" y="37"/>
                </a:cxn>
                <a:cxn ang="0">
                  <a:pos x="27" y="37"/>
                </a:cxn>
                <a:cxn ang="0">
                  <a:pos x="20" y="33"/>
                </a:cxn>
                <a:cxn ang="0">
                  <a:pos x="9" y="34"/>
                </a:cxn>
                <a:cxn ang="0">
                  <a:pos x="2" y="40"/>
                </a:cxn>
                <a:cxn ang="0">
                  <a:pos x="3" y="47"/>
                </a:cxn>
                <a:cxn ang="0">
                  <a:pos x="18" y="52"/>
                </a:cxn>
                <a:cxn ang="0">
                  <a:pos x="28" y="54"/>
                </a:cxn>
                <a:cxn ang="0">
                  <a:pos x="32" y="59"/>
                </a:cxn>
                <a:cxn ang="0">
                  <a:pos x="40" y="69"/>
                </a:cxn>
                <a:cxn ang="0">
                  <a:pos x="43" y="78"/>
                </a:cxn>
                <a:cxn ang="0">
                  <a:pos x="42" y="91"/>
                </a:cxn>
                <a:cxn ang="0">
                  <a:pos x="36" y="112"/>
                </a:cxn>
                <a:cxn ang="0">
                  <a:pos x="36" y="112"/>
                </a:cxn>
                <a:cxn ang="0">
                  <a:pos x="42" y="115"/>
                </a:cxn>
                <a:cxn ang="0">
                  <a:pos x="53" y="120"/>
                </a:cxn>
                <a:cxn ang="0">
                  <a:pos x="62" y="119"/>
                </a:cxn>
                <a:cxn ang="0">
                  <a:pos x="67" y="121"/>
                </a:cxn>
                <a:cxn ang="0">
                  <a:pos x="81" y="124"/>
                </a:cxn>
                <a:cxn ang="0">
                  <a:pos x="92" y="124"/>
                </a:cxn>
                <a:cxn ang="0">
                  <a:pos x="92" y="121"/>
                </a:cxn>
                <a:cxn ang="0">
                  <a:pos x="101" y="110"/>
                </a:cxn>
                <a:cxn ang="0">
                  <a:pos x="122" y="115"/>
                </a:cxn>
                <a:cxn ang="0">
                  <a:pos x="135" y="110"/>
                </a:cxn>
                <a:cxn ang="0">
                  <a:pos x="142" y="106"/>
                </a:cxn>
                <a:cxn ang="0">
                  <a:pos x="143" y="102"/>
                </a:cxn>
                <a:cxn ang="0">
                  <a:pos x="138" y="100"/>
                </a:cxn>
                <a:cxn ang="0">
                  <a:pos x="135" y="95"/>
                </a:cxn>
                <a:cxn ang="0">
                  <a:pos x="132" y="89"/>
                </a:cxn>
                <a:cxn ang="0">
                  <a:pos x="134" y="86"/>
                </a:cxn>
                <a:cxn ang="0">
                  <a:pos x="136" y="82"/>
                </a:cxn>
                <a:cxn ang="0">
                  <a:pos x="135" y="76"/>
                </a:cxn>
                <a:cxn ang="0">
                  <a:pos x="133" y="71"/>
                </a:cxn>
                <a:cxn ang="0">
                  <a:pos x="128" y="70"/>
                </a:cxn>
                <a:cxn ang="0">
                  <a:pos x="127" y="66"/>
                </a:cxn>
                <a:cxn ang="0">
                  <a:pos x="134" y="57"/>
                </a:cxn>
                <a:cxn ang="0">
                  <a:pos x="140" y="53"/>
                </a:cxn>
                <a:cxn ang="0">
                  <a:pos x="142" y="44"/>
                </a:cxn>
                <a:cxn ang="0">
                  <a:pos x="147" y="35"/>
                </a:cxn>
                <a:cxn ang="0">
                  <a:pos x="144" y="31"/>
                </a:cxn>
                <a:cxn ang="0">
                  <a:pos x="162" y="116"/>
                </a:cxn>
                <a:cxn ang="0">
                  <a:pos x="155" y="122"/>
                </a:cxn>
                <a:cxn ang="0">
                  <a:pos x="160" y="137"/>
                </a:cxn>
                <a:cxn ang="0">
                  <a:pos x="162" y="116"/>
                </a:cxn>
              </a:cxnLst>
              <a:rect l="0" t="0" r="r" b="b"/>
              <a:pathLst>
                <a:path w="165" h="137">
                  <a:moveTo>
                    <a:pt x="144" y="31"/>
                  </a:moveTo>
                  <a:cubicBezTo>
                    <a:pt x="143" y="31"/>
                    <a:pt x="142" y="29"/>
                    <a:pt x="138" y="29"/>
                  </a:cubicBezTo>
                  <a:cubicBezTo>
                    <a:pt x="135" y="29"/>
                    <a:pt x="133" y="28"/>
                    <a:pt x="131" y="26"/>
                  </a:cubicBezTo>
                  <a:cubicBezTo>
                    <a:pt x="130" y="24"/>
                    <a:pt x="122" y="23"/>
                    <a:pt x="119" y="24"/>
                  </a:cubicBezTo>
                  <a:cubicBezTo>
                    <a:pt x="117" y="24"/>
                    <a:pt x="116" y="19"/>
                    <a:pt x="114" y="20"/>
                  </a:cubicBezTo>
                  <a:cubicBezTo>
                    <a:pt x="111" y="20"/>
                    <a:pt x="110" y="17"/>
                    <a:pt x="110" y="15"/>
                  </a:cubicBezTo>
                  <a:cubicBezTo>
                    <a:pt x="110" y="13"/>
                    <a:pt x="108" y="16"/>
                    <a:pt x="105" y="17"/>
                  </a:cubicBezTo>
                  <a:cubicBezTo>
                    <a:pt x="103" y="18"/>
                    <a:pt x="102" y="15"/>
                    <a:pt x="102" y="13"/>
                  </a:cubicBezTo>
                  <a:cubicBezTo>
                    <a:pt x="102" y="12"/>
                    <a:pt x="97" y="10"/>
                    <a:pt x="95" y="9"/>
                  </a:cubicBezTo>
                  <a:cubicBezTo>
                    <a:pt x="93" y="8"/>
                    <a:pt x="90" y="4"/>
                    <a:pt x="89" y="6"/>
                  </a:cubicBezTo>
                  <a:cubicBezTo>
                    <a:pt x="88" y="7"/>
                    <a:pt x="86" y="3"/>
                    <a:pt x="85" y="1"/>
                  </a:cubicBezTo>
                  <a:cubicBezTo>
                    <a:pt x="85" y="0"/>
                    <a:pt x="84" y="0"/>
                    <a:pt x="84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77" y="0"/>
                    <a:pt x="74" y="3"/>
                    <a:pt x="75" y="10"/>
                  </a:cubicBezTo>
                  <a:cubicBezTo>
                    <a:pt x="75" y="16"/>
                    <a:pt x="70" y="17"/>
                    <a:pt x="63" y="18"/>
                  </a:cubicBezTo>
                  <a:cubicBezTo>
                    <a:pt x="56" y="18"/>
                    <a:pt x="58" y="23"/>
                    <a:pt x="56" y="26"/>
                  </a:cubicBezTo>
                  <a:cubicBezTo>
                    <a:pt x="53" y="28"/>
                    <a:pt x="43" y="24"/>
                    <a:pt x="41" y="21"/>
                  </a:cubicBezTo>
                  <a:cubicBezTo>
                    <a:pt x="40" y="17"/>
                    <a:pt x="31" y="21"/>
                    <a:pt x="35" y="25"/>
                  </a:cubicBezTo>
                  <a:cubicBezTo>
                    <a:pt x="39" y="29"/>
                    <a:pt x="39" y="35"/>
                    <a:pt x="36" y="37"/>
                  </a:cubicBezTo>
                  <a:cubicBezTo>
                    <a:pt x="34" y="39"/>
                    <a:pt x="30" y="34"/>
                    <a:pt x="27" y="37"/>
                  </a:cubicBezTo>
                  <a:cubicBezTo>
                    <a:pt x="24" y="39"/>
                    <a:pt x="23" y="35"/>
                    <a:pt x="20" y="33"/>
                  </a:cubicBezTo>
                  <a:cubicBezTo>
                    <a:pt x="16" y="32"/>
                    <a:pt x="15" y="35"/>
                    <a:pt x="9" y="34"/>
                  </a:cubicBezTo>
                  <a:cubicBezTo>
                    <a:pt x="3" y="34"/>
                    <a:pt x="0" y="37"/>
                    <a:pt x="2" y="40"/>
                  </a:cubicBezTo>
                  <a:cubicBezTo>
                    <a:pt x="4" y="42"/>
                    <a:pt x="1" y="45"/>
                    <a:pt x="3" y="47"/>
                  </a:cubicBezTo>
                  <a:cubicBezTo>
                    <a:pt x="5" y="49"/>
                    <a:pt x="12" y="49"/>
                    <a:pt x="18" y="52"/>
                  </a:cubicBezTo>
                  <a:cubicBezTo>
                    <a:pt x="24" y="55"/>
                    <a:pt x="25" y="52"/>
                    <a:pt x="28" y="54"/>
                  </a:cubicBezTo>
                  <a:cubicBezTo>
                    <a:pt x="31" y="56"/>
                    <a:pt x="31" y="55"/>
                    <a:pt x="32" y="59"/>
                  </a:cubicBezTo>
                  <a:cubicBezTo>
                    <a:pt x="32" y="63"/>
                    <a:pt x="35" y="67"/>
                    <a:pt x="40" y="69"/>
                  </a:cubicBezTo>
                  <a:cubicBezTo>
                    <a:pt x="46" y="70"/>
                    <a:pt x="42" y="74"/>
                    <a:pt x="43" y="78"/>
                  </a:cubicBezTo>
                  <a:cubicBezTo>
                    <a:pt x="45" y="81"/>
                    <a:pt x="41" y="87"/>
                    <a:pt x="42" y="91"/>
                  </a:cubicBezTo>
                  <a:cubicBezTo>
                    <a:pt x="43" y="96"/>
                    <a:pt x="39" y="110"/>
                    <a:pt x="36" y="112"/>
                  </a:cubicBezTo>
                  <a:cubicBezTo>
                    <a:pt x="36" y="112"/>
                    <a:pt x="36" y="112"/>
                    <a:pt x="36" y="112"/>
                  </a:cubicBezTo>
                  <a:cubicBezTo>
                    <a:pt x="38" y="113"/>
                    <a:pt x="41" y="114"/>
                    <a:pt x="42" y="115"/>
                  </a:cubicBezTo>
                  <a:cubicBezTo>
                    <a:pt x="45" y="116"/>
                    <a:pt x="50" y="118"/>
                    <a:pt x="53" y="120"/>
                  </a:cubicBezTo>
                  <a:cubicBezTo>
                    <a:pt x="56" y="122"/>
                    <a:pt x="62" y="122"/>
                    <a:pt x="62" y="119"/>
                  </a:cubicBezTo>
                  <a:cubicBezTo>
                    <a:pt x="62" y="117"/>
                    <a:pt x="65" y="118"/>
                    <a:pt x="67" y="121"/>
                  </a:cubicBezTo>
                  <a:cubicBezTo>
                    <a:pt x="69" y="123"/>
                    <a:pt x="77" y="123"/>
                    <a:pt x="81" y="124"/>
                  </a:cubicBezTo>
                  <a:cubicBezTo>
                    <a:pt x="84" y="124"/>
                    <a:pt x="88" y="124"/>
                    <a:pt x="92" y="124"/>
                  </a:cubicBezTo>
                  <a:cubicBezTo>
                    <a:pt x="92" y="123"/>
                    <a:pt x="92" y="122"/>
                    <a:pt x="92" y="121"/>
                  </a:cubicBezTo>
                  <a:cubicBezTo>
                    <a:pt x="90" y="115"/>
                    <a:pt x="95" y="111"/>
                    <a:pt x="101" y="110"/>
                  </a:cubicBezTo>
                  <a:cubicBezTo>
                    <a:pt x="106" y="109"/>
                    <a:pt x="118" y="113"/>
                    <a:pt x="122" y="115"/>
                  </a:cubicBezTo>
                  <a:cubicBezTo>
                    <a:pt x="125" y="117"/>
                    <a:pt x="129" y="116"/>
                    <a:pt x="135" y="110"/>
                  </a:cubicBezTo>
                  <a:cubicBezTo>
                    <a:pt x="137" y="107"/>
                    <a:pt x="140" y="106"/>
                    <a:pt x="142" y="106"/>
                  </a:cubicBezTo>
                  <a:cubicBezTo>
                    <a:pt x="142" y="104"/>
                    <a:pt x="142" y="103"/>
                    <a:pt x="143" y="102"/>
                  </a:cubicBezTo>
                  <a:cubicBezTo>
                    <a:pt x="144" y="100"/>
                    <a:pt x="140" y="100"/>
                    <a:pt x="138" y="100"/>
                  </a:cubicBezTo>
                  <a:cubicBezTo>
                    <a:pt x="135" y="100"/>
                    <a:pt x="133" y="97"/>
                    <a:pt x="135" y="95"/>
                  </a:cubicBezTo>
                  <a:cubicBezTo>
                    <a:pt x="137" y="92"/>
                    <a:pt x="134" y="92"/>
                    <a:pt x="132" y="89"/>
                  </a:cubicBezTo>
                  <a:cubicBezTo>
                    <a:pt x="130" y="86"/>
                    <a:pt x="133" y="87"/>
                    <a:pt x="134" y="86"/>
                  </a:cubicBezTo>
                  <a:cubicBezTo>
                    <a:pt x="136" y="85"/>
                    <a:pt x="138" y="82"/>
                    <a:pt x="136" y="82"/>
                  </a:cubicBezTo>
                  <a:cubicBezTo>
                    <a:pt x="135" y="81"/>
                    <a:pt x="134" y="79"/>
                    <a:pt x="135" y="76"/>
                  </a:cubicBezTo>
                  <a:cubicBezTo>
                    <a:pt x="136" y="73"/>
                    <a:pt x="133" y="73"/>
                    <a:pt x="133" y="71"/>
                  </a:cubicBezTo>
                  <a:cubicBezTo>
                    <a:pt x="133" y="68"/>
                    <a:pt x="130" y="67"/>
                    <a:pt x="128" y="70"/>
                  </a:cubicBezTo>
                  <a:cubicBezTo>
                    <a:pt x="126" y="73"/>
                    <a:pt x="125" y="71"/>
                    <a:pt x="127" y="66"/>
                  </a:cubicBezTo>
                  <a:cubicBezTo>
                    <a:pt x="128" y="62"/>
                    <a:pt x="133" y="60"/>
                    <a:pt x="134" y="57"/>
                  </a:cubicBezTo>
                  <a:cubicBezTo>
                    <a:pt x="134" y="55"/>
                    <a:pt x="137" y="53"/>
                    <a:pt x="140" y="53"/>
                  </a:cubicBezTo>
                  <a:cubicBezTo>
                    <a:pt x="142" y="53"/>
                    <a:pt x="141" y="47"/>
                    <a:pt x="142" y="44"/>
                  </a:cubicBezTo>
                  <a:cubicBezTo>
                    <a:pt x="143" y="41"/>
                    <a:pt x="143" y="38"/>
                    <a:pt x="147" y="35"/>
                  </a:cubicBezTo>
                  <a:cubicBezTo>
                    <a:pt x="150" y="32"/>
                    <a:pt x="146" y="31"/>
                    <a:pt x="144" y="31"/>
                  </a:cubicBezTo>
                  <a:close/>
                  <a:moveTo>
                    <a:pt x="162" y="116"/>
                  </a:moveTo>
                  <a:cubicBezTo>
                    <a:pt x="160" y="116"/>
                    <a:pt x="160" y="119"/>
                    <a:pt x="155" y="122"/>
                  </a:cubicBezTo>
                  <a:cubicBezTo>
                    <a:pt x="151" y="125"/>
                    <a:pt x="155" y="137"/>
                    <a:pt x="160" y="137"/>
                  </a:cubicBezTo>
                  <a:cubicBezTo>
                    <a:pt x="165" y="136"/>
                    <a:pt x="164" y="116"/>
                    <a:pt x="162" y="11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66609" y="3798529"/>
              <a:ext cx="60651" cy="32221"/>
            </a:xfrm>
            <a:custGeom>
              <a:avLst/>
              <a:gdLst/>
              <a:ahLst/>
              <a:cxnLst>
                <a:cxn ang="0">
                  <a:pos x="26" y="5"/>
                </a:cxn>
                <a:cxn ang="0">
                  <a:pos x="14" y="2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0" y="7"/>
                </a:cxn>
                <a:cxn ang="0">
                  <a:pos x="22" y="14"/>
                </a:cxn>
                <a:cxn ang="0">
                  <a:pos x="26" y="13"/>
                </a:cxn>
                <a:cxn ang="0">
                  <a:pos x="26" y="5"/>
                </a:cxn>
              </a:cxnLst>
              <a:rect l="0" t="0" r="r" b="b"/>
              <a:pathLst>
                <a:path w="26" h="14">
                  <a:moveTo>
                    <a:pt x="26" y="5"/>
                  </a:moveTo>
                  <a:cubicBezTo>
                    <a:pt x="24" y="3"/>
                    <a:pt x="19" y="6"/>
                    <a:pt x="14" y="2"/>
                  </a:cubicBezTo>
                  <a:cubicBezTo>
                    <a:pt x="12" y="1"/>
                    <a:pt x="10" y="1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7" y="0"/>
                    <a:pt x="4" y="4"/>
                    <a:pt x="0" y="7"/>
                  </a:cubicBezTo>
                  <a:cubicBezTo>
                    <a:pt x="4" y="10"/>
                    <a:pt x="18" y="14"/>
                    <a:pt x="22" y="14"/>
                  </a:cubicBezTo>
                  <a:cubicBezTo>
                    <a:pt x="24" y="14"/>
                    <a:pt x="25" y="13"/>
                    <a:pt x="26" y="13"/>
                  </a:cubicBezTo>
                  <a:cubicBezTo>
                    <a:pt x="26" y="9"/>
                    <a:pt x="26" y="6"/>
                    <a:pt x="26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87458" y="3751145"/>
              <a:ext cx="157314" cy="87186"/>
            </a:xfrm>
            <a:custGeom>
              <a:avLst/>
              <a:gdLst/>
              <a:ahLst/>
              <a:cxnLst>
                <a:cxn ang="0">
                  <a:pos x="29" y="34"/>
                </a:cxn>
                <a:cxn ang="0">
                  <a:pos x="32" y="27"/>
                </a:cxn>
                <a:cxn ang="0">
                  <a:pos x="45" y="22"/>
                </a:cxn>
                <a:cxn ang="0">
                  <a:pos x="55" y="19"/>
                </a:cxn>
                <a:cxn ang="0">
                  <a:pos x="69" y="14"/>
                </a:cxn>
                <a:cxn ang="0">
                  <a:pos x="56" y="5"/>
                </a:cxn>
                <a:cxn ang="0">
                  <a:pos x="32" y="5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5" y="12"/>
                </a:cxn>
                <a:cxn ang="0">
                  <a:pos x="0" y="21"/>
                </a:cxn>
                <a:cxn ang="0">
                  <a:pos x="5" y="23"/>
                </a:cxn>
                <a:cxn ang="0">
                  <a:pos x="17" y="26"/>
                </a:cxn>
                <a:cxn ang="0">
                  <a:pos x="17" y="34"/>
                </a:cxn>
                <a:cxn ang="0">
                  <a:pos x="20" y="34"/>
                </a:cxn>
                <a:cxn ang="0">
                  <a:pos x="21" y="38"/>
                </a:cxn>
                <a:cxn ang="0">
                  <a:pos x="25" y="37"/>
                </a:cxn>
                <a:cxn ang="0">
                  <a:pos x="29" y="34"/>
                </a:cxn>
              </a:cxnLst>
              <a:rect l="0" t="0" r="r" b="b"/>
              <a:pathLst>
                <a:path w="69" h="38">
                  <a:moveTo>
                    <a:pt x="29" y="34"/>
                  </a:moveTo>
                  <a:cubicBezTo>
                    <a:pt x="29" y="33"/>
                    <a:pt x="26" y="27"/>
                    <a:pt x="32" y="27"/>
                  </a:cubicBezTo>
                  <a:cubicBezTo>
                    <a:pt x="39" y="26"/>
                    <a:pt x="44" y="26"/>
                    <a:pt x="45" y="22"/>
                  </a:cubicBezTo>
                  <a:cubicBezTo>
                    <a:pt x="46" y="17"/>
                    <a:pt x="53" y="19"/>
                    <a:pt x="55" y="19"/>
                  </a:cubicBezTo>
                  <a:cubicBezTo>
                    <a:pt x="57" y="19"/>
                    <a:pt x="63" y="14"/>
                    <a:pt x="69" y="14"/>
                  </a:cubicBezTo>
                  <a:cubicBezTo>
                    <a:pt x="69" y="8"/>
                    <a:pt x="61" y="10"/>
                    <a:pt x="56" y="5"/>
                  </a:cubicBezTo>
                  <a:cubicBezTo>
                    <a:pt x="51" y="0"/>
                    <a:pt x="39" y="2"/>
                    <a:pt x="32" y="5"/>
                  </a:cubicBezTo>
                  <a:cubicBezTo>
                    <a:pt x="26" y="7"/>
                    <a:pt x="18" y="2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8"/>
                    <a:pt x="7" y="10"/>
                    <a:pt x="5" y="12"/>
                  </a:cubicBezTo>
                  <a:cubicBezTo>
                    <a:pt x="0" y="16"/>
                    <a:pt x="1" y="20"/>
                    <a:pt x="0" y="21"/>
                  </a:cubicBezTo>
                  <a:cubicBezTo>
                    <a:pt x="1" y="22"/>
                    <a:pt x="3" y="22"/>
                    <a:pt x="5" y="23"/>
                  </a:cubicBezTo>
                  <a:cubicBezTo>
                    <a:pt x="10" y="27"/>
                    <a:pt x="15" y="24"/>
                    <a:pt x="17" y="26"/>
                  </a:cubicBezTo>
                  <a:cubicBezTo>
                    <a:pt x="17" y="27"/>
                    <a:pt x="17" y="30"/>
                    <a:pt x="17" y="34"/>
                  </a:cubicBezTo>
                  <a:cubicBezTo>
                    <a:pt x="18" y="33"/>
                    <a:pt x="18" y="32"/>
                    <a:pt x="20" y="34"/>
                  </a:cubicBezTo>
                  <a:cubicBezTo>
                    <a:pt x="22" y="35"/>
                    <a:pt x="21" y="37"/>
                    <a:pt x="21" y="3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7"/>
                    <a:pt x="28" y="35"/>
                    <a:pt x="29" y="3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271017" y="3298158"/>
              <a:ext cx="784674" cy="485209"/>
            </a:xfrm>
            <a:custGeom>
              <a:avLst/>
              <a:gdLst/>
              <a:ahLst/>
              <a:cxnLst>
                <a:cxn ang="0">
                  <a:pos x="301" y="199"/>
                </a:cxn>
                <a:cxn ang="0">
                  <a:pos x="296" y="180"/>
                </a:cxn>
                <a:cxn ang="0">
                  <a:pos x="324" y="173"/>
                </a:cxn>
                <a:cxn ang="0">
                  <a:pos x="334" y="161"/>
                </a:cxn>
                <a:cxn ang="0">
                  <a:pos x="343" y="139"/>
                </a:cxn>
                <a:cxn ang="0">
                  <a:pos x="315" y="137"/>
                </a:cxn>
                <a:cxn ang="0">
                  <a:pos x="297" y="161"/>
                </a:cxn>
                <a:cxn ang="0">
                  <a:pos x="281" y="170"/>
                </a:cxn>
                <a:cxn ang="0">
                  <a:pos x="242" y="169"/>
                </a:cxn>
                <a:cxn ang="0">
                  <a:pos x="224" y="143"/>
                </a:cxn>
                <a:cxn ang="0">
                  <a:pos x="223" y="90"/>
                </a:cxn>
                <a:cxn ang="0">
                  <a:pos x="219" y="83"/>
                </a:cxn>
                <a:cxn ang="0">
                  <a:pos x="200" y="71"/>
                </a:cxn>
                <a:cxn ang="0">
                  <a:pos x="187" y="47"/>
                </a:cxn>
                <a:cxn ang="0">
                  <a:pos x="158" y="46"/>
                </a:cxn>
                <a:cxn ang="0">
                  <a:pos x="141" y="32"/>
                </a:cxn>
                <a:cxn ang="0">
                  <a:pos x="121" y="11"/>
                </a:cxn>
                <a:cxn ang="0">
                  <a:pos x="100" y="16"/>
                </a:cxn>
                <a:cxn ang="0">
                  <a:pos x="39" y="6"/>
                </a:cxn>
                <a:cxn ang="0">
                  <a:pos x="0" y="3"/>
                </a:cxn>
                <a:cxn ang="0">
                  <a:pos x="16" y="35"/>
                </a:cxn>
                <a:cxn ang="0">
                  <a:pos x="35" y="61"/>
                </a:cxn>
                <a:cxn ang="0">
                  <a:pos x="40" y="72"/>
                </a:cxn>
                <a:cxn ang="0">
                  <a:pos x="56" y="94"/>
                </a:cxn>
                <a:cxn ang="0">
                  <a:pos x="81" y="120"/>
                </a:cxn>
                <a:cxn ang="0">
                  <a:pos x="84" y="107"/>
                </a:cxn>
                <a:cxn ang="0">
                  <a:pos x="71" y="93"/>
                </a:cxn>
                <a:cxn ang="0">
                  <a:pos x="52" y="60"/>
                </a:cxn>
                <a:cxn ang="0">
                  <a:pos x="44" y="42"/>
                </a:cxn>
                <a:cxn ang="0">
                  <a:pos x="29" y="29"/>
                </a:cxn>
                <a:cxn ang="0">
                  <a:pos x="29" y="11"/>
                </a:cxn>
                <a:cxn ang="0">
                  <a:pos x="39" y="16"/>
                </a:cxn>
                <a:cxn ang="0">
                  <a:pos x="49" y="32"/>
                </a:cxn>
                <a:cxn ang="0">
                  <a:pos x="56" y="47"/>
                </a:cxn>
                <a:cxn ang="0">
                  <a:pos x="73" y="60"/>
                </a:cxn>
                <a:cxn ang="0">
                  <a:pos x="87" y="74"/>
                </a:cxn>
                <a:cxn ang="0">
                  <a:pos x="95" y="89"/>
                </a:cxn>
                <a:cxn ang="0">
                  <a:pos x="129" y="125"/>
                </a:cxn>
                <a:cxn ang="0">
                  <a:pos x="134" y="145"/>
                </a:cxn>
                <a:cxn ang="0">
                  <a:pos x="139" y="163"/>
                </a:cxn>
                <a:cxn ang="0">
                  <a:pos x="174" y="180"/>
                </a:cxn>
                <a:cxn ang="0">
                  <a:pos x="221" y="202"/>
                </a:cxn>
                <a:cxn ang="0">
                  <a:pos x="265" y="204"/>
                </a:cxn>
                <a:cxn ang="0">
                  <a:pos x="286" y="201"/>
                </a:cxn>
              </a:cxnLst>
              <a:rect l="0" t="0" r="r" b="b"/>
              <a:pathLst>
                <a:path w="344" h="213">
                  <a:moveTo>
                    <a:pt x="286" y="201"/>
                  </a:moveTo>
                  <a:cubicBezTo>
                    <a:pt x="287" y="201"/>
                    <a:pt x="300" y="202"/>
                    <a:pt x="301" y="199"/>
                  </a:cubicBezTo>
                  <a:cubicBezTo>
                    <a:pt x="302" y="196"/>
                    <a:pt x="292" y="189"/>
                    <a:pt x="293" y="188"/>
                  </a:cubicBezTo>
                  <a:cubicBezTo>
                    <a:pt x="294" y="188"/>
                    <a:pt x="294" y="180"/>
                    <a:pt x="296" y="180"/>
                  </a:cubicBezTo>
                  <a:cubicBezTo>
                    <a:pt x="298" y="180"/>
                    <a:pt x="316" y="181"/>
                    <a:pt x="317" y="180"/>
                  </a:cubicBezTo>
                  <a:cubicBezTo>
                    <a:pt x="318" y="180"/>
                    <a:pt x="321" y="173"/>
                    <a:pt x="324" y="173"/>
                  </a:cubicBezTo>
                  <a:cubicBezTo>
                    <a:pt x="325" y="173"/>
                    <a:pt x="327" y="175"/>
                    <a:pt x="329" y="176"/>
                  </a:cubicBezTo>
                  <a:cubicBezTo>
                    <a:pt x="333" y="173"/>
                    <a:pt x="334" y="167"/>
                    <a:pt x="334" y="161"/>
                  </a:cubicBezTo>
                  <a:cubicBezTo>
                    <a:pt x="335" y="154"/>
                    <a:pt x="333" y="152"/>
                    <a:pt x="336" y="148"/>
                  </a:cubicBezTo>
                  <a:cubicBezTo>
                    <a:pt x="340" y="145"/>
                    <a:pt x="344" y="144"/>
                    <a:pt x="343" y="139"/>
                  </a:cubicBezTo>
                  <a:cubicBezTo>
                    <a:pt x="342" y="134"/>
                    <a:pt x="337" y="139"/>
                    <a:pt x="333" y="137"/>
                  </a:cubicBezTo>
                  <a:cubicBezTo>
                    <a:pt x="329" y="134"/>
                    <a:pt x="325" y="136"/>
                    <a:pt x="315" y="137"/>
                  </a:cubicBezTo>
                  <a:cubicBezTo>
                    <a:pt x="305" y="139"/>
                    <a:pt x="300" y="143"/>
                    <a:pt x="301" y="150"/>
                  </a:cubicBezTo>
                  <a:cubicBezTo>
                    <a:pt x="301" y="158"/>
                    <a:pt x="297" y="154"/>
                    <a:pt x="297" y="161"/>
                  </a:cubicBezTo>
                  <a:cubicBezTo>
                    <a:pt x="298" y="167"/>
                    <a:pt x="289" y="167"/>
                    <a:pt x="290" y="171"/>
                  </a:cubicBezTo>
                  <a:cubicBezTo>
                    <a:pt x="290" y="175"/>
                    <a:pt x="283" y="171"/>
                    <a:pt x="281" y="170"/>
                  </a:cubicBezTo>
                  <a:cubicBezTo>
                    <a:pt x="279" y="168"/>
                    <a:pt x="258" y="175"/>
                    <a:pt x="255" y="175"/>
                  </a:cubicBezTo>
                  <a:cubicBezTo>
                    <a:pt x="252" y="176"/>
                    <a:pt x="246" y="169"/>
                    <a:pt x="242" y="169"/>
                  </a:cubicBezTo>
                  <a:cubicBezTo>
                    <a:pt x="238" y="170"/>
                    <a:pt x="236" y="163"/>
                    <a:pt x="236" y="158"/>
                  </a:cubicBezTo>
                  <a:cubicBezTo>
                    <a:pt x="235" y="153"/>
                    <a:pt x="227" y="148"/>
                    <a:pt x="224" y="143"/>
                  </a:cubicBezTo>
                  <a:cubicBezTo>
                    <a:pt x="220" y="138"/>
                    <a:pt x="220" y="128"/>
                    <a:pt x="219" y="121"/>
                  </a:cubicBezTo>
                  <a:cubicBezTo>
                    <a:pt x="219" y="114"/>
                    <a:pt x="218" y="103"/>
                    <a:pt x="223" y="90"/>
                  </a:cubicBezTo>
                  <a:cubicBezTo>
                    <a:pt x="224" y="88"/>
                    <a:pt x="224" y="86"/>
                    <a:pt x="224" y="85"/>
                  </a:cubicBezTo>
                  <a:cubicBezTo>
                    <a:pt x="222" y="84"/>
                    <a:pt x="221" y="83"/>
                    <a:pt x="219" y="83"/>
                  </a:cubicBezTo>
                  <a:cubicBezTo>
                    <a:pt x="215" y="83"/>
                    <a:pt x="206" y="77"/>
                    <a:pt x="204" y="77"/>
                  </a:cubicBezTo>
                  <a:cubicBezTo>
                    <a:pt x="202" y="77"/>
                    <a:pt x="202" y="73"/>
                    <a:pt x="200" y="71"/>
                  </a:cubicBezTo>
                  <a:cubicBezTo>
                    <a:pt x="199" y="68"/>
                    <a:pt x="200" y="64"/>
                    <a:pt x="198" y="62"/>
                  </a:cubicBezTo>
                  <a:cubicBezTo>
                    <a:pt x="196" y="60"/>
                    <a:pt x="189" y="54"/>
                    <a:pt x="187" y="47"/>
                  </a:cubicBezTo>
                  <a:cubicBezTo>
                    <a:pt x="185" y="39"/>
                    <a:pt x="172" y="36"/>
                    <a:pt x="167" y="35"/>
                  </a:cubicBezTo>
                  <a:cubicBezTo>
                    <a:pt x="162" y="35"/>
                    <a:pt x="160" y="45"/>
                    <a:pt x="158" y="46"/>
                  </a:cubicBezTo>
                  <a:cubicBezTo>
                    <a:pt x="157" y="46"/>
                    <a:pt x="148" y="40"/>
                    <a:pt x="145" y="39"/>
                  </a:cubicBezTo>
                  <a:cubicBezTo>
                    <a:pt x="143" y="38"/>
                    <a:pt x="141" y="35"/>
                    <a:pt x="141" y="32"/>
                  </a:cubicBezTo>
                  <a:cubicBezTo>
                    <a:pt x="141" y="29"/>
                    <a:pt x="136" y="24"/>
                    <a:pt x="134" y="23"/>
                  </a:cubicBezTo>
                  <a:cubicBezTo>
                    <a:pt x="132" y="22"/>
                    <a:pt x="121" y="11"/>
                    <a:pt x="121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43" y="7"/>
                    <a:pt x="39" y="6"/>
                  </a:cubicBezTo>
                  <a:cubicBezTo>
                    <a:pt x="34" y="5"/>
                    <a:pt x="26" y="0"/>
                    <a:pt x="26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6"/>
                    <a:pt x="3" y="9"/>
                    <a:pt x="6" y="13"/>
                  </a:cubicBezTo>
                  <a:cubicBezTo>
                    <a:pt x="11" y="19"/>
                    <a:pt x="15" y="31"/>
                    <a:pt x="16" y="35"/>
                  </a:cubicBezTo>
                  <a:cubicBezTo>
                    <a:pt x="16" y="39"/>
                    <a:pt x="23" y="42"/>
                    <a:pt x="30" y="46"/>
                  </a:cubicBezTo>
                  <a:cubicBezTo>
                    <a:pt x="36" y="50"/>
                    <a:pt x="36" y="59"/>
                    <a:pt x="35" y="61"/>
                  </a:cubicBezTo>
                  <a:cubicBezTo>
                    <a:pt x="34" y="63"/>
                    <a:pt x="27" y="59"/>
                    <a:pt x="26" y="62"/>
                  </a:cubicBezTo>
                  <a:cubicBezTo>
                    <a:pt x="26" y="64"/>
                    <a:pt x="36" y="73"/>
                    <a:pt x="40" y="72"/>
                  </a:cubicBezTo>
                  <a:cubicBezTo>
                    <a:pt x="44" y="72"/>
                    <a:pt x="46" y="74"/>
                    <a:pt x="52" y="80"/>
                  </a:cubicBezTo>
                  <a:cubicBezTo>
                    <a:pt x="59" y="85"/>
                    <a:pt x="58" y="92"/>
                    <a:pt x="56" y="94"/>
                  </a:cubicBezTo>
                  <a:cubicBezTo>
                    <a:pt x="53" y="96"/>
                    <a:pt x="61" y="100"/>
                    <a:pt x="69" y="105"/>
                  </a:cubicBezTo>
                  <a:cubicBezTo>
                    <a:pt x="77" y="110"/>
                    <a:pt x="80" y="117"/>
                    <a:pt x="81" y="120"/>
                  </a:cubicBezTo>
                  <a:cubicBezTo>
                    <a:pt x="81" y="122"/>
                    <a:pt x="85" y="120"/>
                    <a:pt x="86" y="116"/>
                  </a:cubicBezTo>
                  <a:cubicBezTo>
                    <a:pt x="87" y="112"/>
                    <a:pt x="84" y="111"/>
                    <a:pt x="84" y="107"/>
                  </a:cubicBezTo>
                  <a:cubicBezTo>
                    <a:pt x="84" y="103"/>
                    <a:pt x="77" y="104"/>
                    <a:pt x="74" y="103"/>
                  </a:cubicBezTo>
                  <a:cubicBezTo>
                    <a:pt x="71" y="103"/>
                    <a:pt x="74" y="96"/>
                    <a:pt x="71" y="93"/>
                  </a:cubicBezTo>
                  <a:cubicBezTo>
                    <a:pt x="68" y="90"/>
                    <a:pt x="66" y="83"/>
                    <a:pt x="64" y="77"/>
                  </a:cubicBezTo>
                  <a:cubicBezTo>
                    <a:pt x="63" y="72"/>
                    <a:pt x="55" y="66"/>
                    <a:pt x="52" y="60"/>
                  </a:cubicBezTo>
                  <a:cubicBezTo>
                    <a:pt x="48" y="54"/>
                    <a:pt x="45" y="49"/>
                    <a:pt x="43" y="48"/>
                  </a:cubicBezTo>
                  <a:cubicBezTo>
                    <a:pt x="40" y="46"/>
                    <a:pt x="46" y="44"/>
                    <a:pt x="44" y="42"/>
                  </a:cubicBezTo>
                  <a:cubicBezTo>
                    <a:pt x="42" y="40"/>
                    <a:pt x="39" y="40"/>
                    <a:pt x="35" y="38"/>
                  </a:cubicBezTo>
                  <a:cubicBezTo>
                    <a:pt x="31" y="36"/>
                    <a:pt x="29" y="33"/>
                    <a:pt x="29" y="29"/>
                  </a:cubicBezTo>
                  <a:cubicBezTo>
                    <a:pt x="29" y="25"/>
                    <a:pt x="26" y="16"/>
                    <a:pt x="25" y="13"/>
                  </a:cubicBezTo>
                  <a:cubicBezTo>
                    <a:pt x="24" y="9"/>
                    <a:pt x="28" y="10"/>
                    <a:pt x="29" y="11"/>
                  </a:cubicBezTo>
                  <a:cubicBezTo>
                    <a:pt x="30" y="13"/>
                    <a:pt x="31" y="14"/>
                    <a:pt x="33" y="13"/>
                  </a:cubicBezTo>
                  <a:cubicBezTo>
                    <a:pt x="35" y="12"/>
                    <a:pt x="38" y="13"/>
                    <a:pt x="39" y="16"/>
                  </a:cubicBezTo>
                  <a:cubicBezTo>
                    <a:pt x="40" y="19"/>
                    <a:pt x="45" y="16"/>
                    <a:pt x="47" y="17"/>
                  </a:cubicBezTo>
                  <a:cubicBezTo>
                    <a:pt x="49" y="19"/>
                    <a:pt x="42" y="20"/>
                    <a:pt x="49" y="32"/>
                  </a:cubicBezTo>
                  <a:cubicBezTo>
                    <a:pt x="55" y="43"/>
                    <a:pt x="51" y="37"/>
                    <a:pt x="51" y="44"/>
                  </a:cubicBezTo>
                  <a:cubicBezTo>
                    <a:pt x="51" y="52"/>
                    <a:pt x="55" y="49"/>
                    <a:pt x="56" y="47"/>
                  </a:cubicBezTo>
                  <a:cubicBezTo>
                    <a:pt x="57" y="46"/>
                    <a:pt x="61" y="50"/>
                    <a:pt x="64" y="54"/>
                  </a:cubicBezTo>
                  <a:cubicBezTo>
                    <a:pt x="67" y="58"/>
                    <a:pt x="73" y="58"/>
                    <a:pt x="73" y="60"/>
                  </a:cubicBezTo>
                  <a:cubicBezTo>
                    <a:pt x="73" y="63"/>
                    <a:pt x="75" y="67"/>
                    <a:pt x="79" y="68"/>
                  </a:cubicBezTo>
                  <a:cubicBezTo>
                    <a:pt x="83" y="69"/>
                    <a:pt x="84" y="73"/>
                    <a:pt x="87" y="74"/>
                  </a:cubicBezTo>
                  <a:cubicBezTo>
                    <a:pt x="89" y="74"/>
                    <a:pt x="90" y="77"/>
                    <a:pt x="88" y="81"/>
                  </a:cubicBezTo>
                  <a:cubicBezTo>
                    <a:pt x="87" y="84"/>
                    <a:pt x="88" y="87"/>
                    <a:pt x="95" y="89"/>
                  </a:cubicBezTo>
                  <a:cubicBezTo>
                    <a:pt x="102" y="92"/>
                    <a:pt x="99" y="93"/>
                    <a:pt x="105" y="98"/>
                  </a:cubicBezTo>
                  <a:cubicBezTo>
                    <a:pt x="110" y="103"/>
                    <a:pt x="126" y="120"/>
                    <a:pt x="129" y="125"/>
                  </a:cubicBezTo>
                  <a:cubicBezTo>
                    <a:pt x="132" y="130"/>
                    <a:pt x="133" y="134"/>
                    <a:pt x="134" y="137"/>
                  </a:cubicBezTo>
                  <a:cubicBezTo>
                    <a:pt x="136" y="141"/>
                    <a:pt x="132" y="142"/>
                    <a:pt x="134" y="145"/>
                  </a:cubicBezTo>
                  <a:cubicBezTo>
                    <a:pt x="136" y="148"/>
                    <a:pt x="130" y="147"/>
                    <a:pt x="130" y="149"/>
                  </a:cubicBezTo>
                  <a:cubicBezTo>
                    <a:pt x="131" y="152"/>
                    <a:pt x="134" y="163"/>
                    <a:pt x="139" y="163"/>
                  </a:cubicBezTo>
                  <a:cubicBezTo>
                    <a:pt x="145" y="164"/>
                    <a:pt x="151" y="171"/>
                    <a:pt x="156" y="174"/>
                  </a:cubicBezTo>
                  <a:cubicBezTo>
                    <a:pt x="160" y="178"/>
                    <a:pt x="167" y="177"/>
                    <a:pt x="174" y="180"/>
                  </a:cubicBezTo>
                  <a:cubicBezTo>
                    <a:pt x="180" y="182"/>
                    <a:pt x="186" y="188"/>
                    <a:pt x="196" y="191"/>
                  </a:cubicBezTo>
                  <a:cubicBezTo>
                    <a:pt x="206" y="194"/>
                    <a:pt x="215" y="198"/>
                    <a:pt x="221" y="202"/>
                  </a:cubicBezTo>
                  <a:cubicBezTo>
                    <a:pt x="228" y="206"/>
                    <a:pt x="235" y="204"/>
                    <a:pt x="244" y="201"/>
                  </a:cubicBezTo>
                  <a:cubicBezTo>
                    <a:pt x="253" y="197"/>
                    <a:pt x="260" y="202"/>
                    <a:pt x="265" y="204"/>
                  </a:cubicBezTo>
                  <a:cubicBezTo>
                    <a:pt x="267" y="205"/>
                    <a:pt x="272" y="209"/>
                    <a:pt x="277" y="213"/>
                  </a:cubicBezTo>
                  <a:cubicBezTo>
                    <a:pt x="281" y="207"/>
                    <a:pt x="285" y="201"/>
                    <a:pt x="286" y="20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02167" y="3707552"/>
              <a:ext cx="109930" cy="108035"/>
            </a:xfrm>
            <a:custGeom>
              <a:avLst/>
              <a:gdLst/>
              <a:ahLst/>
              <a:cxnLst>
                <a:cxn ang="0">
                  <a:pos x="42" y="31"/>
                </a:cxn>
                <a:cxn ang="0">
                  <a:pos x="48" y="25"/>
                </a:cxn>
                <a:cxn ang="0">
                  <a:pos x="43" y="22"/>
                </a:cxn>
                <a:cxn ang="0">
                  <a:pos x="38" y="23"/>
                </a:cxn>
                <a:cxn ang="0">
                  <a:pos x="38" y="0"/>
                </a:cxn>
                <a:cxn ang="0">
                  <a:pos x="19" y="0"/>
                </a:cxn>
                <a:cxn ang="0">
                  <a:pos x="16" y="8"/>
                </a:cxn>
                <a:cxn ang="0">
                  <a:pos x="24" y="19"/>
                </a:cxn>
                <a:cxn ang="0">
                  <a:pos x="9" y="21"/>
                </a:cxn>
                <a:cxn ang="0">
                  <a:pos x="0" y="33"/>
                </a:cxn>
                <a:cxn ang="0">
                  <a:pos x="12" y="44"/>
                </a:cxn>
                <a:cxn ang="0">
                  <a:pos x="28" y="47"/>
                </a:cxn>
                <a:cxn ang="0">
                  <a:pos x="28" y="47"/>
                </a:cxn>
                <a:cxn ang="0">
                  <a:pos x="36" y="40"/>
                </a:cxn>
                <a:cxn ang="0">
                  <a:pos x="42" y="31"/>
                </a:cxn>
              </a:cxnLst>
              <a:rect l="0" t="0" r="r" b="b"/>
              <a:pathLst>
                <a:path w="48" h="47">
                  <a:moveTo>
                    <a:pt x="42" y="31"/>
                  </a:moveTo>
                  <a:cubicBezTo>
                    <a:pt x="44" y="29"/>
                    <a:pt x="46" y="27"/>
                    <a:pt x="48" y="25"/>
                  </a:cubicBezTo>
                  <a:cubicBezTo>
                    <a:pt x="44" y="27"/>
                    <a:pt x="43" y="25"/>
                    <a:pt x="43" y="22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4" y="0"/>
                    <a:pt x="21" y="0"/>
                    <a:pt x="19" y="0"/>
                  </a:cubicBezTo>
                  <a:cubicBezTo>
                    <a:pt x="17" y="0"/>
                    <a:pt x="17" y="8"/>
                    <a:pt x="16" y="8"/>
                  </a:cubicBezTo>
                  <a:cubicBezTo>
                    <a:pt x="15" y="9"/>
                    <a:pt x="25" y="16"/>
                    <a:pt x="24" y="19"/>
                  </a:cubicBezTo>
                  <a:cubicBezTo>
                    <a:pt x="23" y="22"/>
                    <a:pt x="10" y="21"/>
                    <a:pt x="9" y="21"/>
                  </a:cubicBezTo>
                  <a:cubicBezTo>
                    <a:pt x="8" y="21"/>
                    <a:pt x="4" y="27"/>
                    <a:pt x="0" y="33"/>
                  </a:cubicBezTo>
                  <a:cubicBezTo>
                    <a:pt x="5" y="38"/>
                    <a:pt x="10" y="42"/>
                    <a:pt x="12" y="44"/>
                  </a:cubicBezTo>
                  <a:cubicBezTo>
                    <a:pt x="17" y="47"/>
                    <a:pt x="25" y="44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32" y="44"/>
                    <a:pt x="35" y="40"/>
                    <a:pt x="36" y="40"/>
                  </a:cubicBezTo>
                  <a:cubicBezTo>
                    <a:pt x="39" y="39"/>
                    <a:pt x="37" y="35"/>
                    <a:pt x="42" y="3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989353" y="3692390"/>
              <a:ext cx="32221" cy="68232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0" y="7"/>
                </a:cxn>
                <a:cxn ang="0">
                  <a:pos x="0" y="30"/>
                </a:cxn>
                <a:cxn ang="0">
                  <a:pos x="5" y="29"/>
                </a:cxn>
                <a:cxn ang="0">
                  <a:pos x="9" y="24"/>
                </a:cxn>
                <a:cxn ang="0">
                  <a:pos x="12" y="5"/>
                </a:cxn>
                <a:cxn ang="0">
                  <a:pos x="14" y="3"/>
                </a:cxn>
                <a:cxn ang="0">
                  <a:pos x="9" y="0"/>
                </a:cxn>
                <a:cxn ang="0">
                  <a:pos x="2" y="7"/>
                </a:cxn>
              </a:cxnLst>
              <a:rect l="0" t="0" r="r" b="b"/>
              <a:pathLst>
                <a:path w="14" h="30">
                  <a:moveTo>
                    <a:pt x="2" y="7"/>
                  </a:moveTo>
                  <a:cubicBezTo>
                    <a:pt x="2" y="7"/>
                    <a:pt x="1" y="7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27"/>
                    <a:pt x="7" y="25"/>
                    <a:pt x="9" y="24"/>
                  </a:cubicBezTo>
                  <a:cubicBezTo>
                    <a:pt x="13" y="20"/>
                    <a:pt x="7" y="6"/>
                    <a:pt x="12" y="5"/>
                  </a:cubicBezTo>
                  <a:cubicBezTo>
                    <a:pt x="13" y="5"/>
                    <a:pt x="14" y="4"/>
                    <a:pt x="14" y="3"/>
                  </a:cubicBezTo>
                  <a:cubicBezTo>
                    <a:pt x="12" y="2"/>
                    <a:pt x="10" y="0"/>
                    <a:pt x="9" y="0"/>
                  </a:cubicBezTo>
                  <a:cubicBezTo>
                    <a:pt x="6" y="0"/>
                    <a:pt x="3" y="7"/>
                    <a:pt x="2" y="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366528" y="3641215"/>
              <a:ext cx="77710" cy="66338"/>
            </a:xfrm>
            <a:custGeom>
              <a:avLst/>
              <a:gdLst/>
              <a:ahLst/>
              <a:cxnLst>
                <a:cxn ang="0">
                  <a:pos x="16" y="3"/>
                </a:cxn>
                <a:cxn ang="0">
                  <a:pos x="23" y="19"/>
                </a:cxn>
                <a:cxn ang="0">
                  <a:pos x="1" y="23"/>
                </a:cxn>
                <a:cxn ang="0">
                  <a:pos x="16" y="26"/>
                </a:cxn>
                <a:cxn ang="0">
                  <a:pos x="31" y="28"/>
                </a:cxn>
                <a:cxn ang="0">
                  <a:pos x="34" y="6"/>
                </a:cxn>
                <a:cxn ang="0">
                  <a:pos x="16" y="3"/>
                </a:cxn>
              </a:cxnLst>
              <a:rect l="0" t="0" r="r" b="b"/>
              <a:pathLst>
                <a:path w="34" h="29">
                  <a:moveTo>
                    <a:pt x="16" y="3"/>
                  </a:moveTo>
                  <a:cubicBezTo>
                    <a:pt x="11" y="7"/>
                    <a:pt x="23" y="14"/>
                    <a:pt x="23" y="19"/>
                  </a:cubicBezTo>
                  <a:cubicBezTo>
                    <a:pt x="23" y="23"/>
                    <a:pt x="3" y="18"/>
                    <a:pt x="1" y="23"/>
                  </a:cubicBezTo>
                  <a:cubicBezTo>
                    <a:pt x="0" y="25"/>
                    <a:pt x="8" y="29"/>
                    <a:pt x="16" y="26"/>
                  </a:cubicBezTo>
                  <a:cubicBezTo>
                    <a:pt x="23" y="24"/>
                    <a:pt x="28" y="26"/>
                    <a:pt x="31" y="28"/>
                  </a:cubicBezTo>
                  <a:cubicBezTo>
                    <a:pt x="32" y="21"/>
                    <a:pt x="33" y="12"/>
                    <a:pt x="34" y="6"/>
                  </a:cubicBezTo>
                  <a:cubicBezTo>
                    <a:pt x="27" y="5"/>
                    <a:pt x="19" y="0"/>
                    <a:pt x="16" y="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0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436655" y="3652587"/>
              <a:ext cx="89082" cy="60651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39" y="14"/>
                </a:cxn>
                <a:cxn ang="0">
                  <a:pos x="9" y="2"/>
                </a:cxn>
                <a:cxn ang="0">
                  <a:pos x="3" y="1"/>
                </a:cxn>
                <a:cxn ang="0">
                  <a:pos x="0" y="23"/>
                </a:cxn>
                <a:cxn ang="0">
                  <a:pos x="1" y="24"/>
                </a:cxn>
                <a:cxn ang="0">
                  <a:pos x="15" y="19"/>
                </a:cxn>
              </a:cxnLst>
              <a:rect l="0" t="0" r="r" b="b"/>
              <a:pathLst>
                <a:path w="39" h="26">
                  <a:moveTo>
                    <a:pt x="15" y="19"/>
                  </a:moveTo>
                  <a:cubicBezTo>
                    <a:pt x="24" y="16"/>
                    <a:pt x="39" y="21"/>
                    <a:pt x="39" y="14"/>
                  </a:cubicBezTo>
                  <a:cubicBezTo>
                    <a:pt x="39" y="7"/>
                    <a:pt x="15" y="0"/>
                    <a:pt x="9" y="2"/>
                  </a:cubicBezTo>
                  <a:cubicBezTo>
                    <a:pt x="7" y="2"/>
                    <a:pt x="5" y="2"/>
                    <a:pt x="3" y="1"/>
                  </a:cubicBezTo>
                  <a:cubicBezTo>
                    <a:pt x="2" y="7"/>
                    <a:pt x="1" y="16"/>
                    <a:pt x="0" y="23"/>
                  </a:cubicBezTo>
                  <a:cubicBezTo>
                    <a:pt x="1" y="23"/>
                    <a:pt x="1" y="23"/>
                    <a:pt x="1" y="24"/>
                  </a:cubicBezTo>
                  <a:cubicBezTo>
                    <a:pt x="5" y="26"/>
                    <a:pt x="6" y="22"/>
                    <a:pt x="15" y="1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034841" y="3783366"/>
              <a:ext cx="109930" cy="111826"/>
            </a:xfrm>
            <a:custGeom>
              <a:avLst/>
              <a:gdLst/>
              <a:ahLst/>
              <a:cxnLst>
                <a:cxn ang="0">
                  <a:pos x="26" y="46"/>
                </a:cxn>
                <a:cxn ang="0">
                  <a:pos x="37" y="48"/>
                </a:cxn>
                <a:cxn ang="0">
                  <a:pos x="42" y="49"/>
                </a:cxn>
                <a:cxn ang="0">
                  <a:pos x="41" y="47"/>
                </a:cxn>
                <a:cxn ang="0">
                  <a:pos x="44" y="32"/>
                </a:cxn>
                <a:cxn ang="0">
                  <a:pos x="45" y="13"/>
                </a:cxn>
                <a:cxn ang="0">
                  <a:pos x="48" y="1"/>
                </a:cxn>
                <a:cxn ang="0">
                  <a:pos x="48" y="0"/>
                </a:cxn>
                <a:cxn ang="0">
                  <a:pos x="34" y="5"/>
                </a:cxn>
                <a:cxn ang="0">
                  <a:pos x="24" y="8"/>
                </a:cxn>
                <a:cxn ang="0">
                  <a:pos x="11" y="13"/>
                </a:cxn>
                <a:cxn ang="0">
                  <a:pos x="8" y="20"/>
                </a:cxn>
                <a:cxn ang="0">
                  <a:pos x="4" y="23"/>
                </a:cxn>
                <a:cxn ang="0">
                  <a:pos x="0" y="24"/>
                </a:cxn>
                <a:cxn ang="0">
                  <a:pos x="2" y="28"/>
                </a:cxn>
                <a:cxn ang="0">
                  <a:pos x="16" y="42"/>
                </a:cxn>
                <a:cxn ang="0">
                  <a:pos x="19" y="46"/>
                </a:cxn>
                <a:cxn ang="0">
                  <a:pos x="26" y="46"/>
                </a:cxn>
              </a:cxnLst>
              <a:rect l="0" t="0" r="r" b="b"/>
              <a:pathLst>
                <a:path w="48" h="49">
                  <a:moveTo>
                    <a:pt x="26" y="46"/>
                  </a:moveTo>
                  <a:cubicBezTo>
                    <a:pt x="28" y="48"/>
                    <a:pt x="34" y="46"/>
                    <a:pt x="37" y="48"/>
                  </a:cubicBezTo>
                  <a:cubicBezTo>
                    <a:pt x="38" y="49"/>
                    <a:pt x="40" y="49"/>
                    <a:pt x="42" y="49"/>
                  </a:cubicBezTo>
                  <a:cubicBezTo>
                    <a:pt x="42" y="48"/>
                    <a:pt x="41" y="47"/>
                    <a:pt x="41" y="47"/>
                  </a:cubicBezTo>
                  <a:cubicBezTo>
                    <a:pt x="39" y="43"/>
                    <a:pt x="42" y="37"/>
                    <a:pt x="44" y="32"/>
                  </a:cubicBezTo>
                  <a:cubicBezTo>
                    <a:pt x="45" y="27"/>
                    <a:pt x="42" y="16"/>
                    <a:pt x="45" y="13"/>
                  </a:cubicBezTo>
                  <a:cubicBezTo>
                    <a:pt x="48" y="10"/>
                    <a:pt x="46" y="8"/>
                    <a:pt x="48" y="1"/>
                  </a:cubicBezTo>
                  <a:cubicBezTo>
                    <a:pt x="48" y="1"/>
                    <a:pt x="48" y="0"/>
                    <a:pt x="48" y="0"/>
                  </a:cubicBezTo>
                  <a:cubicBezTo>
                    <a:pt x="42" y="0"/>
                    <a:pt x="36" y="5"/>
                    <a:pt x="34" y="5"/>
                  </a:cubicBezTo>
                  <a:cubicBezTo>
                    <a:pt x="32" y="5"/>
                    <a:pt x="25" y="3"/>
                    <a:pt x="24" y="8"/>
                  </a:cubicBezTo>
                  <a:cubicBezTo>
                    <a:pt x="23" y="12"/>
                    <a:pt x="18" y="12"/>
                    <a:pt x="11" y="13"/>
                  </a:cubicBezTo>
                  <a:cubicBezTo>
                    <a:pt x="5" y="13"/>
                    <a:pt x="8" y="19"/>
                    <a:pt x="8" y="20"/>
                  </a:cubicBezTo>
                  <a:cubicBezTo>
                    <a:pt x="7" y="21"/>
                    <a:pt x="4" y="23"/>
                    <a:pt x="4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6"/>
                    <a:pt x="0" y="27"/>
                    <a:pt x="2" y="28"/>
                  </a:cubicBezTo>
                  <a:cubicBezTo>
                    <a:pt x="6" y="31"/>
                    <a:pt x="11" y="39"/>
                    <a:pt x="16" y="42"/>
                  </a:cubicBezTo>
                  <a:cubicBezTo>
                    <a:pt x="18" y="43"/>
                    <a:pt x="19" y="44"/>
                    <a:pt x="19" y="46"/>
                  </a:cubicBezTo>
                  <a:cubicBezTo>
                    <a:pt x="22" y="46"/>
                    <a:pt x="24" y="46"/>
                    <a:pt x="26" y="4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381690" y="4039237"/>
              <a:ext cx="1027278" cy="1048127"/>
            </a:xfrm>
            <a:custGeom>
              <a:avLst/>
              <a:gdLst/>
              <a:ahLst/>
              <a:cxnLst>
                <a:cxn ang="0">
                  <a:pos x="253" y="427"/>
                </a:cxn>
                <a:cxn ang="0">
                  <a:pos x="260" y="429"/>
                </a:cxn>
                <a:cxn ang="0">
                  <a:pos x="289" y="379"/>
                </a:cxn>
                <a:cxn ang="0">
                  <a:pos x="307" y="343"/>
                </a:cxn>
                <a:cxn ang="0">
                  <a:pos x="337" y="326"/>
                </a:cxn>
                <a:cxn ang="0">
                  <a:pos x="372" y="316"/>
                </a:cxn>
                <a:cxn ang="0">
                  <a:pos x="386" y="290"/>
                </a:cxn>
                <a:cxn ang="0">
                  <a:pos x="397" y="264"/>
                </a:cxn>
                <a:cxn ang="0">
                  <a:pos x="401" y="211"/>
                </a:cxn>
                <a:cxn ang="0">
                  <a:pos x="409" y="206"/>
                </a:cxn>
                <a:cxn ang="0">
                  <a:pos x="445" y="158"/>
                </a:cxn>
                <a:cxn ang="0">
                  <a:pos x="406" y="104"/>
                </a:cxn>
                <a:cxn ang="0">
                  <a:pos x="336" y="96"/>
                </a:cxn>
                <a:cxn ang="0">
                  <a:pos x="295" y="74"/>
                </a:cxn>
                <a:cxn ang="0">
                  <a:pos x="291" y="67"/>
                </a:cxn>
                <a:cxn ang="0">
                  <a:pos x="264" y="60"/>
                </a:cxn>
                <a:cxn ang="0">
                  <a:pos x="258" y="13"/>
                </a:cxn>
                <a:cxn ang="0">
                  <a:pos x="222" y="32"/>
                </a:cxn>
                <a:cxn ang="0">
                  <a:pos x="191" y="39"/>
                </a:cxn>
                <a:cxn ang="0">
                  <a:pos x="165" y="40"/>
                </a:cxn>
                <a:cxn ang="0">
                  <a:pos x="157" y="1"/>
                </a:cxn>
                <a:cxn ang="0">
                  <a:pos x="129" y="17"/>
                </a:cxn>
                <a:cxn ang="0">
                  <a:pos x="107" y="15"/>
                </a:cxn>
                <a:cxn ang="0">
                  <a:pos x="120" y="32"/>
                </a:cxn>
                <a:cxn ang="0">
                  <a:pos x="105" y="46"/>
                </a:cxn>
                <a:cxn ang="0">
                  <a:pos x="84" y="49"/>
                </a:cxn>
                <a:cxn ang="0">
                  <a:pos x="48" y="42"/>
                </a:cxn>
                <a:cxn ang="0">
                  <a:pos x="45" y="59"/>
                </a:cxn>
                <a:cxn ang="0">
                  <a:pos x="46" y="108"/>
                </a:cxn>
                <a:cxn ang="0">
                  <a:pos x="12" y="120"/>
                </a:cxn>
                <a:cxn ang="0">
                  <a:pos x="2" y="144"/>
                </a:cxn>
                <a:cxn ang="0">
                  <a:pos x="15" y="168"/>
                </a:cxn>
                <a:cxn ang="0">
                  <a:pos x="38" y="172"/>
                </a:cxn>
                <a:cxn ang="0">
                  <a:pos x="65" y="184"/>
                </a:cxn>
                <a:cxn ang="0">
                  <a:pos x="99" y="174"/>
                </a:cxn>
                <a:cxn ang="0">
                  <a:pos x="124" y="206"/>
                </a:cxn>
                <a:cxn ang="0">
                  <a:pos x="150" y="217"/>
                </a:cxn>
                <a:cxn ang="0">
                  <a:pos x="158" y="242"/>
                </a:cxn>
                <a:cxn ang="0">
                  <a:pos x="186" y="265"/>
                </a:cxn>
                <a:cxn ang="0">
                  <a:pos x="182" y="293"/>
                </a:cxn>
                <a:cxn ang="0">
                  <a:pos x="199" y="317"/>
                </a:cxn>
                <a:cxn ang="0">
                  <a:pos x="222" y="337"/>
                </a:cxn>
                <a:cxn ang="0">
                  <a:pos x="230" y="375"/>
                </a:cxn>
                <a:cxn ang="0">
                  <a:pos x="187" y="415"/>
                </a:cxn>
                <a:cxn ang="0">
                  <a:pos x="205" y="426"/>
                </a:cxn>
                <a:cxn ang="0">
                  <a:pos x="232" y="443"/>
                </a:cxn>
              </a:cxnLst>
              <a:rect l="0" t="0" r="r" b="b"/>
              <a:pathLst>
                <a:path w="450" h="460">
                  <a:moveTo>
                    <a:pt x="238" y="455"/>
                  </a:moveTo>
                  <a:cubicBezTo>
                    <a:pt x="245" y="450"/>
                    <a:pt x="244" y="447"/>
                    <a:pt x="247" y="441"/>
                  </a:cubicBezTo>
                  <a:cubicBezTo>
                    <a:pt x="250" y="435"/>
                    <a:pt x="247" y="432"/>
                    <a:pt x="253" y="427"/>
                  </a:cubicBezTo>
                  <a:cubicBezTo>
                    <a:pt x="258" y="422"/>
                    <a:pt x="252" y="418"/>
                    <a:pt x="259" y="415"/>
                  </a:cubicBezTo>
                  <a:cubicBezTo>
                    <a:pt x="266" y="412"/>
                    <a:pt x="265" y="418"/>
                    <a:pt x="259" y="425"/>
                  </a:cubicBezTo>
                  <a:cubicBezTo>
                    <a:pt x="253" y="432"/>
                    <a:pt x="252" y="434"/>
                    <a:pt x="260" y="429"/>
                  </a:cubicBezTo>
                  <a:cubicBezTo>
                    <a:pt x="267" y="423"/>
                    <a:pt x="270" y="416"/>
                    <a:pt x="274" y="407"/>
                  </a:cubicBezTo>
                  <a:cubicBezTo>
                    <a:pt x="279" y="398"/>
                    <a:pt x="282" y="395"/>
                    <a:pt x="286" y="395"/>
                  </a:cubicBezTo>
                  <a:cubicBezTo>
                    <a:pt x="289" y="394"/>
                    <a:pt x="289" y="385"/>
                    <a:pt x="289" y="379"/>
                  </a:cubicBezTo>
                  <a:cubicBezTo>
                    <a:pt x="288" y="372"/>
                    <a:pt x="286" y="366"/>
                    <a:pt x="289" y="362"/>
                  </a:cubicBezTo>
                  <a:cubicBezTo>
                    <a:pt x="292" y="358"/>
                    <a:pt x="289" y="354"/>
                    <a:pt x="293" y="354"/>
                  </a:cubicBezTo>
                  <a:cubicBezTo>
                    <a:pt x="296" y="354"/>
                    <a:pt x="301" y="348"/>
                    <a:pt x="307" y="343"/>
                  </a:cubicBezTo>
                  <a:cubicBezTo>
                    <a:pt x="312" y="337"/>
                    <a:pt x="316" y="337"/>
                    <a:pt x="322" y="336"/>
                  </a:cubicBezTo>
                  <a:cubicBezTo>
                    <a:pt x="327" y="336"/>
                    <a:pt x="324" y="334"/>
                    <a:pt x="328" y="333"/>
                  </a:cubicBezTo>
                  <a:cubicBezTo>
                    <a:pt x="332" y="332"/>
                    <a:pt x="334" y="328"/>
                    <a:pt x="337" y="326"/>
                  </a:cubicBezTo>
                  <a:cubicBezTo>
                    <a:pt x="339" y="324"/>
                    <a:pt x="349" y="326"/>
                    <a:pt x="355" y="326"/>
                  </a:cubicBezTo>
                  <a:cubicBezTo>
                    <a:pt x="361" y="326"/>
                    <a:pt x="365" y="327"/>
                    <a:pt x="365" y="323"/>
                  </a:cubicBezTo>
                  <a:cubicBezTo>
                    <a:pt x="365" y="319"/>
                    <a:pt x="368" y="316"/>
                    <a:pt x="372" y="316"/>
                  </a:cubicBezTo>
                  <a:cubicBezTo>
                    <a:pt x="375" y="316"/>
                    <a:pt x="377" y="315"/>
                    <a:pt x="377" y="310"/>
                  </a:cubicBezTo>
                  <a:cubicBezTo>
                    <a:pt x="377" y="305"/>
                    <a:pt x="378" y="302"/>
                    <a:pt x="381" y="300"/>
                  </a:cubicBezTo>
                  <a:cubicBezTo>
                    <a:pt x="384" y="298"/>
                    <a:pt x="385" y="293"/>
                    <a:pt x="386" y="290"/>
                  </a:cubicBezTo>
                  <a:cubicBezTo>
                    <a:pt x="387" y="286"/>
                    <a:pt x="390" y="288"/>
                    <a:pt x="390" y="284"/>
                  </a:cubicBezTo>
                  <a:cubicBezTo>
                    <a:pt x="390" y="279"/>
                    <a:pt x="392" y="274"/>
                    <a:pt x="392" y="270"/>
                  </a:cubicBezTo>
                  <a:cubicBezTo>
                    <a:pt x="392" y="266"/>
                    <a:pt x="396" y="267"/>
                    <a:pt x="397" y="264"/>
                  </a:cubicBezTo>
                  <a:cubicBezTo>
                    <a:pt x="399" y="261"/>
                    <a:pt x="396" y="258"/>
                    <a:pt x="399" y="250"/>
                  </a:cubicBezTo>
                  <a:cubicBezTo>
                    <a:pt x="401" y="242"/>
                    <a:pt x="399" y="235"/>
                    <a:pt x="399" y="228"/>
                  </a:cubicBezTo>
                  <a:cubicBezTo>
                    <a:pt x="399" y="221"/>
                    <a:pt x="399" y="214"/>
                    <a:pt x="401" y="211"/>
                  </a:cubicBezTo>
                  <a:cubicBezTo>
                    <a:pt x="404" y="209"/>
                    <a:pt x="402" y="208"/>
                    <a:pt x="400" y="207"/>
                  </a:cubicBezTo>
                  <a:cubicBezTo>
                    <a:pt x="398" y="206"/>
                    <a:pt x="401" y="203"/>
                    <a:pt x="402" y="204"/>
                  </a:cubicBezTo>
                  <a:cubicBezTo>
                    <a:pt x="404" y="204"/>
                    <a:pt x="406" y="208"/>
                    <a:pt x="409" y="206"/>
                  </a:cubicBezTo>
                  <a:cubicBezTo>
                    <a:pt x="413" y="204"/>
                    <a:pt x="416" y="195"/>
                    <a:pt x="418" y="188"/>
                  </a:cubicBezTo>
                  <a:cubicBezTo>
                    <a:pt x="421" y="181"/>
                    <a:pt x="426" y="182"/>
                    <a:pt x="429" y="180"/>
                  </a:cubicBezTo>
                  <a:cubicBezTo>
                    <a:pt x="433" y="179"/>
                    <a:pt x="440" y="170"/>
                    <a:pt x="445" y="158"/>
                  </a:cubicBezTo>
                  <a:cubicBezTo>
                    <a:pt x="450" y="146"/>
                    <a:pt x="445" y="134"/>
                    <a:pt x="443" y="125"/>
                  </a:cubicBezTo>
                  <a:cubicBezTo>
                    <a:pt x="441" y="117"/>
                    <a:pt x="438" y="118"/>
                    <a:pt x="433" y="119"/>
                  </a:cubicBezTo>
                  <a:cubicBezTo>
                    <a:pt x="428" y="119"/>
                    <a:pt x="418" y="118"/>
                    <a:pt x="406" y="104"/>
                  </a:cubicBezTo>
                  <a:cubicBezTo>
                    <a:pt x="393" y="91"/>
                    <a:pt x="381" y="92"/>
                    <a:pt x="373" y="94"/>
                  </a:cubicBezTo>
                  <a:cubicBezTo>
                    <a:pt x="365" y="96"/>
                    <a:pt x="356" y="90"/>
                    <a:pt x="351" y="89"/>
                  </a:cubicBezTo>
                  <a:cubicBezTo>
                    <a:pt x="345" y="87"/>
                    <a:pt x="340" y="94"/>
                    <a:pt x="336" y="96"/>
                  </a:cubicBezTo>
                  <a:cubicBezTo>
                    <a:pt x="332" y="97"/>
                    <a:pt x="338" y="90"/>
                    <a:pt x="338" y="85"/>
                  </a:cubicBezTo>
                  <a:cubicBezTo>
                    <a:pt x="338" y="80"/>
                    <a:pt x="323" y="74"/>
                    <a:pt x="312" y="69"/>
                  </a:cubicBezTo>
                  <a:cubicBezTo>
                    <a:pt x="300" y="65"/>
                    <a:pt x="295" y="67"/>
                    <a:pt x="295" y="74"/>
                  </a:cubicBezTo>
                  <a:cubicBezTo>
                    <a:pt x="295" y="81"/>
                    <a:pt x="291" y="72"/>
                    <a:pt x="287" y="80"/>
                  </a:cubicBezTo>
                  <a:cubicBezTo>
                    <a:pt x="284" y="87"/>
                    <a:pt x="277" y="82"/>
                    <a:pt x="281" y="80"/>
                  </a:cubicBezTo>
                  <a:cubicBezTo>
                    <a:pt x="286" y="77"/>
                    <a:pt x="290" y="72"/>
                    <a:pt x="291" y="67"/>
                  </a:cubicBezTo>
                  <a:cubicBezTo>
                    <a:pt x="293" y="62"/>
                    <a:pt x="275" y="58"/>
                    <a:pt x="268" y="61"/>
                  </a:cubicBezTo>
                  <a:cubicBezTo>
                    <a:pt x="262" y="63"/>
                    <a:pt x="266" y="72"/>
                    <a:pt x="261" y="70"/>
                  </a:cubicBezTo>
                  <a:cubicBezTo>
                    <a:pt x="256" y="67"/>
                    <a:pt x="260" y="60"/>
                    <a:pt x="264" y="60"/>
                  </a:cubicBezTo>
                  <a:cubicBezTo>
                    <a:pt x="268" y="61"/>
                    <a:pt x="273" y="52"/>
                    <a:pt x="275" y="46"/>
                  </a:cubicBezTo>
                  <a:cubicBezTo>
                    <a:pt x="278" y="40"/>
                    <a:pt x="271" y="39"/>
                    <a:pt x="266" y="34"/>
                  </a:cubicBezTo>
                  <a:cubicBezTo>
                    <a:pt x="262" y="29"/>
                    <a:pt x="263" y="15"/>
                    <a:pt x="258" y="13"/>
                  </a:cubicBezTo>
                  <a:cubicBezTo>
                    <a:pt x="253" y="17"/>
                    <a:pt x="247" y="25"/>
                    <a:pt x="245" y="31"/>
                  </a:cubicBezTo>
                  <a:cubicBezTo>
                    <a:pt x="242" y="38"/>
                    <a:pt x="239" y="34"/>
                    <a:pt x="233" y="36"/>
                  </a:cubicBezTo>
                  <a:cubicBezTo>
                    <a:pt x="226" y="38"/>
                    <a:pt x="223" y="35"/>
                    <a:pt x="222" y="32"/>
                  </a:cubicBezTo>
                  <a:cubicBezTo>
                    <a:pt x="220" y="30"/>
                    <a:pt x="214" y="32"/>
                    <a:pt x="209" y="32"/>
                  </a:cubicBezTo>
                  <a:cubicBezTo>
                    <a:pt x="205" y="32"/>
                    <a:pt x="207" y="37"/>
                    <a:pt x="204" y="39"/>
                  </a:cubicBezTo>
                  <a:cubicBezTo>
                    <a:pt x="201" y="41"/>
                    <a:pt x="194" y="36"/>
                    <a:pt x="191" y="39"/>
                  </a:cubicBezTo>
                  <a:cubicBezTo>
                    <a:pt x="188" y="42"/>
                    <a:pt x="186" y="39"/>
                    <a:pt x="185" y="41"/>
                  </a:cubicBezTo>
                  <a:cubicBezTo>
                    <a:pt x="184" y="44"/>
                    <a:pt x="179" y="42"/>
                    <a:pt x="178" y="44"/>
                  </a:cubicBezTo>
                  <a:cubicBezTo>
                    <a:pt x="176" y="46"/>
                    <a:pt x="172" y="47"/>
                    <a:pt x="165" y="40"/>
                  </a:cubicBezTo>
                  <a:cubicBezTo>
                    <a:pt x="159" y="33"/>
                    <a:pt x="160" y="22"/>
                    <a:pt x="163" y="20"/>
                  </a:cubicBezTo>
                  <a:cubicBezTo>
                    <a:pt x="166" y="18"/>
                    <a:pt x="166" y="12"/>
                    <a:pt x="162" y="11"/>
                  </a:cubicBezTo>
                  <a:cubicBezTo>
                    <a:pt x="158" y="9"/>
                    <a:pt x="162" y="2"/>
                    <a:pt x="157" y="1"/>
                  </a:cubicBezTo>
                  <a:cubicBezTo>
                    <a:pt x="153" y="0"/>
                    <a:pt x="153" y="7"/>
                    <a:pt x="150" y="8"/>
                  </a:cubicBezTo>
                  <a:cubicBezTo>
                    <a:pt x="147" y="9"/>
                    <a:pt x="140" y="14"/>
                    <a:pt x="136" y="13"/>
                  </a:cubicBezTo>
                  <a:cubicBezTo>
                    <a:pt x="133" y="12"/>
                    <a:pt x="129" y="14"/>
                    <a:pt x="129" y="17"/>
                  </a:cubicBezTo>
                  <a:cubicBezTo>
                    <a:pt x="129" y="21"/>
                    <a:pt x="125" y="20"/>
                    <a:pt x="124" y="17"/>
                  </a:cubicBezTo>
                  <a:cubicBezTo>
                    <a:pt x="124" y="14"/>
                    <a:pt x="116" y="16"/>
                    <a:pt x="114" y="14"/>
                  </a:cubicBezTo>
                  <a:cubicBezTo>
                    <a:pt x="112" y="12"/>
                    <a:pt x="103" y="13"/>
                    <a:pt x="107" y="15"/>
                  </a:cubicBezTo>
                  <a:cubicBezTo>
                    <a:pt x="111" y="17"/>
                    <a:pt x="111" y="20"/>
                    <a:pt x="111" y="23"/>
                  </a:cubicBezTo>
                  <a:cubicBezTo>
                    <a:pt x="111" y="27"/>
                    <a:pt x="114" y="26"/>
                    <a:pt x="114" y="31"/>
                  </a:cubicBezTo>
                  <a:cubicBezTo>
                    <a:pt x="114" y="35"/>
                    <a:pt x="118" y="32"/>
                    <a:pt x="120" y="32"/>
                  </a:cubicBezTo>
                  <a:cubicBezTo>
                    <a:pt x="123" y="32"/>
                    <a:pt x="123" y="36"/>
                    <a:pt x="119" y="37"/>
                  </a:cubicBezTo>
                  <a:cubicBezTo>
                    <a:pt x="115" y="37"/>
                    <a:pt x="113" y="39"/>
                    <a:pt x="112" y="43"/>
                  </a:cubicBezTo>
                  <a:cubicBezTo>
                    <a:pt x="111" y="46"/>
                    <a:pt x="108" y="44"/>
                    <a:pt x="105" y="46"/>
                  </a:cubicBezTo>
                  <a:cubicBezTo>
                    <a:pt x="102" y="49"/>
                    <a:pt x="99" y="52"/>
                    <a:pt x="97" y="51"/>
                  </a:cubicBezTo>
                  <a:cubicBezTo>
                    <a:pt x="95" y="49"/>
                    <a:pt x="93" y="50"/>
                    <a:pt x="91" y="52"/>
                  </a:cubicBezTo>
                  <a:cubicBezTo>
                    <a:pt x="89" y="53"/>
                    <a:pt x="88" y="52"/>
                    <a:pt x="84" y="49"/>
                  </a:cubicBezTo>
                  <a:cubicBezTo>
                    <a:pt x="82" y="47"/>
                    <a:pt x="80" y="42"/>
                    <a:pt x="76" y="37"/>
                  </a:cubicBezTo>
                  <a:cubicBezTo>
                    <a:pt x="73" y="39"/>
                    <a:pt x="68" y="41"/>
                    <a:pt x="65" y="41"/>
                  </a:cubicBezTo>
                  <a:cubicBezTo>
                    <a:pt x="61" y="41"/>
                    <a:pt x="48" y="40"/>
                    <a:pt x="48" y="42"/>
                  </a:cubicBezTo>
                  <a:cubicBezTo>
                    <a:pt x="47" y="44"/>
                    <a:pt x="49" y="48"/>
                    <a:pt x="51" y="48"/>
                  </a:cubicBezTo>
                  <a:cubicBezTo>
                    <a:pt x="53" y="49"/>
                    <a:pt x="57" y="50"/>
                    <a:pt x="53" y="53"/>
                  </a:cubicBezTo>
                  <a:cubicBezTo>
                    <a:pt x="49" y="56"/>
                    <a:pt x="45" y="52"/>
                    <a:pt x="45" y="59"/>
                  </a:cubicBezTo>
                  <a:cubicBezTo>
                    <a:pt x="45" y="66"/>
                    <a:pt x="54" y="71"/>
                    <a:pt x="52" y="77"/>
                  </a:cubicBezTo>
                  <a:cubicBezTo>
                    <a:pt x="51" y="81"/>
                    <a:pt x="50" y="89"/>
                    <a:pt x="50" y="93"/>
                  </a:cubicBezTo>
                  <a:cubicBezTo>
                    <a:pt x="50" y="96"/>
                    <a:pt x="49" y="107"/>
                    <a:pt x="46" y="108"/>
                  </a:cubicBezTo>
                  <a:cubicBezTo>
                    <a:pt x="43" y="109"/>
                    <a:pt x="40" y="105"/>
                    <a:pt x="36" y="109"/>
                  </a:cubicBezTo>
                  <a:cubicBezTo>
                    <a:pt x="32" y="112"/>
                    <a:pt x="27" y="110"/>
                    <a:pt x="22" y="114"/>
                  </a:cubicBezTo>
                  <a:cubicBezTo>
                    <a:pt x="18" y="117"/>
                    <a:pt x="13" y="116"/>
                    <a:pt x="12" y="120"/>
                  </a:cubicBezTo>
                  <a:cubicBezTo>
                    <a:pt x="12" y="125"/>
                    <a:pt x="8" y="127"/>
                    <a:pt x="9" y="131"/>
                  </a:cubicBezTo>
                  <a:cubicBezTo>
                    <a:pt x="10" y="135"/>
                    <a:pt x="7" y="134"/>
                    <a:pt x="4" y="137"/>
                  </a:cubicBezTo>
                  <a:cubicBezTo>
                    <a:pt x="1" y="140"/>
                    <a:pt x="4" y="142"/>
                    <a:pt x="2" y="144"/>
                  </a:cubicBezTo>
                  <a:cubicBezTo>
                    <a:pt x="0" y="147"/>
                    <a:pt x="3" y="150"/>
                    <a:pt x="5" y="154"/>
                  </a:cubicBezTo>
                  <a:cubicBezTo>
                    <a:pt x="7" y="158"/>
                    <a:pt x="10" y="160"/>
                    <a:pt x="10" y="164"/>
                  </a:cubicBezTo>
                  <a:cubicBezTo>
                    <a:pt x="9" y="167"/>
                    <a:pt x="12" y="168"/>
                    <a:pt x="15" y="168"/>
                  </a:cubicBezTo>
                  <a:cubicBezTo>
                    <a:pt x="19" y="168"/>
                    <a:pt x="16" y="174"/>
                    <a:pt x="21" y="174"/>
                  </a:cubicBezTo>
                  <a:cubicBezTo>
                    <a:pt x="27" y="174"/>
                    <a:pt x="32" y="176"/>
                    <a:pt x="33" y="173"/>
                  </a:cubicBezTo>
                  <a:cubicBezTo>
                    <a:pt x="35" y="170"/>
                    <a:pt x="38" y="167"/>
                    <a:pt x="38" y="172"/>
                  </a:cubicBezTo>
                  <a:cubicBezTo>
                    <a:pt x="38" y="176"/>
                    <a:pt x="37" y="188"/>
                    <a:pt x="41" y="186"/>
                  </a:cubicBezTo>
                  <a:cubicBezTo>
                    <a:pt x="45" y="185"/>
                    <a:pt x="52" y="185"/>
                    <a:pt x="56" y="187"/>
                  </a:cubicBezTo>
                  <a:cubicBezTo>
                    <a:pt x="59" y="188"/>
                    <a:pt x="63" y="187"/>
                    <a:pt x="65" y="184"/>
                  </a:cubicBezTo>
                  <a:cubicBezTo>
                    <a:pt x="68" y="182"/>
                    <a:pt x="70" y="182"/>
                    <a:pt x="75" y="179"/>
                  </a:cubicBezTo>
                  <a:cubicBezTo>
                    <a:pt x="80" y="177"/>
                    <a:pt x="84" y="173"/>
                    <a:pt x="88" y="173"/>
                  </a:cubicBezTo>
                  <a:cubicBezTo>
                    <a:pt x="93" y="173"/>
                    <a:pt x="100" y="171"/>
                    <a:pt x="99" y="174"/>
                  </a:cubicBezTo>
                  <a:cubicBezTo>
                    <a:pt x="98" y="177"/>
                    <a:pt x="97" y="190"/>
                    <a:pt x="103" y="196"/>
                  </a:cubicBezTo>
                  <a:cubicBezTo>
                    <a:pt x="108" y="202"/>
                    <a:pt x="111" y="205"/>
                    <a:pt x="116" y="204"/>
                  </a:cubicBezTo>
                  <a:cubicBezTo>
                    <a:pt x="121" y="203"/>
                    <a:pt x="120" y="206"/>
                    <a:pt x="124" y="206"/>
                  </a:cubicBezTo>
                  <a:cubicBezTo>
                    <a:pt x="128" y="205"/>
                    <a:pt x="125" y="210"/>
                    <a:pt x="129" y="210"/>
                  </a:cubicBezTo>
                  <a:cubicBezTo>
                    <a:pt x="132" y="210"/>
                    <a:pt x="138" y="210"/>
                    <a:pt x="138" y="214"/>
                  </a:cubicBezTo>
                  <a:cubicBezTo>
                    <a:pt x="138" y="218"/>
                    <a:pt x="148" y="215"/>
                    <a:pt x="150" y="217"/>
                  </a:cubicBezTo>
                  <a:cubicBezTo>
                    <a:pt x="153" y="219"/>
                    <a:pt x="155" y="220"/>
                    <a:pt x="155" y="224"/>
                  </a:cubicBezTo>
                  <a:cubicBezTo>
                    <a:pt x="154" y="228"/>
                    <a:pt x="160" y="231"/>
                    <a:pt x="156" y="233"/>
                  </a:cubicBezTo>
                  <a:cubicBezTo>
                    <a:pt x="153" y="235"/>
                    <a:pt x="157" y="238"/>
                    <a:pt x="158" y="242"/>
                  </a:cubicBezTo>
                  <a:cubicBezTo>
                    <a:pt x="158" y="247"/>
                    <a:pt x="163" y="248"/>
                    <a:pt x="170" y="248"/>
                  </a:cubicBezTo>
                  <a:cubicBezTo>
                    <a:pt x="177" y="248"/>
                    <a:pt x="179" y="248"/>
                    <a:pt x="179" y="254"/>
                  </a:cubicBezTo>
                  <a:cubicBezTo>
                    <a:pt x="179" y="259"/>
                    <a:pt x="184" y="260"/>
                    <a:pt x="186" y="265"/>
                  </a:cubicBezTo>
                  <a:cubicBezTo>
                    <a:pt x="188" y="270"/>
                    <a:pt x="184" y="275"/>
                    <a:pt x="185" y="279"/>
                  </a:cubicBezTo>
                  <a:cubicBezTo>
                    <a:pt x="185" y="282"/>
                    <a:pt x="183" y="286"/>
                    <a:pt x="181" y="287"/>
                  </a:cubicBezTo>
                  <a:cubicBezTo>
                    <a:pt x="184" y="290"/>
                    <a:pt x="184" y="292"/>
                    <a:pt x="182" y="293"/>
                  </a:cubicBezTo>
                  <a:cubicBezTo>
                    <a:pt x="179" y="295"/>
                    <a:pt x="185" y="299"/>
                    <a:pt x="184" y="307"/>
                  </a:cubicBezTo>
                  <a:cubicBezTo>
                    <a:pt x="182" y="314"/>
                    <a:pt x="182" y="316"/>
                    <a:pt x="190" y="316"/>
                  </a:cubicBezTo>
                  <a:cubicBezTo>
                    <a:pt x="197" y="316"/>
                    <a:pt x="197" y="319"/>
                    <a:pt x="199" y="317"/>
                  </a:cubicBezTo>
                  <a:cubicBezTo>
                    <a:pt x="202" y="315"/>
                    <a:pt x="206" y="323"/>
                    <a:pt x="207" y="326"/>
                  </a:cubicBezTo>
                  <a:cubicBezTo>
                    <a:pt x="208" y="330"/>
                    <a:pt x="211" y="339"/>
                    <a:pt x="213" y="339"/>
                  </a:cubicBezTo>
                  <a:cubicBezTo>
                    <a:pt x="214" y="339"/>
                    <a:pt x="218" y="335"/>
                    <a:pt x="222" y="337"/>
                  </a:cubicBezTo>
                  <a:cubicBezTo>
                    <a:pt x="226" y="339"/>
                    <a:pt x="221" y="351"/>
                    <a:pt x="221" y="357"/>
                  </a:cubicBezTo>
                  <a:cubicBezTo>
                    <a:pt x="224" y="357"/>
                    <a:pt x="227" y="357"/>
                    <a:pt x="228" y="358"/>
                  </a:cubicBezTo>
                  <a:cubicBezTo>
                    <a:pt x="230" y="359"/>
                    <a:pt x="231" y="372"/>
                    <a:pt x="230" y="375"/>
                  </a:cubicBezTo>
                  <a:cubicBezTo>
                    <a:pt x="229" y="377"/>
                    <a:pt x="221" y="380"/>
                    <a:pt x="217" y="382"/>
                  </a:cubicBezTo>
                  <a:cubicBezTo>
                    <a:pt x="212" y="385"/>
                    <a:pt x="202" y="395"/>
                    <a:pt x="197" y="403"/>
                  </a:cubicBezTo>
                  <a:cubicBezTo>
                    <a:pt x="194" y="408"/>
                    <a:pt x="190" y="411"/>
                    <a:pt x="187" y="415"/>
                  </a:cubicBezTo>
                  <a:cubicBezTo>
                    <a:pt x="189" y="415"/>
                    <a:pt x="190" y="415"/>
                    <a:pt x="191" y="415"/>
                  </a:cubicBezTo>
                  <a:cubicBezTo>
                    <a:pt x="193" y="413"/>
                    <a:pt x="196" y="413"/>
                    <a:pt x="200" y="418"/>
                  </a:cubicBezTo>
                  <a:cubicBezTo>
                    <a:pt x="204" y="423"/>
                    <a:pt x="204" y="426"/>
                    <a:pt x="205" y="426"/>
                  </a:cubicBezTo>
                  <a:cubicBezTo>
                    <a:pt x="207" y="426"/>
                    <a:pt x="209" y="420"/>
                    <a:pt x="212" y="424"/>
                  </a:cubicBezTo>
                  <a:cubicBezTo>
                    <a:pt x="215" y="428"/>
                    <a:pt x="223" y="432"/>
                    <a:pt x="224" y="434"/>
                  </a:cubicBezTo>
                  <a:cubicBezTo>
                    <a:pt x="226" y="436"/>
                    <a:pt x="232" y="437"/>
                    <a:pt x="232" y="443"/>
                  </a:cubicBezTo>
                  <a:cubicBezTo>
                    <a:pt x="232" y="446"/>
                    <a:pt x="230" y="454"/>
                    <a:pt x="233" y="460"/>
                  </a:cubicBezTo>
                  <a:cubicBezTo>
                    <a:pt x="235" y="458"/>
                    <a:pt x="236" y="456"/>
                    <a:pt x="238" y="45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87295" y="4981225"/>
              <a:ext cx="126989" cy="140256"/>
            </a:xfrm>
            <a:custGeom>
              <a:avLst/>
              <a:gdLst/>
              <a:ahLst/>
              <a:cxnLst>
                <a:cxn ang="0">
                  <a:pos x="55" y="30"/>
                </a:cxn>
                <a:cxn ang="0">
                  <a:pos x="47" y="21"/>
                </a:cxn>
                <a:cxn ang="0">
                  <a:pos x="35" y="11"/>
                </a:cxn>
                <a:cxn ang="0">
                  <a:pos x="28" y="13"/>
                </a:cxn>
                <a:cxn ang="0">
                  <a:pos x="23" y="5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7" y="8"/>
                </a:cxn>
                <a:cxn ang="0">
                  <a:pos x="3" y="27"/>
                </a:cxn>
                <a:cxn ang="0">
                  <a:pos x="0" y="42"/>
                </a:cxn>
                <a:cxn ang="0">
                  <a:pos x="3" y="49"/>
                </a:cxn>
                <a:cxn ang="0">
                  <a:pos x="2" y="54"/>
                </a:cxn>
                <a:cxn ang="0">
                  <a:pos x="7" y="56"/>
                </a:cxn>
                <a:cxn ang="0">
                  <a:pos x="21" y="60"/>
                </a:cxn>
                <a:cxn ang="0">
                  <a:pos x="30" y="60"/>
                </a:cxn>
                <a:cxn ang="0">
                  <a:pos x="47" y="57"/>
                </a:cxn>
                <a:cxn ang="0">
                  <a:pos x="56" y="47"/>
                </a:cxn>
                <a:cxn ang="0">
                  <a:pos x="55" y="30"/>
                </a:cxn>
              </a:cxnLst>
              <a:rect l="0" t="0" r="r" b="b"/>
              <a:pathLst>
                <a:path w="56" h="62">
                  <a:moveTo>
                    <a:pt x="55" y="30"/>
                  </a:moveTo>
                  <a:cubicBezTo>
                    <a:pt x="55" y="24"/>
                    <a:pt x="49" y="23"/>
                    <a:pt x="47" y="21"/>
                  </a:cubicBezTo>
                  <a:cubicBezTo>
                    <a:pt x="46" y="19"/>
                    <a:pt x="38" y="15"/>
                    <a:pt x="35" y="11"/>
                  </a:cubicBezTo>
                  <a:cubicBezTo>
                    <a:pt x="32" y="7"/>
                    <a:pt x="30" y="13"/>
                    <a:pt x="28" y="13"/>
                  </a:cubicBezTo>
                  <a:cubicBezTo>
                    <a:pt x="27" y="13"/>
                    <a:pt x="27" y="10"/>
                    <a:pt x="23" y="5"/>
                  </a:cubicBezTo>
                  <a:cubicBezTo>
                    <a:pt x="19" y="0"/>
                    <a:pt x="16" y="0"/>
                    <a:pt x="14" y="2"/>
                  </a:cubicBezTo>
                  <a:cubicBezTo>
                    <a:pt x="13" y="2"/>
                    <a:pt x="12" y="2"/>
                    <a:pt x="10" y="2"/>
                  </a:cubicBezTo>
                  <a:cubicBezTo>
                    <a:pt x="8" y="4"/>
                    <a:pt x="7" y="6"/>
                    <a:pt x="7" y="8"/>
                  </a:cubicBezTo>
                  <a:cubicBezTo>
                    <a:pt x="7" y="13"/>
                    <a:pt x="3" y="18"/>
                    <a:pt x="3" y="27"/>
                  </a:cubicBezTo>
                  <a:cubicBezTo>
                    <a:pt x="3" y="36"/>
                    <a:pt x="0" y="35"/>
                    <a:pt x="0" y="42"/>
                  </a:cubicBezTo>
                  <a:cubicBezTo>
                    <a:pt x="0" y="49"/>
                    <a:pt x="2" y="48"/>
                    <a:pt x="3" y="49"/>
                  </a:cubicBezTo>
                  <a:cubicBezTo>
                    <a:pt x="4" y="49"/>
                    <a:pt x="3" y="52"/>
                    <a:pt x="2" y="54"/>
                  </a:cubicBezTo>
                  <a:cubicBezTo>
                    <a:pt x="3" y="55"/>
                    <a:pt x="5" y="56"/>
                    <a:pt x="7" y="56"/>
                  </a:cubicBezTo>
                  <a:cubicBezTo>
                    <a:pt x="11" y="55"/>
                    <a:pt x="16" y="57"/>
                    <a:pt x="21" y="60"/>
                  </a:cubicBezTo>
                  <a:cubicBezTo>
                    <a:pt x="27" y="62"/>
                    <a:pt x="25" y="59"/>
                    <a:pt x="30" y="60"/>
                  </a:cubicBezTo>
                  <a:cubicBezTo>
                    <a:pt x="35" y="60"/>
                    <a:pt x="41" y="61"/>
                    <a:pt x="47" y="57"/>
                  </a:cubicBezTo>
                  <a:cubicBezTo>
                    <a:pt x="51" y="55"/>
                    <a:pt x="53" y="51"/>
                    <a:pt x="56" y="47"/>
                  </a:cubicBezTo>
                  <a:cubicBezTo>
                    <a:pt x="53" y="41"/>
                    <a:pt x="55" y="33"/>
                    <a:pt x="55" y="3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3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3389272" y="4748097"/>
              <a:ext cx="521221" cy="1027278"/>
            </a:xfrm>
            <a:custGeom>
              <a:avLst/>
              <a:gdLst/>
              <a:ahLst/>
              <a:cxnLst>
                <a:cxn ang="0">
                  <a:pos x="65" y="427"/>
                </a:cxn>
                <a:cxn ang="0">
                  <a:pos x="60" y="417"/>
                </a:cxn>
                <a:cxn ang="0">
                  <a:pos x="56" y="448"/>
                </a:cxn>
                <a:cxn ang="0">
                  <a:pos x="80" y="449"/>
                </a:cxn>
                <a:cxn ang="0">
                  <a:pos x="87" y="441"/>
                </a:cxn>
                <a:cxn ang="0">
                  <a:pos x="218" y="46"/>
                </a:cxn>
                <a:cxn ang="0">
                  <a:pos x="212" y="64"/>
                </a:cxn>
                <a:cxn ang="0">
                  <a:pos x="194" y="70"/>
                </a:cxn>
                <a:cxn ang="0">
                  <a:pos x="172" y="67"/>
                </a:cxn>
                <a:cxn ang="0">
                  <a:pos x="185" y="44"/>
                </a:cxn>
                <a:cxn ang="0">
                  <a:pos x="151" y="27"/>
                </a:cxn>
                <a:cxn ang="0">
                  <a:pos x="123" y="3"/>
                </a:cxn>
                <a:cxn ang="0">
                  <a:pos x="105" y="10"/>
                </a:cxn>
                <a:cxn ang="0">
                  <a:pos x="82" y="5"/>
                </a:cxn>
                <a:cxn ang="0">
                  <a:pos x="72" y="25"/>
                </a:cxn>
                <a:cxn ang="0">
                  <a:pos x="58" y="43"/>
                </a:cxn>
                <a:cxn ang="0">
                  <a:pos x="60" y="63"/>
                </a:cxn>
                <a:cxn ang="0">
                  <a:pos x="49" y="78"/>
                </a:cxn>
                <a:cxn ang="0">
                  <a:pos x="41" y="94"/>
                </a:cxn>
                <a:cxn ang="0">
                  <a:pos x="37" y="115"/>
                </a:cxn>
                <a:cxn ang="0">
                  <a:pos x="40" y="138"/>
                </a:cxn>
                <a:cxn ang="0">
                  <a:pos x="40" y="157"/>
                </a:cxn>
                <a:cxn ang="0">
                  <a:pos x="37" y="180"/>
                </a:cxn>
                <a:cxn ang="0">
                  <a:pos x="28" y="206"/>
                </a:cxn>
                <a:cxn ang="0">
                  <a:pos x="25" y="216"/>
                </a:cxn>
                <a:cxn ang="0">
                  <a:pos x="21" y="232"/>
                </a:cxn>
                <a:cxn ang="0">
                  <a:pos x="20" y="248"/>
                </a:cxn>
                <a:cxn ang="0">
                  <a:pos x="18" y="272"/>
                </a:cxn>
                <a:cxn ang="0">
                  <a:pos x="21" y="285"/>
                </a:cxn>
                <a:cxn ang="0">
                  <a:pos x="26" y="296"/>
                </a:cxn>
                <a:cxn ang="0">
                  <a:pos x="23" y="305"/>
                </a:cxn>
                <a:cxn ang="0">
                  <a:pos x="21" y="323"/>
                </a:cxn>
                <a:cxn ang="0">
                  <a:pos x="13" y="338"/>
                </a:cxn>
                <a:cxn ang="0">
                  <a:pos x="9" y="355"/>
                </a:cxn>
                <a:cxn ang="0">
                  <a:pos x="3" y="373"/>
                </a:cxn>
                <a:cxn ang="0">
                  <a:pos x="15" y="384"/>
                </a:cxn>
                <a:cxn ang="0">
                  <a:pos x="21" y="401"/>
                </a:cxn>
                <a:cxn ang="0">
                  <a:pos x="47" y="404"/>
                </a:cxn>
                <a:cxn ang="0">
                  <a:pos x="52" y="395"/>
                </a:cxn>
                <a:cxn ang="0">
                  <a:pos x="53" y="376"/>
                </a:cxn>
                <a:cxn ang="0">
                  <a:pos x="66" y="364"/>
                </a:cxn>
                <a:cxn ang="0">
                  <a:pos x="87" y="340"/>
                </a:cxn>
                <a:cxn ang="0">
                  <a:pos x="78" y="326"/>
                </a:cxn>
                <a:cxn ang="0">
                  <a:pos x="89" y="299"/>
                </a:cxn>
                <a:cxn ang="0">
                  <a:pos x="95" y="285"/>
                </a:cxn>
                <a:cxn ang="0">
                  <a:pos x="102" y="270"/>
                </a:cxn>
                <a:cxn ang="0">
                  <a:pos x="109" y="269"/>
                </a:cxn>
                <a:cxn ang="0">
                  <a:pos x="106" y="262"/>
                </a:cxn>
                <a:cxn ang="0">
                  <a:pos x="98" y="251"/>
                </a:cxn>
                <a:cxn ang="0">
                  <a:pos x="115" y="245"/>
                </a:cxn>
                <a:cxn ang="0">
                  <a:pos x="129" y="228"/>
                </a:cxn>
                <a:cxn ang="0">
                  <a:pos x="133" y="215"/>
                </a:cxn>
                <a:cxn ang="0">
                  <a:pos x="183" y="203"/>
                </a:cxn>
                <a:cxn ang="0">
                  <a:pos x="189" y="181"/>
                </a:cxn>
                <a:cxn ang="0">
                  <a:pos x="180" y="164"/>
                </a:cxn>
                <a:cxn ang="0">
                  <a:pos x="176" y="156"/>
                </a:cxn>
                <a:cxn ang="0">
                  <a:pos x="174" y="144"/>
                </a:cxn>
                <a:cxn ang="0">
                  <a:pos x="181" y="110"/>
                </a:cxn>
                <a:cxn ang="0">
                  <a:pos x="214" y="71"/>
                </a:cxn>
                <a:cxn ang="0">
                  <a:pos x="225" y="47"/>
                </a:cxn>
              </a:cxnLst>
              <a:rect l="0" t="0" r="r" b="b"/>
              <a:pathLst>
                <a:path w="228" h="450">
                  <a:moveTo>
                    <a:pt x="87" y="441"/>
                  </a:moveTo>
                  <a:cubicBezTo>
                    <a:pt x="81" y="441"/>
                    <a:pt x="68" y="430"/>
                    <a:pt x="65" y="427"/>
                  </a:cubicBezTo>
                  <a:cubicBezTo>
                    <a:pt x="61" y="424"/>
                    <a:pt x="64" y="421"/>
                    <a:pt x="59" y="421"/>
                  </a:cubicBezTo>
                  <a:cubicBezTo>
                    <a:pt x="55" y="422"/>
                    <a:pt x="58" y="418"/>
                    <a:pt x="60" y="417"/>
                  </a:cubicBezTo>
                  <a:cubicBezTo>
                    <a:pt x="62" y="415"/>
                    <a:pt x="59" y="411"/>
                    <a:pt x="56" y="410"/>
                  </a:cubicBezTo>
                  <a:cubicBezTo>
                    <a:pt x="56" y="417"/>
                    <a:pt x="54" y="447"/>
                    <a:pt x="56" y="448"/>
                  </a:cubicBezTo>
                  <a:cubicBezTo>
                    <a:pt x="58" y="448"/>
                    <a:pt x="71" y="446"/>
                    <a:pt x="75" y="449"/>
                  </a:cubicBezTo>
                  <a:cubicBezTo>
                    <a:pt x="77" y="449"/>
                    <a:pt x="79" y="450"/>
                    <a:pt x="80" y="449"/>
                  </a:cubicBezTo>
                  <a:cubicBezTo>
                    <a:pt x="83" y="446"/>
                    <a:pt x="90" y="447"/>
                    <a:pt x="94" y="445"/>
                  </a:cubicBezTo>
                  <a:cubicBezTo>
                    <a:pt x="98" y="442"/>
                    <a:pt x="93" y="442"/>
                    <a:pt x="87" y="441"/>
                  </a:cubicBezTo>
                  <a:close/>
                  <a:moveTo>
                    <a:pt x="225" y="47"/>
                  </a:moveTo>
                  <a:cubicBezTo>
                    <a:pt x="224" y="46"/>
                    <a:pt x="221" y="46"/>
                    <a:pt x="218" y="46"/>
                  </a:cubicBezTo>
                  <a:cubicBezTo>
                    <a:pt x="218" y="46"/>
                    <a:pt x="218" y="47"/>
                    <a:pt x="218" y="47"/>
                  </a:cubicBezTo>
                  <a:cubicBezTo>
                    <a:pt x="219" y="52"/>
                    <a:pt x="216" y="64"/>
                    <a:pt x="212" y="64"/>
                  </a:cubicBezTo>
                  <a:cubicBezTo>
                    <a:pt x="209" y="63"/>
                    <a:pt x="206" y="69"/>
                    <a:pt x="203" y="68"/>
                  </a:cubicBezTo>
                  <a:cubicBezTo>
                    <a:pt x="201" y="67"/>
                    <a:pt x="197" y="72"/>
                    <a:pt x="194" y="70"/>
                  </a:cubicBezTo>
                  <a:cubicBezTo>
                    <a:pt x="190" y="68"/>
                    <a:pt x="186" y="71"/>
                    <a:pt x="183" y="69"/>
                  </a:cubicBezTo>
                  <a:cubicBezTo>
                    <a:pt x="180" y="67"/>
                    <a:pt x="172" y="69"/>
                    <a:pt x="172" y="67"/>
                  </a:cubicBezTo>
                  <a:cubicBezTo>
                    <a:pt x="172" y="65"/>
                    <a:pt x="176" y="65"/>
                    <a:pt x="176" y="59"/>
                  </a:cubicBezTo>
                  <a:cubicBezTo>
                    <a:pt x="176" y="53"/>
                    <a:pt x="186" y="47"/>
                    <a:pt x="185" y="44"/>
                  </a:cubicBezTo>
                  <a:cubicBezTo>
                    <a:pt x="183" y="42"/>
                    <a:pt x="166" y="37"/>
                    <a:pt x="164" y="34"/>
                  </a:cubicBezTo>
                  <a:cubicBezTo>
                    <a:pt x="161" y="31"/>
                    <a:pt x="158" y="28"/>
                    <a:pt x="151" y="27"/>
                  </a:cubicBezTo>
                  <a:cubicBezTo>
                    <a:pt x="145" y="27"/>
                    <a:pt x="145" y="23"/>
                    <a:pt x="139" y="19"/>
                  </a:cubicBezTo>
                  <a:cubicBezTo>
                    <a:pt x="134" y="16"/>
                    <a:pt x="126" y="8"/>
                    <a:pt x="123" y="3"/>
                  </a:cubicBezTo>
                  <a:cubicBezTo>
                    <a:pt x="119" y="3"/>
                    <a:pt x="113" y="2"/>
                    <a:pt x="112" y="4"/>
                  </a:cubicBezTo>
                  <a:cubicBezTo>
                    <a:pt x="110" y="6"/>
                    <a:pt x="108" y="15"/>
                    <a:pt x="105" y="10"/>
                  </a:cubicBezTo>
                  <a:cubicBezTo>
                    <a:pt x="103" y="6"/>
                    <a:pt x="97" y="6"/>
                    <a:pt x="92" y="5"/>
                  </a:cubicBezTo>
                  <a:cubicBezTo>
                    <a:pt x="87" y="4"/>
                    <a:pt x="88" y="0"/>
                    <a:pt x="82" y="5"/>
                  </a:cubicBezTo>
                  <a:cubicBezTo>
                    <a:pt x="80" y="8"/>
                    <a:pt x="77" y="10"/>
                    <a:pt x="74" y="12"/>
                  </a:cubicBezTo>
                  <a:cubicBezTo>
                    <a:pt x="74" y="17"/>
                    <a:pt x="73" y="23"/>
                    <a:pt x="72" y="25"/>
                  </a:cubicBezTo>
                  <a:cubicBezTo>
                    <a:pt x="70" y="28"/>
                    <a:pt x="59" y="33"/>
                    <a:pt x="59" y="35"/>
                  </a:cubicBezTo>
                  <a:cubicBezTo>
                    <a:pt x="59" y="38"/>
                    <a:pt x="60" y="42"/>
                    <a:pt x="58" y="43"/>
                  </a:cubicBezTo>
                  <a:cubicBezTo>
                    <a:pt x="56" y="45"/>
                    <a:pt x="63" y="54"/>
                    <a:pt x="59" y="56"/>
                  </a:cubicBezTo>
                  <a:cubicBezTo>
                    <a:pt x="56" y="58"/>
                    <a:pt x="62" y="61"/>
                    <a:pt x="60" y="63"/>
                  </a:cubicBezTo>
                  <a:cubicBezTo>
                    <a:pt x="57" y="65"/>
                    <a:pt x="53" y="66"/>
                    <a:pt x="53" y="69"/>
                  </a:cubicBezTo>
                  <a:cubicBezTo>
                    <a:pt x="53" y="71"/>
                    <a:pt x="53" y="77"/>
                    <a:pt x="49" y="78"/>
                  </a:cubicBezTo>
                  <a:cubicBezTo>
                    <a:pt x="46" y="79"/>
                    <a:pt x="44" y="84"/>
                    <a:pt x="44" y="88"/>
                  </a:cubicBezTo>
                  <a:cubicBezTo>
                    <a:pt x="44" y="92"/>
                    <a:pt x="40" y="89"/>
                    <a:pt x="41" y="94"/>
                  </a:cubicBezTo>
                  <a:cubicBezTo>
                    <a:pt x="43" y="99"/>
                    <a:pt x="45" y="105"/>
                    <a:pt x="41" y="106"/>
                  </a:cubicBezTo>
                  <a:cubicBezTo>
                    <a:pt x="38" y="107"/>
                    <a:pt x="39" y="115"/>
                    <a:pt x="37" y="115"/>
                  </a:cubicBezTo>
                  <a:cubicBezTo>
                    <a:pt x="35" y="115"/>
                    <a:pt x="34" y="123"/>
                    <a:pt x="37" y="127"/>
                  </a:cubicBezTo>
                  <a:cubicBezTo>
                    <a:pt x="40" y="131"/>
                    <a:pt x="40" y="134"/>
                    <a:pt x="40" y="138"/>
                  </a:cubicBezTo>
                  <a:cubicBezTo>
                    <a:pt x="40" y="142"/>
                    <a:pt x="44" y="144"/>
                    <a:pt x="43" y="148"/>
                  </a:cubicBezTo>
                  <a:cubicBezTo>
                    <a:pt x="42" y="152"/>
                    <a:pt x="42" y="155"/>
                    <a:pt x="40" y="157"/>
                  </a:cubicBezTo>
                  <a:cubicBezTo>
                    <a:pt x="38" y="159"/>
                    <a:pt x="40" y="164"/>
                    <a:pt x="37" y="165"/>
                  </a:cubicBezTo>
                  <a:cubicBezTo>
                    <a:pt x="34" y="167"/>
                    <a:pt x="39" y="177"/>
                    <a:pt x="37" y="180"/>
                  </a:cubicBezTo>
                  <a:cubicBezTo>
                    <a:pt x="34" y="182"/>
                    <a:pt x="28" y="183"/>
                    <a:pt x="28" y="191"/>
                  </a:cubicBezTo>
                  <a:cubicBezTo>
                    <a:pt x="28" y="198"/>
                    <a:pt x="29" y="202"/>
                    <a:pt x="28" y="206"/>
                  </a:cubicBezTo>
                  <a:cubicBezTo>
                    <a:pt x="28" y="208"/>
                    <a:pt x="32" y="208"/>
                    <a:pt x="31" y="212"/>
                  </a:cubicBezTo>
                  <a:cubicBezTo>
                    <a:pt x="31" y="216"/>
                    <a:pt x="25" y="214"/>
                    <a:pt x="25" y="216"/>
                  </a:cubicBezTo>
                  <a:cubicBezTo>
                    <a:pt x="24" y="219"/>
                    <a:pt x="26" y="225"/>
                    <a:pt x="24" y="225"/>
                  </a:cubicBezTo>
                  <a:cubicBezTo>
                    <a:pt x="22" y="225"/>
                    <a:pt x="21" y="227"/>
                    <a:pt x="21" y="232"/>
                  </a:cubicBezTo>
                  <a:cubicBezTo>
                    <a:pt x="21" y="237"/>
                    <a:pt x="18" y="237"/>
                    <a:pt x="18" y="240"/>
                  </a:cubicBezTo>
                  <a:cubicBezTo>
                    <a:pt x="18" y="242"/>
                    <a:pt x="20" y="245"/>
                    <a:pt x="20" y="248"/>
                  </a:cubicBezTo>
                  <a:cubicBezTo>
                    <a:pt x="20" y="250"/>
                    <a:pt x="22" y="259"/>
                    <a:pt x="20" y="260"/>
                  </a:cubicBezTo>
                  <a:cubicBezTo>
                    <a:pt x="17" y="260"/>
                    <a:pt x="16" y="270"/>
                    <a:pt x="18" y="272"/>
                  </a:cubicBezTo>
                  <a:cubicBezTo>
                    <a:pt x="20" y="273"/>
                    <a:pt x="20" y="276"/>
                    <a:pt x="19" y="278"/>
                  </a:cubicBezTo>
                  <a:cubicBezTo>
                    <a:pt x="18" y="280"/>
                    <a:pt x="24" y="282"/>
                    <a:pt x="21" y="285"/>
                  </a:cubicBezTo>
                  <a:cubicBezTo>
                    <a:pt x="18" y="288"/>
                    <a:pt x="20" y="292"/>
                    <a:pt x="24" y="291"/>
                  </a:cubicBezTo>
                  <a:cubicBezTo>
                    <a:pt x="27" y="290"/>
                    <a:pt x="29" y="296"/>
                    <a:pt x="26" y="296"/>
                  </a:cubicBezTo>
                  <a:cubicBezTo>
                    <a:pt x="22" y="296"/>
                    <a:pt x="18" y="296"/>
                    <a:pt x="21" y="298"/>
                  </a:cubicBezTo>
                  <a:cubicBezTo>
                    <a:pt x="24" y="300"/>
                    <a:pt x="27" y="304"/>
                    <a:pt x="23" y="305"/>
                  </a:cubicBezTo>
                  <a:cubicBezTo>
                    <a:pt x="19" y="307"/>
                    <a:pt x="22" y="310"/>
                    <a:pt x="21" y="314"/>
                  </a:cubicBezTo>
                  <a:cubicBezTo>
                    <a:pt x="20" y="318"/>
                    <a:pt x="24" y="322"/>
                    <a:pt x="21" y="323"/>
                  </a:cubicBezTo>
                  <a:cubicBezTo>
                    <a:pt x="18" y="324"/>
                    <a:pt x="22" y="330"/>
                    <a:pt x="18" y="331"/>
                  </a:cubicBezTo>
                  <a:cubicBezTo>
                    <a:pt x="13" y="331"/>
                    <a:pt x="16" y="336"/>
                    <a:pt x="13" y="338"/>
                  </a:cubicBezTo>
                  <a:cubicBezTo>
                    <a:pt x="10" y="341"/>
                    <a:pt x="17" y="345"/>
                    <a:pt x="13" y="347"/>
                  </a:cubicBezTo>
                  <a:cubicBezTo>
                    <a:pt x="10" y="349"/>
                    <a:pt x="12" y="355"/>
                    <a:pt x="9" y="355"/>
                  </a:cubicBezTo>
                  <a:cubicBezTo>
                    <a:pt x="5" y="355"/>
                    <a:pt x="3" y="360"/>
                    <a:pt x="2" y="362"/>
                  </a:cubicBezTo>
                  <a:cubicBezTo>
                    <a:pt x="2" y="365"/>
                    <a:pt x="0" y="369"/>
                    <a:pt x="3" y="373"/>
                  </a:cubicBezTo>
                  <a:cubicBezTo>
                    <a:pt x="6" y="376"/>
                    <a:pt x="2" y="379"/>
                    <a:pt x="5" y="380"/>
                  </a:cubicBezTo>
                  <a:cubicBezTo>
                    <a:pt x="7" y="382"/>
                    <a:pt x="17" y="380"/>
                    <a:pt x="15" y="384"/>
                  </a:cubicBezTo>
                  <a:cubicBezTo>
                    <a:pt x="14" y="388"/>
                    <a:pt x="14" y="396"/>
                    <a:pt x="16" y="396"/>
                  </a:cubicBezTo>
                  <a:cubicBezTo>
                    <a:pt x="18" y="396"/>
                    <a:pt x="19" y="402"/>
                    <a:pt x="21" y="401"/>
                  </a:cubicBezTo>
                  <a:cubicBezTo>
                    <a:pt x="24" y="401"/>
                    <a:pt x="36" y="399"/>
                    <a:pt x="41" y="401"/>
                  </a:cubicBezTo>
                  <a:cubicBezTo>
                    <a:pt x="44" y="402"/>
                    <a:pt x="46" y="403"/>
                    <a:pt x="47" y="404"/>
                  </a:cubicBezTo>
                  <a:cubicBezTo>
                    <a:pt x="50" y="403"/>
                    <a:pt x="57" y="407"/>
                    <a:pt x="58" y="406"/>
                  </a:cubicBezTo>
                  <a:cubicBezTo>
                    <a:pt x="60" y="404"/>
                    <a:pt x="52" y="398"/>
                    <a:pt x="52" y="395"/>
                  </a:cubicBezTo>
                  <a:cubicBezTo>
                    <a:pt x="52" y="393"/>
                    <a:pt x="51" y="389"/>
                    <a:pt x="51" y="387"/>
                  </a:cubicBezTo>
                  <a:cubicBezTo>
                    <a:pt x="51" y="384"/>
                    <a:pt x="50" y="379"/>
                    <a:pt x="53" y="376"/>
                  </a:cubicBezTo>
                  <a:cubicBezTo>
                    <a:pt x="57" y="374"/>
                    <a:pt x="57" y="371"/>
                    <a:pt x="59" y="372"/>
                  </a:cubicBezTo>
                  <a:cubicBezTo>
                    <a:pt x="61" y="372"/>
                    <a:pt x="66" y="370"/>
                    <a:pt x="66" y="364"/>
                  </a:cubicBezTo>
                  <a:cubicBezTo>
                    <a:pt x="66" y="358"/>
                    <a:pt x="69" y="356"/>
                    <a:pt x="74" y="351"/>
                  </a:cubicBezTo>
                  <a:cubicBezTo>
                    <a:pt x="80" y="347"/>
                    <a:pt x="89" y="342"/>
                    <a:pt x="87" y="340"/>
                  </a:cubicBezTo>
                  <a:cubicBezTo>
                    <a:pt x="86" y="338"/>
                    <a:pt x="89" y="332"/>
                    <a:pt x="89" y="329"/>
                  </a:cubicBezTo>
                  <a:cubicBezTo>
                    <a:pt x="89" y="327"/>
                    <a:pt x="81" y="327"/>
                    <a:pt x="78" y="326"/>
                  </a:cubicBezTo>
                  <a:cubicBezTo>
                    <a:pt x="75" y="325"/>
                    <a:pt x="65" y="318"/>
                    <a:pt x="70" y="309"/>
                  </a:cubicBezTo>
                  <a:cubicBezTo>
                    <a:pt x="75" y="300"/>
                    <a:pt x="86" y="299"/>
                    <a:pt x="89" y="299"/>
                  </a:cubicBezTo>
                  <a:cubicBezTo>
                    <a:pt x="92" y="298"/>
                    <a:pt x="89" y="294"/>
                    <a:pt x="92" y="293"/>
                  </a:cubicBezTo>
                  <a:cubicBezTo>
                    <a:pt x="94" y="291"/>
                    <a:pt x="95" y="289"/>
                    <a:pt x="95" y="285"/>
                  </a:cubicBezTo>
                  <a:cubicBezTo>
                    <a:pt x="95" y="281"/>
                    <a:pt x="95" y="274"/>
                    <a:pt x="99" y="273"/>
                  </a:cubicBezTo>
                  <a:cubicBezTo>
                    <a:pt x="104" y="273"/>
                    <a:pt x="105" y="270"/>
                    <a:pt x="102" y="270"/>
                  </a:cubicBezTo>
                  <a:cubicBezTo>
                    <a:pt x="99" y="269"/>
                    <a:pt x="98" y="266"/>
                    <a:pt x="103" y="265"/>
                  </a:cubicBezTo>
                  <a:cubicBezTo>
                    <a:pt x="107" y="265"/>
                    <a:pt x="106" y="269"/>
                    <a:pt x="109" y="269"/>
                  </a:cubicBezTo>
                  <a:cubicBezTo>
                    <a:pt x="112" y="269"/>
                    <a:pt x="118" y="263"/>
                    <a:pt x="113" y="260"/>
                  </a:cubicBezTo>
                  <a:cubicBezTo>
                    <a:pt x="109" y="257"/>
                    <a:pt x="108" y="262"/>
                    <a:pt x="106" y="262"/>
                  </a:cubicBezTo>
                  <a:cubicBezTo>
                    <a:pt x="103" y="263"/>
                    <a:pt x="102" y="259"/>
                    <a:pt x="99" y="259"/>
                  </a:cubicBezTo>
                  <a:cubicBezTo>
                    <a:pt x="97" y="259"/>
                    <a:pt x="99" y="253"/>
                    <a:pt x="98" y="251"/>
                  </a:cubicBezTo>
                  <a:cubicBezTo>
                    <a:pt x="97" y="248"/>
                    <a:pt x="95" y="243"/>
                    <a:pt x="97" y="240"/>
                  </a:cubicBezTo>
                  <a:cubicBezTo>
                    <a:pt x="99" y="237"/>
                    <a:pt x="108" y="244"/>
                    <a:pt x="115" y="245"/>
                  </a:cubicBezTo>
                  <a:cubicBezTo>
                    <a:pt x="123" y="245"/>
                    <a:pt x="128" y="241"/>
                    <a:pt x="128" y="238"/>
                  </a:cubicBezTo>
                  <a:cubicBezTo>
                    <a:pt x="128" y="236"/>
                    <a:pt x="125" y="231"/>
                    <a:pt x="129" y="228"/>
                  </a:cubicBezTo>
                  <a:cubicBezTo>
                    <a:pt x="134" y="225"/>
                    <a:pt x="130" y="224"/>
                    <a:pt x="129" y="220"/>
                  </a:cubicBezTo>
                  <a:cubicBezTo>
                    <a:pt x="127" y="216"/>
                    <a:pt x="131" y="213"/>
                    <a:pt x="133" y="215"/>
                  </a:cubicBezTo>
                  <a:cubicBezTo>
                    <a:pt x="135" y="217"/>
                    <a:pt x="149" y="216"/>
                    <a:pt x="162" y="213"/>
                  </a:cubicBezTo>
                  <a:cubicBezTo>
                    <a:pt x="174" y="211"/>
                    <a:pt x="182" y="206"/>
                    <a:pt x="183" y="203"/>
                  </a:cubicBezTo>
                  <a:cubicBezTo>
                    <a:pt x="184" y="199"/>
                    <a:pt x="192" y="191"/>
                    <a:pt x="193" y="188"/>
                  </a:cubicBezTo>
                  <a:cubicBezTo>
                    <a:pt x="195" y="185"/>
                    <a:pt x="194" y="181"/>
                    <a:pt x="189" y="181"/>
                  </a:cubicBezTo>
                  <a:cubicBezTo>
                    <a:pt x="184" y="180"/>
                    <a:pt x="184" y="174"/>
                    <a:pt x="187" y="171"/>
                  </a:cubicBezTo>
                  <a:cubicBezTo>
                    <a:pt x="189" y="168"/>
                    <a:pt x="185" y="165"/>
                    <a:pt x="180" y="164"/>
                  </a:cubicBezTo>
                  <a:cubicBezTo>
                    <a:pt x="176" y="164"/>
                    <a:pt x="168" y="160"/>
                    <a:pt x="172" y="156"/>
                  </a:cubicBezTo>
                  <a:cubicBezTo>
                    <a:pt x="174" y="154"/>
                    <a:pt x="175" y="155"/>
                    <a:pt x="176" y="156"/>
                  </a:cubicBezTo>
                  <a:cubicBezTo>
                    <a:pt x="177" y="154"/>
                    <a:pt x="178" y="151"/>
                    <a:pt x="177" y="151"/>
                  </a:cubicBezTo>
                  <a:cubicBezTo>
                    <a:pt x="176" y="150"/>
                    <a:pt x="174" y="151"/>
                    <a:pt x="174" y="144"/>
                  </a:cubicBezTo>
                  <a:cubicBezTo>
                    <a:pt x="174" y="137"/>
                    <a:pt x="177" y="138"/>
                    <a:pt x="177" y="129"/>
                  </a:cubicBezTo>
                  <a:cubicBezTo>
                    <a:pt x="177" y="120"/>
                    <a:pt x="181" y="115"/>
                    <a:pt x="181" y="110"/>
                  </a:cubicBezTo>
                  <a:cubicBezTo>
                    <a:pt x="181" y="105"/>
                    <a:pt x="189" y="100"/>
                    <a:pt x="194" y="92"/>
                  </a:cubicBezTo>
                  <a:cubicBezTo>
                    <a:pt x="199" y="84"/>
                    <a:pt x="209" y="74"/>
                    <a:pt x="214" y="71"/>
                  </a:cubicBezTo>
                  <a:cubicBezTo>
                    <a:pt x="218" y="69"/>
                    <a:pt x="226" y="66"/>
                    <a:pt x="227" y="64"/>
                  </a:cubicBezTo>
                  <a:cubicBezTo>
                    <a:pt x="228" y="61"/>
                    <a:pt x="227" y="48"/>
                    <a:pt x="225" y="4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332411" y="4632481"/>
              <a:ext cx="227442" cy="1161848"/>
            </a:xfrm>
            <a:custGeom>
              <a:avLst/>
              <a:gdLst/>
              <a:ahLst/>
              <a:cxnLst>
                <a:cxn ang="0">
                  <a:pos x="40" y="435"/>
                </a:cxn>
                <a:cxn ang="0">
                  <a:pos x="27" y="413"/>
                </a:cxn>
                <a:cxn ang="0">
                  <a:pos x="38" y="389"/>
                </a:cxn>
                <a:cxn ang="0">
                  <a:pos x="46" y="365"/>
                </a:cxn>
                <a:cxn ang="0">
                  <a:pos x="51" y="347"/>
                </a:cxn>
                <a:cxn ang="0">
                  <a:pos x="44" y="329"/>
                </a:cxn>
                <a:cxn ang="0">
                  <a:pos x="45" y="299"/>
                </a:cxn>
                <a:cxn ang="0">
                  <a:pos x="49" y="276"/>
                </a:cxn>
                <a:cxn ang="0">
                  <a:pos x="53" y="257"/>
                </a:cxn>
                <a:cxn ang="0">
                  <a:pos x="62" y="216"/>
                </a:cxn>
                <a:cxn ang="0">
                  <a:pos x="65" y="189"/>
                </a:cxn>
                <a:cxn ang="0">
                  <a:pos x="66" y="157"/>
                </a:cxn>
                <a:cxn ang="0">
                  <a:pos x="74" y="129"/>
                </a:cxn>
                <a:cxn ang="0">
                  <a:pos x="84" y="107"/>
                </a:cxn>
                <a:cxn ang="0">
                  <a:pos x="97" y="76"/>
                </a:cxn>
                <a:cxn ang="0">
                  <a:pos x="89" y="53"/>
                </a:cxn>
                <a:cxn ang="0">
                  <a:pos x="84" y="25"/>
                </a:cxn>
                <a:cxn ang="0">
                  <a:pos x="71" y="2"/>
                </a:cxn>
                <a:cxn ang="0">
                  <a:pos x="64" y="23"/>
                </a:cxn>
                <a:cxn ang="0">
                  <a:pos x="62" y="75"/>
                </a:cxn>
                <a:cxn ang="0">
                  <a:pos x="53" y="128"/>
                </a:cxn>
                <a:cxn ang="0">
                  <a:pos x="48" y="163"/>
                </a:cxn>
                <a:cxn ang="0">
                  <a:pos x="41" y="210"/>
                </a:cxn>
                <a:cxn ang="0">
                  <a:pos x="26" y="251"/>
                </a:cxn>
                <a:cxn ang="0">
                  <a:pos x="24" y="286"/>
                </a:cxn>
                <a:cxn ang="0">
                  <a:pos x="17" y="319"/>
                </a:cxn>
                <a:cxn ang="0">
                  <a:pos x="32" y="302"/>
                </a:cxn>
                <a:cxn ang="0">
                  <a:pos x="34" y="320"/>
                </a:cxn>
                <a:cxn ang="0">
                  <a:pos x="30" y="342"/>
                </a:cxn>
                <a:cxn ang="0">
                  <a:pos x="25" y="357"/>
                </a:cxn>
                <a:cxn ang="0">
                  <a:pos x="23" y="354"/>
                </a:cxn>
                <a:cxn ang="0">
                  <a:pos x="15" y="357"/>
                </a:cxn>
                <a:cxn ang="0">
                  <a:pos x="2" y="374"/>
                </a:cxn>
                <a:cxn ang="0">
                  <a:pos x="17" y="376"/>
                </a:cxn>
                <a:cxn ang="0">
                  <a:pos x="25" y="389"/>
                </a:cxn>
                <a:cxn ang="0">
                  <a:pos x="11" y="393"/>
                </a:cxn>
                <a:cxn ang="0">
                  <a:pos x="13" y="400"/>
                </a:cxn>
                <a:cxn ang="0">
                  <a:pos x="6" y="412"/>
                </a:cxn>
                <a:cxn ang="0">
                  <a:pos x="15" y="416"/>
                </a:cxn>
                <a:cxn ang="0">
                  <a:pos x="16" y="427"/>
                </a:cxn>
                <a:cxn ang="0">
                  <a:pos x="9" y="441"/>
                </a:cxn>
                <a:cxn ang="0">
                  <a:pos x="23" y="444"/>
                </a:cxn>
                <a:cxn ang="0">
                  <a:pos x="28" y="448"/>
                </a:cxn>
                <a:cxn ang="0">
                  <a:pos x="22" y="462"/>
                </a:cxn>
                <a:cxn ang="0">
                  <a:pos x="41" y="462"/>
                </a:cxn>
                <a:cxn ang="0">
                  <a:pos x="28" y="472"/>
                </a:cxn>
                <a:cxn ang="0">
                  <a:pos x="42" y="470"/>
                </a:cxn>
                <a:cxn ang="0">
                  <a:pos x="26" y="481"/>
                </a:cxn>
                <a:cxn ang="0">
                  <a:pos x="41" y="483"/>
                </a:cxn>
                <a:cxn ang="0">
                  <a:pos x="64" y="461"/>
                </a:cxn>
                <a:cxn ang="0">
                  <a:pos x="71" y="473"/>
                </a:cxn>
                <a:cxn ang="0">
                  <a:pos x="61" y="477"/>
                </a:cxn>
                <a:cxn ang="0">
                  <a:pos x="50" y="486"/>
                </a:cxn>
                <a:cxn ang="0">
                  <a:pos x="58" y="503"/>
                </a:cxn>
                <a:cxn ang="0">
                  <a:pos x="74" y="500"/>
                </a:cxn>
                <a:cxn ang="0">
                  <a:pos x="91" y="501"/>
                </a:cxn>
                <a:cxn ang="0">
                  <a:pos x="81" y="499"/>
                </a:cxn>
                <a:cxn ang="0">
                  <a:pos x="71" y="457"/>
                </a:cxn>
                <a:cxn ang="0">
                  <a:pos x="46" y="452"/>
                </a:cxn>
              </a:cxnLst>
              <a:rect l="0" t="0" r="r" b="b"/>
              <a:pathLst>
                <a:path w="100" h="510">
                  <a:moveTo>
                    <a:pt x="46" y="452"/>
                  </a:moveTo>
                  <a:cubicBezTo>
                    <a:pt x="44" y="453"/>
                    <a:pt x="43" y="447"/>
                    <a:pt x="41" y="447"/>
                  </a:cubicBezTo>
                  <a:cubicBezTo>
                    <a:pt x="39" y="447"/>
                    <a:pt x="39" y="439"/>
                    <a:pt x="40" y="435"/>
                  </a:cubicBezTo>
                  <a:cubicBezTo>
                    <a:pt x="42" y="431"/>
                    <a:pt x="32" y="433"/>
                    <a:pt x="30" y="431"/>
                  </a:cubicBezTo>
                  <a:cubicBezTo>
                    <a:pt x="27" y="430"/>
                    <a:pt x="31" y="427"/>
                    <a:pt x="28" y="424"/>
                  </a:cubicBezTo>
                  <a:cubicBezTo>
                    <a:pt x="25" y="420"/>
                    <a:pt x="27" y="416"/>
                    <a:pt x="27" y="413"/>
                  </a:cubicBezTo>
                  <a:cubicBezTo>
                    <a:pt x="28" y="411"/>
                    <a:pt x="30" y="406"/>
                    <a:pt x="34" y="406"/>
                  </a:cubicBezTo>
                  <a:cubicBezTo>
                    <a:pt x="37" y="406"/>
                    <a:pt x="35" y="400"/>
                    <a:pt x="38" y="398"/>
                  </a:cubicBezTo>
                  <a:cubicBezTo>
                    <a:pt x="42" y="396"/>
                    <a:pt x="35" y="392"/>
                    <a:pt x="38" y="389"/>
                  </a:cubicBezTo>
                  <a:cubicBezTo>
                    <a:pt x="41" y="387"/>
                    <a:pt x="38" y="382"/>
                    <a:pt x="43" y="382"/>
                  </a:cubicBezTo>
                  <a:cubicBezTo>
                    <a:pt x="47" y="381"/>
                    <a:pt x="43" y="375"/>
                    <a:pt x="46" y="374"/>
                  </a:cubicBezTo>
                  <a:cubicBezTo>
                    <a:pt x="49" y="373"/>
                    <a:pt x="45" y="369"/>
                    <a:pt x="46" y="365"/>
                  </a:cubicBezTo>
                  <a:cubicBezTo>
                    <a:pt x="47" y="361"/>
                    <a:pt x="44" y="358"/>
                    <a:pt x="48" y="356"/>
                  </a:cubicBezTo>
                  <a:cubicBezTo>
                    <a:pt x="52" y="355"/>
                    <a:pt x="49" y="351"/>
                    <a:pt x="46" y="349"/>
                  </a:cubicBezTo>
                  <a:cubicBezTo>
                    <a:pt x="43" y="347"/>
                    <a:pt x="47" y="347"/>
                    <a:pt x="51" y="347"/>
                  </a:cubicBezTo>
                  <a:cubicBezTo>
                    <a:pt x="54" y="347"/>
                    <a:pt x="52" y="341"/>
                    <a:pt x="49" y="342"/>
                  </a:cubicBezTo>
                  <a:cubicBezTo>
                    <a:pt x="45" y="343"/>
                    <a:pt x="43" y="339"/>
                    <a:pt x="46" y="336"/>
                  </a:cubicBezTo>
                  <a:cubicBezTo>
                    <a:pt x="49" y="333"/>
                    <a:pt x="43" y="331"/>
                    <a:pt x="44" y="329"/>
                  </a:cubicBezTo>
                  <a:cubicBezTo>
                    <a:pt x="45" y="327"/>
                    <a:pt x="45" y="324"/>
                    <a:pt x="43" y="323"/>
                  </a:cubicBezTo>
                  <a:cubicBezTo>
                    <a:pt x="41" y="321"/>
                    <a:pt x="42" y="311"/>
                    <a:pt x="45" y="311"/>
                  </a:cubicBezTo>
                  <a:cubicBezTo>
                    <a:pt x="47" y="310"/>
                    <a:pt x="45" y="301"/>
                    <a:pt x="45" y="299"/>
                  </a:cubicBezTo>
                  <a:cubicBezTo>
                    <a:pt x="45" y="296"/>
                    <a:pt x="43" y="293"/>
                    <a:pt x="43" y="291"/>
                  </a:cubicBezTo>
                  <a:cubicBezTo>
                    <a:pt x="43" y="288"/>
                    <a:pt x="46" y="288"/>
                    <a:pt x="46" y="283"/>
                  </a:cubicBezTo>
                  <a:cubicBezTo>
                    <a:pt x="46" y="278"/>
                    <a:pt x="47" y="276"/>
                    <a:pt x="49" y="276"/>
                  </a:cubicBezTo>
                  <a:cubicBezTo>
                    <a:pt x="51" y="276"/>
                    <a:pt x="49" y="270"/>
                    <a:pt x="50" y="267"/>
                  </a:cubicBezTo>
                  <a:cubicBezTo>
                    <a:pt x="50" y="265"/>
                    <a:pt x="56" y="267"/>
                    <a:pt x="56" y="263"/>
                  </a:cubicBezTo>
                  <a:cubicBezTo>
                    <a:pt x="57" y="259"/>
                    <a:pt x="53" y="259"/>
                    <a:pt x="53" y="257"/>
                  </a:cubicBezTo>
                  <a:cubicBezTo>
                    <a:pt x="54" y="253"/>
                    <a:pt x="53" y="249"/>
                    <a:pt x="53" y="242"/>
                  </a:cubicBezTo>
                  <a:cubicBezTo>
                    <a:pt x="53" y="234"/>
                    <a:pt x="59" y="233"/>
                    <a:pt x="62" y="231"/>
                  </a:cubicBezTo>
                  <a:cubicBezTo>
                    <a:pt x="64" y="228"/>
                    <a:pt x="59" y="218"/>
                    <a:pt x="62" y="216"/>
                  </a:cubicBezTo>
                  <a:cubicBezTo>
                    <a:pt x="65" y="215"/>
                    <a:pt x="63" y="210"/>
                    <a:pt x="65" y="208"/>
                  </a:cubicBezTo>
                  <a:cubicBezTo>
                    <a:pt x="67" y="206"/>
                    <a:pt x="67" y="203"/>
                    <a:pt x="68" y="199"/>
                  </a:cubicBezTo>
                  <a:cubicBezTo>
                    <a:pt x="69" y="195"/>
                    <a:pt x="65" y="193"/>
                    <a:pt x="65" y="189"/>
                  </a:cubicBezTo>
                  <a:cubicBezTo>
                    <a:pt x="65" y="185"/>
                    <a:pt x="65" y="182"/>
                    <a:pt x="62" y="178"/>
                  </a:cubicBezTo>
                  <a:cubicBezTo>
                    <a:pt x="59" y="174"/>
                    <a:pt x="60" y="166"/>
                    <a:pt x="62" y="166"/>
                  </a:cubicBezTo>
                  <a:cubicBezTo>
                    <a:pt x="64" y="166"/>
                    <a:pt x="63" y="158"/>
                    <a:pt x="66" y="157"/>
                  </a:cubicBezTo>
                  <a:cubicBezTo>
                    <a:pt x="70" y="156"/>
                    <a:pt x="68" y="150"/>
                    <a:pt x="66" y="145"/>
                  </a:cubicBezTo>
                  <a:cubicBezTo>
                    <a:pt x="65" y="140"/>
                    <a:pt x="69" y="143"/>
                    <a:pt x="69" y="139"/>
                  </a:cubicBezTo>
                  <a:cubicBezTo>
                    <a:pt x="69" y="135"/>
                    <a:pt x="71" y="130"/>
                    <a:pt x="74" y="129"/>
                  </a:cubicBezTo>
                  <a:cubicBezTo>
                    <a:pt x="78" y="128"/>
                    <a:pt x="78" y="122"/>
                    <a:pt x="78" y="120"/>
                  </a:cubicBezTo>
                  <a:cubicBezTo>
                    <a:pt x="78" y="117"/>
                    <a:pt x="82" y="116"/>
                    <a:pt x="85" y="114"/>
                  </a:cubicBezTo>
                  <a:cubicBezTo>
                    <a:pt x="87" y="112"/>
                    <a:pt x="81" y="109"/>
                    <a:pt x="84" y="107"/>
                  </a:cubicBezTo>
                  <a:cubicBezTo>
                    <a:pt x="88" y="105"/>
                    <a:pt x="81" y="96"/>
                    <a:pt x="83" y="94"/>
                  </a:cubicBezTo>
                  <a:cubicBezTo>
                    <a:pt x="85" y="93"/>
                    <a:pt x="84" y="89"/>
                    <a:pt x="84" y="86"/>
                  </a:cubicBezTo>
                  <a:cubicBezTo>
                    <a:pt x="84" y="84"/>
                    <a:pt x="95" y="79"/>
                    <a:pt x="97" y="76"/>
                  </a:cubicBezTo>
                  <a:cubicBezTo>
                    <a:pt x="98" y="74"/>
                    <a:pt x="99" y="68"/>
                    <a:pt x="99" y="63"/>
                  </a:cubicBezTo>
                  <a:cubicBezTo>
                    <a:pt x="96" y="65"/>
                    <a:pt x="93" y="66"/>
                    <a:pt x="92" y="65"/>
                  </a:cubicBezTo>
                  <a:cubicBezTo>
                    <a:pt x="91" y="63"/>
                    <a:pt x="92" y="56"/>
                    <a:pt x="89" y="53"/>
                  </a:cubicBezTo>
                  <a:cubicBezTo>
                    <a:pt x="86" y="50"/>
                    <a:pt x="88" y="44"/>
                    <a:pt x="85" y="43"/>
                  </a:cubicBezTo>
                  <a:cubicBezTo>
                    <a:pt x="82" y="41"/>
                    <a:pt x="79" y="35"/>
                    <a:pt x="81" y="33"/>
                  </a:cubicBezTo>
                  <a:cubicBezTo>
                    <a:pt x="84" y="31"/>
                    <a:pt x="81" y="27"/>
                    <a:pt x="84" y="25"/>
                  </a:cubicBezTo>
                  <a:cubicBezTo>
                    <a:pt x="86" y="23"/>
                    <a:pt x="82" y="23"/>
                    <a:pt x="79" y="19"/>
                  </a:cubicBezTo>
                  <a:cubicBezTo>
                    <a:pt x="76" y="15"/>
                    <a:pt x="80" y="10"/>
                    <a:pt x="76" y="7"/>
                  </a:cubicBezTo>
                  <a:cubicBezTo>
                    <a:pt x="72" y="4"/>
                    <a:pt x="72" y="0"/>
                    <a:pt x="71" y="2"/>
                  </a:cubicBezTo>
                  <a:cubicBezTo>
                    <a:pt x="70" y="4"/>
                    <a:pt x="70" y="9"/>
                    <a:pt x="67" y="11"/>
                  </a:cubicBezTo>
                  <a:cubicBezTo>
                    <a:pt x="66" y="11"/>
                    <a:pt x="65" y="12"/>
                    <a:pt x="64" y="13"/>
                  </a:cubicBezTo>
                  <a:cubicBezTo>
                    <a:pt x="64" y="15"/>
                    <a:pt x="63" y="20"/>
                    <a:pt x="64" y="23"/>
                  </a:cubicBezTo>
                  <a:cubicBezTo>
                    <a:pt x="66" y="27"/>
                    <a:pt x="67" y="45"/>
                    <a:pt x="65" y="52"/>
                  </a:cubicBezTo>
                  <a:cubicBezTo>
                    <a:pt x="64" y="59"/>
                    <a:pt x="62" y="65"/>
                    <a:pt x="61" y="69"/>
                  </a:cubicBezTo>
                  <a:cubicBezTo>
                    <a:pt x="59" y="73"/>
                    <a:pt x="64" y="73"/>
                    <a:pt x="62" y="75"/>
                  </a:cubicBezTo>
                  <a:cubicBezTo>
                    <a:pt x="60" y="77"/>
                    <a:pt x="61" y="82"/>
                    <a:pt x="61" y="90"/>
                  </a:cubicBezTo>
                  <a:cubicBezTo>
                    <a:pt x="61" y="98"/>
                    <a:pt x="56" y="112"/>
                    <a:pt x="56" y="116"/>
                  </a:cubicBezTo>
                  <a:cubicBezTo>
                    <a:pt x="56" y="120"/>
                    <a:pt x="52" y="123"/>
                    <a:pt x="53" y="128"/>
                  </a:cubicBezTo>
                  <a:cubicBezTo>
                    <a:pt x="53" y="133"/>
                    <a:pt x="51" y="135"/>
                    <a:pt x="48" y="138"/>
                  </a:cubicBezTo>
                  <a:cubicBezTo>
                    <a:pt x="45" y="140"/>
                    <a:pt x="52" y="147"/>
                    <a:pt x="52" y="151"/>
                  </a:cubicBezTo>
                  <a:cubicBezTo>
                    <a:pt x="52" y="155"/>
                    <a:pt x="47" y="157"/>
                    <a:pt x="48" y="163"/>
                  </a:cubicBezTo>
                  <a:cubicBezTo>
                    <a:pt x="49" y="171"/>
                    <a:pt x="48" y="185"/>
                    <a:pt x="48" y="188"/>
                  </a:cubicBezTo>
                  <a:cubicBezTo>
                    <a:pt x="48" y="191"/>
                    <a:pt x="45" y="191"/>
                    <a:pt x="45" y="196"/>
                  </a:cubicBezTo>
                  <a:cubicBezTo>
                    <a:pt x="46" y="201"/>
                    <a:pt x="42" y="202"/>
                    <a:pt x="41" y="210"/>
                  </a:cubicBezTo>
                  <a:cubicBezTo>
                    <a:pt x="41" y="217"/>
                    <a:pt x="35" y="228"/>
                    <a:pt x="33" y="234"/>
                  </a:cubicBezTo>
                  <a:cubicBezTo>
                    <a:pt x="30" y="240"/>
                    <a:pt x="30" y="243"/>
                    <a:pt x="27" y="243"/>
                  </a:cubicBezTo>
                  <a:cubicBezTo>
                    <a:pt x="24" y="243"/>
                    <a:pt x="24" y="246"/>
                    <a:pt x="26" y="251"/>
                  </a:cubicBezTo>
                  <a:cubicBezTo>
                    <a:pt x="28" y="256"/>
                    <a:pt x="24" y="260"/>
                    <a:pt x="27" y="265"/>
                  </a:cubicBezTo>
                  <a:cubicBezTo>
                    <a:pt x="30" y="270"/>
                    <a:pt x="29" y="272"/>
                    <a:pt x="28" y="277"/>
                  </a:cubicBezTo>
                  <a:cubicBezTo>
                    <a:pt x="26" y="282"/>
                    <a:pt x="24" y="282"/>
                    <a:pt x="24" y="286"/>
                  </a:cubicBezTo>
                  <a:cubicBezTo>
                    <a:pt x="24" y="291"/>
                    <a:pt x="21" y="295"/>
                    <a:pt x="23" y="300"/>
                  </a:cubicBezTo>
                  <a:cubicBezTo>
                    <a:pt x="25" y="305"/>
                    <a:pt x="24" y="306"/>
                    <a:pt x="22" y="306"/>
                  </a:cubicBezTo>
                  <a:cubicBezTo>
                    <a:pt x="19" y="306"/>
                    <a:pt x="18" y="310"/>
                    <a:pt x="17" y="319"/>
                  </a:cubicBezTo>
                  <a:cubicBezTo>
                    <a:pt x="16" y="327"/>
                    <a:pt x="16" y="327"/>
                    <a:pt x="22" y="326"/>
                  </a:cubicBezTo>
                  <a:cubicBezTo>
                    <a:pt x="28" y="326"/>
                    <a:pt x="24" y="306"/>
                    <a:pt x="27" y="306"/>
                  </a:cubicBezTo>
                  <a:cubicBezTo>
                    <a:pt x="31" y="306"/>
                    <a:pt x="28" y="303"/>
                    <a:pt x="32" y="302"/>
                  </a:cubicBezTo>
                  <a:cubicBezTo>
                    <a:pt x="35" y="301"/>
                    <a:pt x="32" y="305"/>
                    <a:pt x="35" y="306"/>
                  </a:cubicBezTo>
                  <a:cubicBezTo>
                    <a:pt x="37" y="307"/>
                    <a:pt x="39" y="309"/>
                    <a:pt x="35" y="311"/>
                  </a:cubicBezTo>
                  <a:cubicBezTo>
                    <a:pt x="32" y="313"/>
                    <a:pt x="36" y="318"/>
                    <a:pt x="34" y="320"/>
                  </a:cubicBezTo>
                  <a:cubicBezTo>
                    <a:pt x="33" y="323"/>
                    <a:pt x="30" y="326"/>
                    <a:pt x="32" y="329"/>
                  </a:cubicBezTo>
                  <a:cubicBezTo>
                    <a:pt x="33" y="333"/>
                    <a:pt x="30" y="332"/>
                    <a:pt x="30" y="337"/>
                  </a:cubicBezTo>
                  <a:cubicBezTo>
                    <a:pt x="29" y="341"/>
                    <a:pt x="32" y="341"/>
                    <a:pt x="30" y="342"/>
                  </a:cubicBezTo>
                  <a:cubicBezTo>
                    <a:pt x="28" y="343"/>
                    <a:pt x="32" y="346"/>
                    <a:pt x="30" y="347"/>
                  </a:cubicBezTo>
                  <a:cubicBezTo>
                    <a:pt x="27" y="347"/>
                    <a:pt x="29" y="351"/>
                    <a:pt x="30" y="354"/>
                  </a:cubicBezTo>
                  <a:cubicBezTo>
                    <a:pt x="32" y="357"/>
                    <a:pt x="27" y="355"/>
                    <a:pt x="25" y="357"/>
                  </a:cubicBezTo>
                  <a:cubicBezTo>
                    <a:pt x="22" y="359"/>
                    <a:pt x="27" y="362"/>
                    <a:pt x="26" y="364"/>
                  </a:cubicBezTo>
                  <a:cubicBezTo>
                    <a:pt x="24" y="367"/>
                    <a:pt x="20" y="363"/>
                    <a:pt x="18" y="361"/>
                  </a:cubicBezTo>
                  <a:cubicBezTo>
                    <a:pt x="17" y="360"/>
                    <a:pt x="21" y="357"/>
                    <a:pt x="23" y="354"/>
                  </a:cubicBezTo>
                  <a:cubicBezTo>
                    <a:pt x="26" y="351"/>
                    <a:pt x="21" y="344"/>
                    <a:pt x="17" y="346"/>
                  </a:cubicBezTo>
                  <a:cubicBezTo>
                    <a:pt x="14" y="347"/>
                    <a:pt x="21" y="351"/>
                    <a:pt x="21" y="355"/>
                  </a:cubicBezTo>
                  <a:cubicBezTo>
                    <a:pt x="21" y="358"/>
                    <a:pt x="15" y="354"/>
                    <a:pt x="15" y="357"/>
                  </a:cubicBezTo>
                  <a:cubicBezTo>
                    <a:pt x="15" y="361"/>
                    <a:pt x="11" y="360"/>
                    <a:pt x="9" y="362"/>
                  </a:cubicBezTo>
                  <a:cubicBezTo>
                    <a:pt x="6" y="365"/>
                    <a:pt x="12" y="367"/>
                    <a:pt x="9" y="368"/>
                  </a:cubicBezTo>
                  <a:cubicBezTo>
                    <a:pt x="7" y="368"/>
                    <a:pt x="2" y="372"/>
                    <a:pt x="2" y="374"/>
                  </a:cubicBezTo>
                  <a:cubicBezTo>
                    <a:pt x="2" y="377"/>
                    <a:pt x="5" y="377"/>
                    <a:pt x="5" y="375"/>
                  </a:cubicBezTo>
                  <a:cubicBezTo>
                    <a:pt x="5" y="372"/>
                    <a:pt x="9" y="372"/>
                    <a:pt x="10" y="375"/>
                  </a:cubicBezTo>
                  <a:cubicBezTo>
                    <a:pt x="11" y="378"/>
                    <a:pt x="13" y="375"/>
                    <a:pt x="17" y="376"/>
                  </a:cubicBezTo>
                  <a:cubicBezTo>
                    <a:pt x="20" y="376"/>
                    <a:pt x="20" y="382"/>
                    <a:pt x="18" y="381"/>
                  </a:cubicBezTo>
                  <a:cubicBezTo>
                    <a:pt x="16" y="381"/>
                    <a:pt x="14" y="385"/>
                    <a:pt x="14" y="388"/>
                  </a:cubicBezTo>
                  <a:cubicBezTo>
                    <a:pt x="15" y="392"/>
                    <a:pt x="22" y="388"/>
                    <a:pt x="25" y="389"/>
                  </a:cubicBezTo>
                  <a:cubicBezTo>
                    <a:pt x="28" y="390"/>
                    <a:pt x="27" y="396"/>
                    <a:pt x="25" y="394"/>
                  </a:cubicBezTo>
                  <a:cubicBezTo>
                    <a:pt x="23" y="392"/>
                    <a:pt x="19" y="389"/>
                    <a:pt x="17" y="392"/>
                  </a:cubicBezTo>
                  <a:cubicBezTo>
                    <a:pt x="16" y="395"/>
                    <a:pt x="13" y="394"/>
                    <a:pt x="11" y="393"/>
                  </a:cubicBezTo>
                  <a:cubicBezTo>
                    <a:pt x="8" y="392"/>
                    <a:pt x="0" y="397"/>
                    <a:pt x="3" y="399"/>
                  </a:cubicBezTo>
                  <a:cubicBezTo>
                    <a:pt x="6" y="401"/>
                    <a:pt x="6" y="404"/>
                    <a:pt x="7" y="404"/>
                  </a:cubicBezTo>
                  <a:cubicBezTo>
                    <a:pt x="9" y="404"/>
                    <a:pt x="12" y="402"/>
                    <a:pt x="13" y="400"/>
                  </a:cubicBezTo>
                  <a:cubicBezTo>
                    <a:pt x="14" y="398"/>
                    <a:pt x="17" y="396"/>
                    <a:pt x="18" y="401"/>
                  </a:cubicBezTo>
                  <a:cubicBezTo>
                    <a:pt x="18" y="405"/>
                    <a:pt x="13" y="403"/>
                    <a:pt x="12" y="406"/>
                  </a:cubicBezTo>
                  <a:cubicBezTo>
                    <a:pt x="11" y="408"/>
                    <a:pt x="9" y="410"/>
                    <a:pt x="6" y="412"/>
                  </a:cubicBezTo>
                  <a:cubicBezTo>
                    <a:pt x="3" y="415"/>
                    <a:pt x="6" y="418"/>
                    <a:pt x="8" y="417"/>
                  </a:cubicBezTo>
                  <a:cubicBezTo>
                    <a:pt x="11" y="416"/>
                    <a:pt x="8" y="420"/>
                    <a:pt x="11" y="421"/>
                  </a:cubicBezTo>
                  <a:cubicBezTo>
                    <a:pt x="14" y="421"/>
                    <a:pt x="15" y="419"/>
                    <a:pt x="15" y="416"/>
                  </a:cubicBezTo>
                  <a:cubicBezTo>
                    <a:pt x="14" y="414"/>
                    <a:pt x="16" y="408"/>
                    <a:pt x="19" y="411"/>
                  </a:cubicBezTo>
                  <a:cubicBezTo>
                    <a:pt x="22" y="414"/>
                    <a:pt x="18" y="416"/>
                    <a:pt x="18" y="419"/>
                  </a:cubicBezTo>
                  <a:cubicBezTo>
                    <a:pt x="18" y="421"/>
                    <a:pt x="16" y="425"/>
                    <a:pt x="16" y="427"/>
                  </a:cubicBezTo>
                  <a:cubicBezTo>
                    <a:pt x="16" y="430"/>
                    <a:pt x="13" y="429"/>
                    <a:pt x="13" y="432"/>
                  </a:cubicBezTo>
                  <a:cubicBezTo>
                    <a:pt x="13" y="435"/>
                    <a:pt x="6" y="433"/>
                    <a:pt x="9" y="435"/>
                  </a:cubicBezTo>
                  <a:cubicBezTo>
                    <a:pt x="13" y="437"/>
                    <a:pt x="7" y="439"/>
                    <a:pt x="9" y="441"/>
                  </a:cubicBezTo>
                  <a:cubicBezTo>
                    <a:pt x="11" y="443"/>
                    <a:pt x="12" y="439"/>
                    <a:pt x="15" y="440"/>
                  </a:cubicBezTo>
                  <a:cubicBezTo>
                    <a:pt x="18" y="441"/>
                    <a:pt x="17" y="441"/>
                    <a:pt x="21" y="440"/>
                  </a:cubicBezTo>
                  <a:cubicBezTo>
                    <a:pt x="24" y="438"/>
                    <a:pt x="26" y="443"/>
                    <a:pt x="23" y="444"/>
                  </a:cubicBezTo>
                  <a:cubicBezTo>
                    <a:pt x="20" y="445"/>
                    <a:pt x="16" y="448"/>
                    <a:pt x="18" y="449"/>
                  </a:cubicBezTo>
                  <a:cubicBezTo>
                    <a:pt x="19" y="449"/>
                    <a:pt x="24" y="446"/>
                    <a:pt x="25" y="450"/>
                  </a:cubicBezTo>
                  <a:cubicBezTo>
                    <a:pt x="26" y="453"/>
                    <a:pt x="28" y="452"/>
                    <a:pt x="28" y="448"/>
                  </a:cubicBezTo>
                  <a:cubicBezTo>
                    <a:pt x="29" y="445"/>
                    <a:pt x="35" y="448"/>
                    <a:pt x="36" y="451"/>
                  </a:cubicBezTo>
                  <a:cubicBezTo>
                    <a:pt x="37" y="454"/>
                    <a:pt x="29" y="456"/>
                    <a:pt x="26" y="455"/>
                  </a:cubicBezTo>
                  <a:cubicBezTo>
                    <a:pt x="22" y="454"/>
                    <a:pt x="20" y="458"/>
                    <a:pt x="22" y="462"/>
                  </a:cubicBezTo>
                  <a:cubicBezTo>
                    <a:pt x="25" y="465"/>
                    <a:pt x="28" y="462"/>
                    <a:pt x="31" y="459"/>
                  </a:cubicBezTo>
                  <a:cubicBezTo>
                    <a:pt x="33" y="456"/>
                    <a:pt x="47" y="457"/>
                    <a:pt x="48" y="460"/>
                  </a:cubicBezTo>
                  <a:cubicBezTo>
                    <a:pt x="49" y="463"/>
                    <a:pt x="42" y="460"/>
                    <a:pt x="41" y="462"/>
                  </a:cubicBezTo>
                  <a:cubicBezTo>
                    <a:pt x="40" y="464"/>
                    <a:pt x="35" y="465"/>
                    <a:pt x="34" y="463"/>
                  </a:cubicBezTo>
                  <a:cubicBezTo>
                    <a:pt x="33" y="461"/>
                    <a:pt x="28" y="464"/>
                    <a:pt x="28" y="467"/>
                  </a:cubicBezTo>
                  <a:cubicBezTo>
                    <a:pt x="27" y="471"/>
                    <a:pt x="23" y="471"/>
                    <a:pt x="28" y="472"/>
                  </a:cubicBezTo>
                  <a:cubicBezTo>
                    <a:pt x="32" y="473"/>
                    <a:pt x="31" y="467"/>
                    <a:pt x="38" y="468"/>
                  </a:cubicBezTo>
                  <a:cubicBezTo>
                    <a:pt x="45" y="468"/>
                    <a:pt x="49" y="461"/>
                    <a:pt x="51" y="465"/>
                  </a:cubicBezTo>
                  <a:cubicBezTo>
                    <a:pt x="53" y="469"/>
                    <a:pt x="45" y="472"/>
                    <a:pt x="42" y="470"/>
                  </a:cubicBezTo>
                  <a:cubicBezTo>
                    <a:pt x="40" y="467"/>
                    <a:pt x="36" y="472"/>
                    <a:pt x="37" y="475"/>
                  </a:cubicBezTo>
                  <a:cubicBezTo>
                    <a:pt x="37" y="479"/>
                    <a:pt x="29" y="474"/>
                    <a:pt x="25" y="474"/>
                  </a:cubicBezTo>
                  <a:cubicBezTo>
                    <a:pt x="21" y="473"/>
                    <a:pt x="22" y="478"/>
                    <a:pt x="26" y="481"/>
                  </a:cubicBezTo>
                  <a:cubicBezTo>
                    <a:pt x="29" y="485"/>
                    <a:pt x="31" y="481"/>
                    <a:pt x="36" y="484"/>
                  </a:cubicBezTo>
                  <a:cubicBezTo>
                    <a:pt x="40" y="486"/>
                    <a:pt x="40" y="489"/>
                    <a:pt x="43" y="487"/>
                  </a:cubicBezTo>
                  <a:cubicBezTo>
                    <a:pt x="46" y="484"/>
                    <a:pt x="43" y="484"/>
                    <a:pt x="41" y="483"/>
                  </a:cubicBezTo>
                  <a:cubicBezTo>
                    <a:pt x="39" y="482"/>
                    <a:pt x="41" y="477"/>
                    <a:pt x="45" y="480"/>
                  </a:cubicBezTo>
                  <a:cubicBezTo>
                    <a:pt x="50" y="482"/>
                    <a:pt x="56" y="478"/>
                    <a:pt x="54" y="472"/>
                  </a:cubicBezTo>
                  <a:cubicBezTo>
                    <a:pt x="53" y="466"/>
                    <a:pt x="58" y="463"/>
                    <a:pt x="64" y="461"/>
                  </a:cubicBezTo>
                  <a:cubicBezTo>
                    <a:pt x="70" y="459"/>
                    <a:pt x="67" y="465"/>
                    <a:pt x="63" y="466"/>
                  </a:cubicBezTo>
                  <a:cubicBezTo>
                    <a:pt x="58" y="468"/>
                    <a:pt x="58" y="469"/>
                    <a:pt x="61" y="473"/>
                  </a:cubicBezTo>
                  <a:cubicBezTo>
                    <a:pt x="64" y="476"/>
                    <a:pt x="68" y="471"/>
                    <a:pt x="71" y="473"/>
                  </a:cubicBezTo>
                  <a:cubicBezTo>
                    <a:pt x="74" y="476"/>
                    <a:pt x="66" y="476"/>
                    <a:pt x="65" y="478"/>
                  </a:cubicBezTo>
                  <a:cubicBezTo>
                    <a:pt x="64" y="481"/>
                    <a:pt x="70" y="484"/>
                    <a:pt x="65" y="486"/>
                  </a:cubicBezTo>
                  <a:cubicBezTo>
                    <a:pt x="61" y="488"/>
                    <a:pt x="63" y="478"/>
                    <a:pt x="61" y="477"/>
                  </a:cubicBezTo>
                  <a:cubicBezTo>
                    <a:pt x="58" y="476"/>
                    <a:pt x="56" y="478"/>
                    <a:pt x="58" y="484"/>
                  </a:cubicBezTo>
                  <a:cubicBezTo>
                    <a:pt x="61" y="490"/>
                    <a:pt x="55" y="485"/>
                    <a:pt x="53" y="482"/>
                  </a:cubicBezTo>
                  <a:cubicBezTo>
                    <a:pt x="50" y="479"/>
                    <a:pt x="47" y="483"/>
                    <a:pt x="50" y="486"/>
                  </a:cubicBezTo>
                  <a:cubicBezTo>
                    <a:pt x="53" y="489"/>
                    <a:pt x="44" y="486"/>
                    <a:pt x="44" y="491"/>
                  </a:cubicBezTo>
                  <a:cubicBezTo>
                    <a:pt x="44" y="496"/>
                    <a:pt x="48" y="492"/>
                    <a:pt x="52" y="493"/>
                  </a:cubicBezTo>
                  <a:cubicBezTo>
                    <a:pt x="57" y="494"/>
                    <a:pt x="55" y="500"/>
                    <a:pt x="58" y="503"/>
                  </a:cubicBezTo>
                  <a:cubicBezTo>
                    <a:pt x="61" y="505"/>
                    <a:pt x="59" y="495"/>
                    <a:pt x="62" y="494"/>
                  </a:cubicBezTo>
                  <a:cubicBezTo>
                    <a:pt x="66" y="493"/>
                    <a:pt x="62" y="502"/>
                    <a:pt x="70" y="504"/>
                  </a:cubicBezTo>
                  <a:cubicBezTo>
                    <a:pt x="78" y="507"/>
                    <a:pt x="71" y="503"/>
                    <a:pt x="74" y="500"/>
                  </a:cubicBezTo>
                  <a:cubicBezTo>
                    <a:pt x="78" y="498"/>
                    <a:pt x="82" y="508"/>
                    <a:pt x="86" y="509"/>
                  </a:cubicBezTo>
                  <a:cubicBezTo>
                    <a:pt x="90" y="510"/>
                    <a:pt x="87" y="504"/>
                    <a:pt x="84" y="501"/>
                  </a:cubicBezTo>
                  <a:cubicBezTo>
                    <a:pt x="82" y="498"/>
                    <a:pt x="87" y="500"/>
                    <a:pt x="91" y="501"/>
                  </a:cubicBezTo>
                  <a:cubicBezTo>
                    <a:pt x="95" y="503"/>
                    <a:pt x="98" y="503"/>
                    <a:pt x="98" y="500"/>
                  </a:cubicBezTo>
                  <a:cubicBezTo>
                    <a:pt x="99" y="499"/>
                    <a:pt x="99" y="499"/>
                    <a:pt x="100" y="500"/>
                  </a:cubicBezTo>
                  <a:cubicBezTo>
                    <a:pt x="96" y="497"/>
                    <a:pt x="83" y="499"/>
                    <a:pt x="81" y="499"/>
                  </a:cubicBezTo>
                  <a:cubicBezTo>
                    <a:pt x="79" y="498"/>
                    <a:pt x="81" y="468"/>
                    <a:pt x="81" y="461"/>
                  </a:cubicBezTo>
                  <a:cubicBezTo>
                    <a:pt x="81" y="461"/>
                    <a:pt x="81" y="461"/>
                    <a:pt x="80" y="461"/>
                  </a:cubicBezTo>
                  <a:cubicBezTo>
                    <a:pt x="77" y="461"/>
                    <a:pt x="70" y="462"/>
                    <a:pt x="71" y="457"/>
                  </a:cubicBezTo>
                  <a:cubicBezTo>
                    <a:pt x="71" y="456"/>
                    <a:pt x="72" y="456"/>
                    <a:pt x="72" y="455"/>
                  </a:cubicBezTo>
                  <a:cubicBezTo>
                    <a:pt x="71" y="454"/>
                    <a:pt x="69" y="453"/>
                    <a:pt x="66" y="452"/>
                  </a:cubicBezTo>
                  <a:cubicBezTo>
                    <a:pt x="61" y="450"/>
                    <a:pt x="49" y="452"/>
                    <a:pt x="46" y="45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669783" y="4683655"/>
              <a:ext cx="229338" cy="229337"/>
            </a:xfrm>
            <a:custGeom>
              <a:avLst/>
              <a:gdLst/>
              <a:ahLst/>
              <a:cxnLst>
                <a:cxn ang="0">
                  <a:pos x="96" y="54"/>
                </a:cxn>
                <a:cxn ang="0">
                  <a:pos x="87" y="56"/>
                </a:cxn>
                <a:cxn ang="0">
                  <a:pos x="81" y="43"/>
                </a:cxn>
                <a:cxn ang="0">
                  <a:pos x="73" y="34"/>
                </a:cxn>
                <a:cxn ang="0">
                  <a:pos x="64" y="33"/>
                </a:cxn>
                <a:cxn ang="0">
                  <a:pos x="58" y="24"/>
                </a:cxn>
                <a:cxn ang="0">
                  <a:pos x="56" y="10"/>
                </a:cxn>
                <a:cxn ang="0">
                  <a:pos x="55" y="4"/>
                </a:cxn>
                <a:cxn ang="0">
                  <a:pos x="53" y="5"/>
                </a:cxn>
                <a:cxn ang="0">
                  <a:pos x="43" y="0"/>
                </a:cxn>
                <a:cxn ang="0">
                  <a:pos x="30" y="1"/>
                </a:cxn>
                <a:cxn ang="0">
                  <a:pos x="16" y="4"/>
                </a:cxn>
                <a:cxn ang="0">
                  <a:pos x="7" y="14"/>
                </a:cxn>
                <a:cxn ang="0">
                  <a:pos x="4" y="32"/>
                </a:cxn>
                <a:cxn ang="0">
                  <a:pos x="0" y="31"/>
                </a:cxn>
                <a:cxn ang="0">
                  <a:pos x="16" y="47"/>
                </a:cxn>
                <a:cxn ang="0">
                  <a:pos x="28" y="55"/>
                </a:cxn>
                <a:cxn ang="0">
                  <a:pos x="41" y="62"/>
                </a:cxn>
                <a:cxn ang="0">
                  <a:pos x="62" y="72"/>
                </a:cxn>
                <a:cxn ang="0">
                  <a:pos x="53" y="87"/>
                </a:cxn>
                <a:cxn ang="0">
                  <a:pos x="49" y="95"/>
                </a:cxn>
                <a:cxn ang="0">
                  <a:pos x="60" y="97"/>
                </a:cxn>
                <a:cxn ang="0">
                  <a:pos x="71" y="98"/>
                </a:cxn>
                <a:cxn ang="0">
                  <a:pos x="80" y="96"/>
                </a:cxn>
                <a:cxn ang="0">
                  <a:pos x="89" y="92"/>
                </a:cxn>
                <a:cxn ang="0">
                  <a:pos x="95" y="75"/>
                </a:cxn>
                <a:cxn ang="0">
                  <a:pos x="96" y="54"/>
                </a:cxn>
              </a:cxnLst>
              <a:rect l="0" t="0" r="r" b="b"/>
              <a:pathLst>
                <a:path w="100" h="100">
                  <a:moveTo>
                    <a:pt x="96" y="54"/>
                  </a:moveTo>
                  <a:cubicBezTo>
                    <a:pt x="92" y="52"/>
                    <a:pt x="88" y="56"/>
                    <a:pt x="87" y="56"/>
                  </a:cubicBezTo>
                  <a:cubicBezTo>
                    <a:pt x="85" y="56"/>
                    <a:pt x="82" y="47"/>
                    <a:pt x="81" y="43"/>
                  </a:cubicBezTo>
                  <a:cubicBezTo>
                    <a:pt x="80" y="40"/>
                    <a:pt x="76" y="32"/>
                    <a:pt x="73" y="34"/>
                  </a:cubicBezTo>
                  <a:cubicBezTo>
                    <a:pt x="71" y="36"/>
                    <a:pt x="71" y="33"/>
                    <a:pt x="64" y="33"/>
                  </a:cubicBezTo>
                  <a:cubicBezTo>
                    <a:pt x="56" y="33"/>
                    <a:pt x="56" y="31"/>
                    <a:pt x="58" y="24"/>
                  </a:cubicBezTo>
                  <a:cubicBezTo>
                    <a:pt x="59" y="16"/>
                    <a:pt x="53" y="12"/>
                    <a:pt x="56" y="10"/>
                  </a:cubicBezTo>
                  <a:cubicBezTo>
                    <a:pt x="58" y="9"/>
                    <a:pt x="58" y="7"/>
                    <a:pt x="55" y="4"/>
                  </a:cubicBezTo>
                  <a:cubicBezTo>
                    <a:pt x="55" y="4"/>
                    <a:pt x="54" y="5"/>
                    <a:pt x="53" y="5"/>
                  </a:cubicBezTo>
                  <a:cubicBezTo>
                    <a:pt x="51" y="5"/>
                    <a:pt x="47" y="0"/>
                    <a:pt x="43" y="0"/>
                  </a:cubicBezTo>
                  <a:cubicBezTo>
                    <a:pt x="38" y="0"/>
                    <a:pt x="33" y="0"/>
                    <a:pt x="30" y="1"/>
                  </a:cubicBezTo>
                  <a:cubicBezTo>
                    <a:pt x="26" y="3"/>
                    <a:pt x="20" y="1"/>
                    <a:pt x="16" y="4"/>
                  </a:cubicBezTo>
                  <a:cubicBezTo>
                    <a:pt x="12" y="6"/>
                    <a:pt x="7" y="12"/>
                    <a:pt x="7" y="14"/>
                  </a:cubicBezTo>
                  <a:cubicBezTo>
                    <a:pt x="8" y="17"/>
                    <a:pt x="6" y="31"/>
                    <a:pt x="4" y="32"/>
                  </a:cubicBezTo>
                  <a:cubicBezTo>
                    <a:pt x="3" y="32"/>
                    <a:pt x="2" y="32"/>
                    <a:pt x="0" y="31"/>
                  </a:cubicBezTo>
                  <a:cubicBezTo>
                    <a:pt x="3" y="36"/>
                    <a:pt x="11" y="44"/>
                    <a:pt x="16" y="47"/>
                  </a:cubicBezTo>
                  <a:cubicBezTo>
                    <a:pt x="22" y="51"/>
                    <a:pt x="22" y="55"/>
                    <a:pt x="28" y="55"/>
                  </a:cubicBezTo>
                  <a:cubicBezTo>
                    <a:pt x="35" y="56"/>
                    <a:pt x="38" y="59"/>
                    <a:pt x="41" y="62"/>
                  </a:cubicBezTo>
                  <a:cubicBezTo>
                    <a:pt x="43" y="65"/>
                    <a:pt x="60" y="70"/>
                    <a:pt x="62" y="72"/>
                  </a:cubicBezTo>
                  <a:cubicBezTo>
                    <a:pt x="63" y="75"/>
                    <a:pt x="53" y="81"/>
                    <a:pt x="53" y="87"/>
                  </a:cubicBezTo>
                  <a:cubicBezTo>
                    <a:pt x="53" y="93"/>
                    <a:pt x="49" y="93"/>
                    <a:pt x="49" y="95"/>
                  </a:cubicBezTo>
                  <a:cubicBezTo>
                    <a:pt x="49" y="97"/>
                    <a:pt x="57" y="95"/>
                    <a:pt x="60" y="97"/>
                  </a:cubicBezTo>
                  <a:cubicBezTo>
                    <a:pt x="63" y="99"/>
                    <a:pt x="67" y="96"/>
                    <a:pt x="71" y="98"/>
                  </a:cubicBezTo>
                  <a:cubicBezTo>
                    <a:pt x="74" y="100"/>
                    <a:pt x="78" y="95"/>
                    <a:pt x="80" y="96"/>
                  </a:cubicBezTo>
                  <a:cubicBezTo>
                    <a:pt x="83" y="97"/>
                    <a:pt x="86" y="91"/>
                    <a:pt x="89" y="92"/>
                  </a:cubicBezTo>
                  <a:cubicBezTo>
                    <a:pt x="93" y="92"/>
                    <a:pt x="96" y="80"/>
                    <a:pt x="95" y="75"/>
                  </a:cubicBezTo>
                  <a:cubicBezTo>
                    <a:pt x="94" y="70"/>
                    <a:pt x="100" y="56"/>
                    <a:pt x="96" y="5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072748" y="3887610"/>
              <a:ext cx="85291" cy="68232"/>
            </a:xfrm>
            <a:custGeom>
              <a:avLst/>
              <a:gdLst/>
              <a:ahLst/>
              <a:cxnLst>
                <a:cxn ang="0">
                  <a:pos x="36" y="24"/>
                </a:cxn>
                <a:cxn ang="0">
                  <a:pos x="38" y="17"/>
                </a:cxn>
                <a:cxn ang="0">
                  <a:pos x="26" y="3"/>
                </a:cxn>
                <a:cxn ang="0">
                  <a:pos x="21" y="2"/>
                </a:cxn>
                <a:cxn ang="0">
                  <a:pos x="10" y="0"/>
                </a:cxn>
                <a:cxn ang="0">
                  <a:pos x="3" y="0"/>
                </a:cxn>
                <a:cxn ang="0">
                  <a:pos x="3" y="5"/>
                </a:cxn>
                <a:cxn ang="0">
                  <a:pos x="6" y="14"/>
                </a:cxn>
                <a:cxn ang="0">
                  <a:pos x="12" y="13"/>
                </a:cxn>
                <a:cxn ang="0">
                  <a:pos x="17" y="17"/>
                </a:cxn>
                <a:cxn ang="0">
                  <a:pos x="25" y="24"/>
                </a:cxn>
                <a:cxn ang="0">
                  <a:pos x="32" y="30"/>
                </a:cxn>
                <a:cxn ang="0">
                  <a:pos x="34" y="30"/>
                </a:cxn>
                <a:cxn ang="0">
                  <a:pos x="36" y="24"/>
                </a:cxn>
              </a:cxnLst>
              <a:rect l="0" t="0" r="r" b="b"/>
              <a:pathLst>
                <a:path w="38" h="30">
                  <a:moveTo>
                    <a:pt x="36" y="24"/>
                  </a:moveTo>
                  <a:cubicBezTo>
                    <a:pt x="35" y="23"/>
                    <a:pt x="36" y="19"/>
                    <a:pt x="38" y="17"/>
                  </a:cubicBezTo>
                  <a:cubicBezTo>
                    <a:pt x="33" y="12"/>
                    <a:pt x="29" y="6"/>
                    <a:pt x="26" y="3"/>
                  </a:cubicBezTo>
                  <a:cubicBezTo>
                    <a:pt x="24" y="3"/>
                    <a:pt x="22" y="3"/>
                    <a:pt x="21" y="2"/>
                  </a:cubicBezTo>
                  <a:cubicBezTo>
                    <a:pt x="18" y="0"/>
                    <a:pt x="12" y="2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4" y="2"/>
                    <a:pt x="4" y="4"/>
                    <a:pt x="3" y="5"/>
                  </a:cubicBezTo>
                  <a:cubicBezTo>
                    <a:pt x="0" y="6"/>
                    <a:pt x="0" y="12"/>
                    <a:pt x="6" y="14"/>
                  </a:cubicBezTo>
                  <a:cubicBezTo>
                    <a:pt x="11" y="17"/>
                    <a:pt x="9" y="13"/>
                    <a:pt x="12" y="13"/>
                  </a:cubicBezTo>
                  <a:cubicBezTo>
                    <a:pt x="15" y="13"/>
                    <a:pt x="15" y="17"/>
                    <a:pt x="17" y="17"/>
                  </a:cubicBezTo>
                  <a:cubicBezTo>
                    <a:pt x="20" y="17"/>
                    <a:pt x="25" y="20"/>
                    <a:pt x="25" y="24"/>
                  </a:cubicBezTo>
                  <a:cubicBezTo>
                    <a:pt x="25" y="28"/>
                    <a:pt x="27" y="30"/>
                    <a:pt x="32" y="30"/>
                  </a:cubicBezTo>
                  <a:cubicBezTo>
                    <a:pt x="32" y="30"/>
                    <a:pt x="33" y="30"/>
                    <a:pt x="34" y="30"/>
                  </a:cubicBezTo>
                  <a:cubicBezTo>
                    <a:pt x="35" y="28"/>
                    <a:pt x="36" y="25"/>
                    <a:pt x="36" y="2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150458" y="3921726"/>
              <a:ext cx="149733" cy="72023"/>
            </a:xfrm>
            <a:custGeom>
              <a:avLst/>
              <a:gdLst/>
              <a:ahLst/>
              <a:cxnLst>
                <a:cxn ang="0">
                  <a:pos x="59" y="9"/>
                </a:cxn>
                <a:cxn ang="0">
                  <a:pos x="43" y="2"/>
                </a:cxn>
                <a:cxn ang="0">
                  <a:pos x="27" y="8"/>
                </a:cxn>
                <a:cxn ang="0">
                  <a:pos x="9" y="7"/>
                </a:cxn>
                <a:cxn ang="0">
                  <a:pos x="4" y="2"/>
                </a:cxn>
                <a:cxn ang="0">
                  <a:pos x="2" y="9"/>
                </a:cxn>
                <a:cxn ang="0">
                  <a:pos x="0" y="15"/>
                </a:cxn>
                <a:cxn ang="0">
                  <a:pos x="15" y="22"/>
                </a:cxn>
                <a:cxn ang="0">
                  <a:pos x="23" y="27"/>
                </a:cxn>
                <a:cxn ang="0">
                  <a:pos x="32" y="25"/>
                </a:cxn>
                <a:cxn ang="0">
                  <a:pos x="29" y="19"/>
                </a:cxn>
                <a:cxn ang="0">
                  <a:pos x="35" y="13"/>
                </a:cxn>
                <a:cxn ang="0">
                  <a:pos x="47" y="9"/>
                </a:cxn>
                <a:cxn ang="0">
                  <a:pos x="50" y="17"/>
                </a:cxn>
                <a:cxn ang="0">
                  <a:pos x="57" y="29"/>
                </a:cxn>
                <a:cxn ang="0">
                  <a:pos x="65" y="21"/>
                </a:cxn>
                <a:cxn ang="0">
                  <a:pos x="66" y="18"/>
                </a:cxn>
                <a:cxn ang="0">
                  <a:pos x="59" y="9"/>
                </a:cxn>
              </a:cxnLst>
              <a:rect l="0" t="0" r="r" b="b"/>
              <a:pathLst>
                <a:path w="66" h="31">
                  <a:moveTo>
                    <a:pt x="59" y="9"/>
                  </a:moveTo>
                  <a:cubicBezTo>
                    <a:pt x="55" y="3"/>
                    <a:pt x="48" y="4"/>
                    <a:pt x="43" y="2"/>
                  </a:cubicBezTo>
                  <a:cubicBezTo>
                    <a:pt x="39" y="0"/>
                    <a:pt x="33" y="2"/>
                    <a:pt x="27" y="8"/>
                  </a:cubicBezTo>
                  <a:cubicBezTo>
                    <a:pt x="22" y="13"/>
                    <a:pt x="14" y="10"/>
                    <a:pt x="9" y="7"/>
                  </a:cubicBezTo>
                  <a:cubicBezTo>
                    <a:pt x="8" y="6"/>
                    <a:pt x="6" y="4"/>
                    <a:pt x="4" y="2"/>
                  </a:cubicBezTo>
                  <a:cubicBezTo>
                    <a:pt x="2" y="4"/>
                    <a:pt x="1" y="8"/>
                    <a:pt x="2" y="9"/>
                  </a:cubicBezTo>
                  <a:cubicBezTo>
                    <a:pt x="2" y="10"/>
                    <a:pt x="1" y="13"/>
                    <a:pt x="0" y="15"/>
                  </a:cubicBezTo>
                  <a:cubicBezTo>
                    <a:pt x="5" y="16"/>
                    <a:pt x="12" y="18"/>
                    <a:pt x="15" y="22"/>
                  </a:cubicBezTo>
                  <a:cubicBezTo>
                    <a:pt x="19" y="26"/>
                    <a:pt x="21" y="23"/>
                    <a:pt x="23" y="27"/>
                  </a:cubicBezTo>
                  <a:cubicBezTo>
                    <a:pt x="25" y="31"/>
                    <a:pt x="31" y="28"/>
                    <a:pt x="32" y="25"/>
                  </a:cubicBezTo>
                  <a:cubicBezTo>
                    <a:pt x="33" y="23"/>
                    <a:pt x="29" y="22"/>
                    <a:pt x="29" y="19"/>
                  </a:cubicBezTo>
                  <a:cubicBezTo>
                    <a:pt x="28" y="16"/>
                    <a:pt x="34" y="17"/>
                    <a:pt x="35" y="13"/>
                  </a:cubicBezTo>
                  <a:cubicBezTo>
                    <a:pt x="36" y="10"/>
                    <a:pt x="44" y="8"/>
                    <a:pt x="47" y="9"/>
                  </a:cubicBezTo>
                  <a:cubicBezTo>
                    <a:pt x="51" y="11"/>
                    <a:pt x="54" y="13"/>
                    <a:pt x="50" y="17"/>
                  </a:cubicBezTo>
                  <a:cubicBezTo>
                    <a:pt x="48" y="20"/>
                    <a:pt x="53" y="25"/>
                    <a:pt x="57" y="29"/>
                  </a:cubicBezTo>
                  <a:cubicBezTo>
                    <a:pt x="60" y="26"/>
                    <a:pt x="63" y="22"/>
                    <a:pt x="65" y="21"/>
                  </a:cubicBezTo>
                  <a:cubicBezTo>
                    <a:pt x="65" y="21"/>
                    <a:pt x="66" y="19"/>
                    <a:pt x="66" y="18"/>
                  </a:cubicBezTo>
                  <a:cubicBezTo>
                    <a:pt x="64" y="17"/>
                    <a:pt x="62" y="13"/>
                    <a:pt x="59" y="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252807" y="3847808"/>
              <a:ext cx="307046" cy="437826"/>
            </a:xfrm>
            <a:custGeom>
              <a:avLst/>
              <a:gdLst/>
              <a:ahLst/>
              <a:cxnLst>
                <a:cxn ang="0">
                  <a:pos x="21" y="140"/>
                </a:cxn>
                <a:cxn ang="0">
                  <a:pos x="30" y="140"/>
                </a:cxn>
                <a:cxn ang="0">
                  <a:pos x="38" y="146"/>
                </a:cxn>
                <a:cxn ang="0">
                  <a:pos x="38" y="147"/>
                </a:cxn>
                <a:cxn ang="0">
                  <a:pos x="48" y="147"/>
                </a:cxn>
                <a:cxn ang="0">
                  <a:pos x="55" y="156"/>
                </a:cxn>
                <a:cxn ang="0">
                  <a:pos x="62" y="163"/>
                </a:cxn>
                <a:cxn ang="0">
                  <a:pos x="66" y="170"/>
                </a:cxn>
                <a:cxn ang="0">
                  <a:pos x="79" y="172"/>
                </a:cxn>
                <a:cxn ang="0">
                  <a:pos x="86" y="171"/>
                </a:cxn>
                <a:cxn ang="0">
                  <a:pos x="93" y="170"/>
                </a:cxn>
                <a:cxn ang="0">
                  <a:pos x="101" y="177"/>
                </a:cxn>
                <a:cxn ang="0">
                  <a:pos x="95" y="187"/>
                </a:cxn>
                <a:cxn ang="0">
                  <a:pos x="102" y="192"/>
                </a:cxn>
                <a:cxn ang="0">
                  <a:pos x="103" y="192"/>
                </a:cxn>
                <a:cxn ang="0">
                  <a:pos x="107" y="177"/>
                </a:cxn>
                <a:cxn ang="0">
                  <a:pos x="109" y="161"/>
                </a:cxn>
                <a:cxn ang="0">
                  <a:pos x="102" y="143"/>
                </a:cxn>
                <a:cxn ang="0">
                  <a:pos x="110" y="137"/>
                </a:cxn>
                <a:cxn ang="0">
                  <a:pos x="108" y="132"/>
                </a:cxn>
                <a:cxn ang="0">
                  <a:pos x="105" y="126"/>
                </a:cxn>
                <a:cxn ang="0">
                  <a:pos x="122" y="125"/>
                </a:cxn>
                <a:cxn ang="0">
                  <a:pos x="134" y="121"/>
                </a:cxn>
                <a:cxn ang="0">
                  <a:pos x="132" y="115"/>
                </a:cxn>
                <a:cxn ang="0">
                  <a:pos x="133" y="106"/>
                </a:cxn>
                <a:cxn ang="0">
                  <a:pos x="128" y="98"/>
                </a:cxn>
                <a:cxn ang="0">
                  <a:pos x="131" y="77"/>
                </a:cxn>
                <a:cxn ang="0">
                  <a:pos x="118" y="74"/>
                </a:cxn>
                <a:cxn ang="0">
                  <a:pos x="102" y="67"/>
                </a:cxn>
                <a:cxn ang="0">
                  <a:pos x="83" y="65"/>
                </a:cxn>
                <a:cxn ang="0">
                  <a:pos x="75" y="50"/>
                </a:cxn>
                <a:cxn ang="0">
                  <a:pos x="70" y="43"/>
                </a:cxn>
                <a:cxn ang="0">
                  <a:pos x="65" y="40"/>
                </a:cxn>
                <a:cxn ang="0">
                  <a:pos x="67" y="35"/>
                </a:cxn>
                <a:cxn ang="0">
                  <a:pos x="69" y="27"/>
                </a:cxn>
                <a:cxn ang="0">
                  <a:pos x="78" y="14"/>
                </a:cxn>
                <a:cxn ang="0">
                  <a:pos x="82" y="12"/>
                </a:cxn>
                <a:cxn ang="0">
                  <a:pos x="85" y="10"/>
                </a:cxn>
                <a:cxn ang="0">
                  <a:pos x="87" y="3"/>
                </a:cxn>
                <a:cxn ang="0">
                  <a:pos x="75" y="9"/>
                </a:cxn>
                <a:cxn ang="0">
                  <a:pos x="65" y="14"/>
                </a:cxn>
                <a:cxn ang="0">
                  <a:pos x="55" y="18"/>
                </a:cxn>
                <a:cxn ang="0">
                  <a:pos x="49" y="17"/>
                </a:cxn>
                <a:cxn ang="0">
                  <a:pos x="39" y="27"/>
                </a:cxn>
                <a:cxn ang="0">
                  <a:pos x="35" y="37"/>
                </a:cxn>
                <a:cxn ang="0">
                  <a:pos x="24" y="50"/>
                </a:cxn>
                <a:cxn ang="0">
                  <a:pos x="21" y="51"/>
                </a:cxn>
                <a:cxn ang="0">
                  <a:pos x="20" y="54"/>
                </a:cxn>
                <a:cxn ang="0">
                  <a:pos x="12" y="62"/>
                </a:cxn>
                <a:cxn ang="0">
                  <a:pos x="16" y="65"/>
                </a:cxn>
                <a:cxn ang="0">
                  <a:pos x="18" y="74"/>
                </a:cxn>
                <a:cxn ang="0">
                  <a:pos x="18" y="80"/>
                </a:cxn>
                <a:cxn ang="0">
                  <a:pos x="20" y="98"/>
                </a:cxn>
                <a:cxn ang="0">
                  <a:pos x="17" y="108"/>
                </a:cxn>
                <a:cxn ang="0">
                  <a:pos x="8" y="115"/>
                </a:cxn>
                <a:cxn ang="0">
                  <a:pos x="2" y="122"/>
                </a:cxn>
                <a:cxn ang="0">
                  <a:pos x="0" y="127"/>
                </a:cxn>
                <a:cxn ang="0">
                  <a:pos x="14" y="135"/>
                </a:cxn>
                <a:cxn ang="0">
                  <a:pos x="21" y="140"/>
                </a:cxn>
              </a:cxnLst>
              <a:rect l="0" t="0" r="r" b="b"/>
              <a:pathLst>
                <a:path w="135" h="192">
                  <a:moveTo>
                    <a:pt x="21" y="140"/>
                  </a:moveTo>
                  <a:cubicBezTo>
                    <a:pt x="24" y="142"/>
                    <a:pt x="29" y="141"/>
                    <a:pt x="30" y="140"/>
                  </a:cubicBezTo>
                  <a:cubicBezTo>
                    <a:pt x="31" y="139"/>
                    <a:pt x="34" y="142"/>
                    <a:pt x="38" y="146"/>
                  </a:cubicBezTo>
                  <a:cubicBezTo>
                    <a:pt x="38" y="146"/>
                    <a:pt x="38" y="147"/>
                    <a:pt x="38" y="147"/>
                  </a:cubicBezTo>
                  <a:cubicBezTo>
                    <a:pt x="42" y="146"/>
                    <a:pt x="46" y="145"/>
                    <a:pt x="48" y="147"/>
                  </a:cubicBezTo>
                  <a:cubicBezTo>
                    <a:pt x="51" y="148"/>
                    <a:pt x="50" y="156"/>
                    <a:pt x="55" y="156"/>
                  </a:cubicBezTo>
                  <a:cubicBezTo>
                    <a:pt x="59" y="156"/>
                    <a:pt x="62" y="161"/>
                    <a:pt x="62" y="163"/>
                  </a:cubicBezTo>
                  <a:cubicBezTo>
                    <a:pt x="61" y="165"/>
                    <a:pt x="66" y="167"/>
                    <a:pt x="66" y="170"/>
                  </a:cubicBezTo>
                  <a:cubicBezTo>
                    <a:pt x="66" y="174"/>
                    <a:pt x="77" y="173"/>
                    <a:pt x="79" y="172"/>
                  </a:cubicBezTo>
                  <a:cubicBezTo>
                    <a:pt x="81" y="170"/>
                    <a:pt x="84" y="170"/>
                    <a:pt x="86" y="171"/>
                  </a:cubicBezTo>
                  <a:cubicBezTo>
                    <a:pt x="88" y="172"/>
                    <a:pt x="91" y="170"/>
                    <a:pt x="93" y="170"/>
                  </a:cubicBezTo>
                  <a:cubicBezTo>
                    <a:pt x="95" y="171"/>
                    <a:pt x="103" y="174"/>
                    <a:pt x="101" y="177"/>
                  </a:cubicBezTo>
                  <a:cubicBezTo>
                    <a:pt x="100" y="180"/>
                    <a:pt x="94" y="184"/>
                    <a:pt x="95" y="187"/>
                  </a:cubicBezTo>
                  <a:cubicBezTo>
                    <a:pt x="96" y="188"/>
                    <a:pt x="100" y="190"/>
                    <a:pt x="102" y="192"/>
                  </a:cubicBezTo>
                  <a:cubicBezTo>
                    <a:pt x="102" y="192"/>
                    <a:pt x="103" y="192"/>
                    <a:pt x="103" y="192"/>
                  </a:cubicBezTo>
                  <a:cubicBezTo>
                    <a:pt x="106" y="191"/>
                    <a:pt x="107" y="180"/>
                    <a:pt x="107" y="177"/>
                  </a:cubicBezTo>
                  <a:cubicBezTo>
                    <a:pt x="107" y="173"/>
                    <a:pt x="108" y="165"/>
                    <a:pt x="109" y="161"/>
                  </a:cubicBezTo>
                  <a:cubicBezTo>
                    <a:pt x="111" y="155"/>
                    <a:pt x="102" y="150"/>
                    <a:pt x="102" y="143"/>
                  </a:cubicBezTo>
                  <a:cubicBezTo>
                    <a:pt x="102" y="136"/>
                    <a:pt x="106" y="140"/>
                    <a:pt x="110" y="137"/>
                  </a:cubicBezTo>
                  <a:cubicBezTo>
                    <a:pt x="114" y="134"/>
                    <a:pt x="110" y="133"/>
                    <a:pt x="108" y="132"/>
                  </a:cubicBezTo>
                  <a:cubicBezTo>
                    <a:pt x="106" y="132"/>
                    <a:pt x="104" y="128"/>
                    <a:pt x="105" y="126"/>
                  </a:cubicBezTo>
                  <a:cubicBezTo>
                    <a:pt x="105" y="124"/>
                    <a:pt x="118" y="125"/>
                    <a:pt x="122" y="125"/>
                  </a:cubicBezTo>
                  <a:cubicBezTo>
                    <a:pt x="126" y="125"/>
                    <a:pt x="134" y="121"/>
                    <a:pt x="134" y="121"/>
                  </a:cubicBezTo>
                  <a:cubicBezTo>
                    <a:pt x="134" y="120"/>
                    <a:pt x="135" y="117"/>
                    <a:pt x="132" y="115"/>
                  </a:cubicBezTo>
                  <a:cubicBezTo>
                    <a:pt x="129" y="112"/>
                    <a:pt x="130" y="109"/>
                    <a:pt x="133" y="106"/>
                  </a:cubicBezTo>
                  <a:cubicBezTo>
                    <a:pt x="135" y="104"/>
                    <a:pt x="131" y="101"/>
                    <a:pt x="128" y="98"/>
                  </a:cubicBezTo>
                  <a:cubicBezTo>
                    <a:pt x="125" y="94"/>
                    <a:pt x="128" y="83"/>
                    <a:pt x="131" y="77"/>
                  </a:cubicBezTo>
                  <a:cubicBezTo>
                    <a:pt x="134" y="72"/>
                    <a:pt x="124" y="73"/>
                    <a:pt x="118" y="74"/>
                  </a:cubicBezTo>
                  <a:cubicBezTo>
                    <a:pt x="111" y="74"/>
                    <a:pt x="106" y="72"/>
                    <a:pt x="102" y="67"/>
                  </a:cubicBezTo>
                  <a:cubicBezTo>
                    <a:pt x="98" y="61"/>
                    <a:pt x="92" y="65"/>
                    <a:pt x="83" y="65"/>
                  </a:cubicBezTo>
                  <a:cubicBezTo>
                    <a:pt x="73" y="65"/>
                    <a:pt x="75" y="54"/>
                    <a:pt x="75" y="50"/>
                  </a:cubicBezTo>
                  <a:cubicBezTo>
                    <a:pt x="76" y="46"/>
                    <a:pt x="70" y="45"/>
                    <a:pt x="70" y="43"/>
                  </a:cubicBezTo>
                  <a:cubicBezTo>
                    <a:pt x="70" y="40"/>
                    <a:pt x="68" y="40"/>
                    <a:pt x="65" y="40"/>
                  </a:cubicBezTo>
                  <a:cubicBezTo>
                    <a:pt x="63" y="40"/>
                    <a:pt x="65" y="37"/>
                    <a:pt x="67" y="35"/>
                  </a:cubicBezTo>
                  <a:cubicBezTo>
                    <a:pt x="69" y="33"/>
                    <a:pt x="68" y="31"/>
                    <a:pt x="69" y="27"/>
                  </a:cubicBezTo>
                  <a:cubicBezTo>
                    <a:pt x="69" y="22"/>
                    <a:pt x="75" y="18"/>
                    <a:pt x="78" y="14"/>
                  </a:cubicBezTo>
                  <a:cubicBezTo>
                    <a:pt x="79" y="13"/>
                    <a:pt x="80" y="12"/>
                    <a:pt x="82" y="12"/>
                  </a:cubicBezTo>
                  <a:cubicBezTo>
                    <a:pt x="82" y="11"/>
                    <a:pt x="83" y="10"/>
                    <a:pt x="85" y="10"/>
                  </a:cubicBezTo>
                  <a:cubicBezTo>
                    <a:pt x="90" y="9"/>
                    <a:pt x="92" y="5"/>
                    <a:pt x="87" y="3"/>
                  </a:cubicBezTo>
                  <a:cubicBezTo>
                    <a:pt x="83" y="0"/>
                    <a:pt x="80" y="8"/>
                    <a:pt x="75" y="9"/>
                  </a:cubicBezTo>
                  <a:cubicBezTo>
                    <a:pt x="69" y="9"/>
                    <a:pt x="68" y="13"/>
                    <a:pt x="65" y="14"/>
                  </a:cubicBezTo>
                  <a:cubicBezTo>
                    <a:pt x="61" y="16"/>
                    <a:pt x="55" y="15"/>
                    <a:pt x="55" y="18"/>
                  </a:cubicBezTo>
                  <a:cubicBezTo>
                    <a:pt x="54" y="21"/>
                    <a:pt x="52" y="18"/>
                    <a:pt x="49" y="17"/>
                  </a:cubicBezTo>
                  <a:cubicBezTo>
                    <a:pt x="46" y="16"/>
                    <a:pt x="39" y="23"/>
                    <a:pt x="39" y="27"/>
                  </a:cubicBezTo>
                  <a:cubicBezTo>
                    <a:pt x="39" y="30"/>
                    <a:pt x="40" y="34"/>
                    <a:pt x="35" y="37"/>
                  </a:cubicBezTo>
                  <a:cubicBezTo>
                    <a:pt x="29" y="41"/>
                    <a:pt x="26" y="47"/>
                    <a:pt x="24" y="50"/>
                  </a:cubicBezTo>
                  <a:cubicBezTo>
                    <a:pt x="23" y="51"/>
                    <a:pt x="22" y="51"/>
                    <a:pt x="21" y="51"/>
                  </a:cubicBezTo>
                  <a:cubicBezTo>
                    <a:pt x="21" y="52"/>
                    <a:pt x="20" y="54"/>
                    <a:pt x="20" y="54"/>
                  </a:cubicBezTo>
                  <a:cubicBezTo>
                    <a:pt x="18" y="55"/>
                    <a:pt x="15" y="59"/>
                    <a:pt x="12" y="62"/>
                  </a:cubicBezTo>
                  <a:cubicBezTo>
                    <a:pt x="13" y="63"/>
                    <a:pt x="15" y="64"/>
                    <a:pt x="16" y="65"/>
                  </a:cubicBezTo>
                  <a:cubicBezTo>
                    <a:pt x="19" y="69"/>
                    <a:pt x="17" y="72"/>
                    <a:pt x="18" y="74"/>
                  </a:cubicBezTo>
                  <a:cubicBezTo>
                    <a:pt x="19" y="76"/>
                    <a:pt x="20" y="79"/>
                    <a:pt x="18" y="80"/>
                  </a:cubicBezTo>
                  <a:cubicBezTo>
                    <a:pt x="16" y="82"/>
                    <a:pt x="18" y="95"/>
                    <a:pt x="20" y="98"/>
                  </a:cubicBezTo>
                  <a:cubicBezTo>
                    <a:pt x="22" y="100"/>
                    <a:pt x="20" y="103"/>
                    <a:pt x="17" y="108"/>
                  </a:cubicBezTo>
                  <a:cubicBezTo>
                    <a:pt x="15" y="113"/>
                    <a:pt x="13" y="115"/>
                    <a:pt x="8" y="115"/>
                  </a:cubicBezTo>
                  <a:cubicBezTo>
                    <a:pt x="4" y="115"/>
                    <a:pt x="4" y="122"/>
                    <a:pt x="2" y="122"/>
                  </a:cubicBezTo>
                  <a:cubicBezTo>
                    <a:pt x="1" y="122"/>
                    <a:pt x="0" y="125"/>
                    <a:pt x="0" y="127"/>
                  </a:cubicBezTo>
                  <a:cubicBezTo>
                    <a:pt x="4" y="131"/>
                    <a:pt x="12" y="135"/>
                    <a:pt x="14" y="135"/>
                  </a:cubicBezTo>
                  <a:cubicBezTo>
                    <a:pt x="16" y="135"/>
                    <a:pt x="18" y="138"/>
                    <a:pt x="21" y="14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1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493515" y="4429679"/>
              <a:ext cx="318418" cy="358221"/>
            </a:xfrm>
            <a:custGeom>
              <a:avLst/>
              <a:gdLst/>
              <a:ahLst/>
              <a:cxnLst>
                <a:cxn ang="0">
                  <a:pos x="137" y="94"/>
                </a:cxn>
                <a:cxn ang="0">
                  <a:pos x="130" y="83"/>
                </a:cxn>
                <a:cxn ang="0">
                  <a:pos x="121" y="77"/>
                </a:cxn>
                <a:cxn ang="0">
                  <a:pos x="109" y="71"/>
                </a:cxn>
                <a:cxn ang="0">
                  <a:pos x="107" y="62"/>
                </a:cxn>
                <a:cxn ang="0">
                  <a:pos x="106" y="53"/>
                </a:cxn>
                <a:cxn ang="0">
                  <a:pos x="101" y="46"/>
                </a:cxn>
                <a:cxn ang="0">
                  <a:pos x="89" y="43"/>
                </a:cxn>
                <a:cxn ang="0">
                  <a:pos x="80" y="39"/>
                </a:cxn>
                <a:cxn ang="0">
                  <a:pos x="75" y="35"/>
                </a:cxn>
                <a:cxn ang="0">
                  <a:pos x="67" y="33"/>
                </a:cxn>
                <a:cxn ang="0">
                  <a:pos x="54" y="25"/>
                </a:cxn>
                <a:cxn ang="0">
                  <a:pos x="50" y="3"/>
                </a:cxn>
                <a:cxn ang="0">
                  <a:pos x="39" y="2"/>
                </a:cxn>
                <a:cxn ang="0">
                  <a:pos x="26" y="8"/>
                </a:cxn>
                <a:cxn ang="0">
                  <a:pos x="16" y="13"/>
                </a:cxn>
                <a:cxn ang="0">
                  <a:pos x="7" y="16"/>
                </a:cxn>
                <a:cxn ang="0">
                  <a:pos x="3" y="15"/>
                </a:cxn>
                <a:cxn ang="0">
                  <a:pos x="11" y="31"/>
                </a:cxn>
                <a:cxn ang="0">
                  <a:pos x="8" y="37"/>
                </a:cxn>
                <a:cxn ang="0">
                  <a:pos x="9" y="53"/>
                </a:cxn>
                <a:cxn ang="0">
                  <a:pos x="6" y="62"/>
                </a:cxn>
                <a:cxn ang="0">
                  <a:pos x="3" y="72"/>
                </a:cxn>
                <a:cxn ang="0">
                  <a:pos x="8" y="77"/>
                </a:cxn>
                <a:cxn ang="0">
                  <a:pos x="2" y="86"/>
                </a:cxn>
                <a:cxn ang="0">
                  <a:pos x="1" y="90"/>
                </a:cxn>
                <a:cxn ang="0">
                  <a:pos x="5" y="96"/>
                </a:cxn>
                <a:cxn ang="0">
                  <a:pos x="8" y="108"/>
                </a:cxn>
                <a:cxn ang="0">
                  <a:pos x="13" y="114"/>
                </a:cxn>
                <a:cxn ang="0">
                  <a:pos x="10" y="122"/>
                </a:cxn>
                <a:cxn ang="0">
                  <a:pos x="14" y="132"/>
                </a:cxn>
                <a:cxn ang="0">
                  <a:pos x="18" y="142"/>
                </a:cxn>
                <a:cxn ang="0">
                  <a:pos x="21" y="154"/>
                </a:cxn>
                <a:cxn ang="0">
                  <a:pos x="36" y="145"/>
                </a:cxn>
                <a:cxn ang="0">
                  <a:pos x="46" y="145"/>
                </a:cxn>
                <a:cxn ang="0">
                  <a:pos x="59" y="150"/>
                </a:cxn>
                <a:cxn ang="0">
                  <a:pos x="66" y="144"/>
                </a:cxn>
                <a:cxn ang="0">
                  <a:pos x="81" y="144"/>
                </a:cxn>
                <a:cxn ang="0">
                  <a:pos x="84" y="126"/>
                </a:cxn>
                <a:cxn ang="0">
                  <a:pos x="93" y="116"/>
                </a:cxn>
                <a:cxn ang="0">
                  <a:pos x="107" y="113"/>
                </a:cxn>
                <a:cxn ang="0">
                  <a:pos x="120" y="112"/>
                </a:cxn>
                <a:cxn ang="0">
                  <a:pos x="130" y="117"/>
                </a:cxn>
                <a:cxn ang="0">
                  <a:pos x="136" y="108"/>
                </a:cxn>
                <a:cxn ang="0">
                  <a:pos x="137" y="94"/>
                </a:cxn>
              </a:cxnLst>
              <a:rect l="0" t="0" r="r" b="b"/>
              <a:pathLst>
                <a:path w="139" h="157">
                  <a:moveTo>
                    <a:pt x="137" y="94"/>
                  </a:moveTo>
                  <a:cubicBezTo>
                    <a:pt x="135" y="89"/>
                    <a:pt x="130" y="88"/>
                    <a:pt x="130" y="83"/>
                  </a:cubicBezTo>
                  <a:cubicBezTo>
                    <a:pt x="130" y="77"/>
                    <a:pt x="128" y="77"/>
                    <a:pt x="121" y="77"/>
                  </a:cubicBezTo>
                  <a:cubicBezTo>
                    <a:pt x="114" y="77"/>
                    <a:pt x="109" y="76"/>
                    <a:pt x="109" y="71"/>
                  </a:cubicBezTo>
                  <a:cubicBezTo>
                    <a:pt x="108" y="67"/>
                    <a:pt x="104" y="64"/>
                    <a:pt x="107" y="62"/>
                  </a:cubicBezTo>
                  <a:cubicBezTo>
                    <a:pt x="111" y="60"/>
                    <a:pt x="105" y="57"/>
                    <a:pt x="106" y="53"/>
                  </a:cubicBezTo>
                  <a:cubicBezTo>
                    <a:pt x="106" y="49"/>
                    <a:pt x="104" y="48"/>
                    <a:pt x="101" y="46"/>
                  </a:cubicBezTo>
                  <a:cubicBezTo>
                    <a:pt x="99" y="44"/>
                    <a:pt x="89" y="47"/>
                    <a:pt x="89" y="43"/>
                  </a:cubicBezTo>
                  <a:cubicBezTo>
                    <a:pt x="89" y="39"/>
                    <a:pt x="83" y="39"/>
                    <a:pt x="80" y="39"/>
                  </a:cubicBezTo>
                  <a:cubicBezTo>
                    <a:pt x="76" y="39"/>
                    <a:pt x="79" y="34"/>
                    <a:pt x="75" y="35"/>
                  </a:cubicBezTo>
                  <a:cubicBezTo>
                    <a:pt x="71" y="35"/>
                    <a:pt x="72" y="32"/>
                    <a:pt x="67" y="33"/>
                  </a:cubicBezTo>
                  <a:cubicBezTo>
                    <a:pt x="62" y="34"/>
                    <a:pt x="59" y="31"/>
                    <a:pt x="54" y="25"/>
                  </a:cubicBezTo>
                  <a:cubicBezTo>
                    <a:pt x="48" y="19"/>
                    <a:pt x="49" y="6"/>
                    <a:pt x="50" y="3"/>
                  </a:cubicBezTo>
                  <a:cubicBezTo>
                    <a:pt x="51" y="0"/>
                    <a:pt x="44" y="2"/>
                    <a:pt x="39" y="2"/>
                  </a:cubicBezTo>
                  <a:cubicBezTo>
                    <a:pt x="35" y="2"/>
                    <a:pt x="31" y="6"/>
                    <a:pt x="26" y="8"/>
                  </a:cubicBezTo>
                  <a:cubicBezTo>
                    <a:pt x="21" y="11"/>
                    <a:pt x="19" y="11"/>
                    <a:pt x="16" y="13"/>
                  </a:cubicBezTo>
                  <a:cubicBezTo>
                    <a:pt x="14" y="16"/>
                    <a:pt x="10" y="17"/>
                    <a:pt x="7" y="16"/>
                  </a:cubicBezTo>
                  <a:cubicBezTo>
                    <a:pt x="6" y="15"/>
                    <a:pt x="4" y="15"/>
                    <a:pt x="3" y="15"/>
                  </a:cubicBezTo>
                  <a:cubicBezTo>
                    <a:pt x="5" y="20"/>
                    <a:pt x="10" y="28"/>
                    <a:pt x="11" y="31"/>
                  </a:cubicBezTo>
                  <a:cubicBezTo>
                    <a:pt x="12" y="34"/>
                    <a:pt x="9" y="35"/>
                    <a:pt x="8" y="37"/>
                  </a:cubicBezTo>
                  <a:cubicBezTo>
                    <a:pt x="6" y="38"/>
                    <a:pt x="8" y="50"/>
                    <a:pt x="9" y="53"/>
                  </a:cubicBezTo>
                  <a:cubicBezTo>
                    <a:pt x="9" y="55"/>
                    <a:pt x="4" y="60"/>
                    <a:pt x="6" y="62"/>
                  </a:cubicBezTo>
                  <a:cubicBezTo>
                    <a:pt x="8" y="64"/>
                    <a:pt x="3" y="69"/>
                    <a:pt x="3" y="72"/>
                  </a:cubicBezTo>
                  <a:cubicBezTo>
                    <a:pt x="3" y="75"/>
                    <a:pt x="8" y="75"/>
                    <a:pt x="8" y="77"/>
                  </a:cubicBezTo>
                  <a:cubicBezTo>
                    <a:pt x="8" y="79"/>
                    <a:pt x="4" y="85"/>
                    <a:pt x="2" y="86"/>
                  </a:cubicBezTo>
                  <a:cubicBezTo>
                    <a:pt x="0" y="87"/>
                    <a:pt x="0" y="88"/>
                    <a:pt x="1" y="90"/>
                  </a:cubicBezTo>
                  <a:cubicBezTo>
                    <a:pt x="1" y="90"/>
                    <a:pt x="2" y="93"/>
                    <a:pt x="5" y="96"/>
                  </a:cubicBezTo>
                  <a:cubicBezTo>
                    <a:pt x="9" y="99"/>
                    <a:pt x="5" y="104"/>
                    <a:pt x="8" y="108"/>
                  </a:cubicBezTo>
                  <a:cubicBezTo>
                    <a:pt x="11" y="112"/>
                    <a:pt x="15" y="112"/>
                    <a:pt x="13" y="114"/>
                  </a:cubicBezTo>
                  <a:cubicBezTo>
                    <a:pt x="10" y="116"/>
                    <a:pt x="13" y="120"/>
                    <a:pt x="10" y="122"/>
                  </a:cubicBezTo>
                  <a:cubicBezTo>
                    <a:pt x="8" y="124"/>
                    <a:pt x="11" y="130"/>
                    <a:pt x="14" y="132"/>
                  </a:cubicBezTo>
                  <a:cubicBezTo>
                    <a:pt x="17" y="133"/>
                    <a:pt x="15" y="139"/>
                    <a:pt x="18" y="142"/>
                  </a:cubicBezTo>
                  <a:cubicBezTo>
                    <a:pt x="21" y="145"/>
                    <a:pt x="20" y="152"/>
                    <a:pt x="21" y="154"/>
                  </a:cubicBezTo>
                  <a:cubicBezTo>
                    <a:pt x="22" y="157"/>
                    <a:pt x="31" y="151"/>
                    <a:pt x="36" y="145"/>
                  </a:cubicBezTo>
                  <a:cubicBezTo>
                    <a:pt x="42" y="140"/>
                    <a:pt x="41" y="144"/>
                    <a:pt x="46" y="145"/>
                  </a:cubicBezTo>
                  <a:cubicBezTo>
                    <a:pt x="51" y="146"/>
                    <a:pt x="57" y="146"/>
                    <a:pt x="59" y="150"/>
                  </a:cubicBezTo>
                  <a:cubicBezTo>
                    <a:pt x="62" y="155"/>
                    <a:pt x="64" y="146"/>
                    <a:pt x="66" y="144"/>
                  </a:cubicBezTo>
                  <a:cubicBezTo>
                    <a:pt x="68" y="142"/>
                    <a:pt x="79" y="144"/>
                    <a:pt x="81" y="144"/>
                  </a:cubicBezTo>
                  <a:cubicBezTo>
                    <a:pt x="83" y="143"/>
                    <a:pt x="85" y="129"/>
                    <a:pt x="84" y="126"/>
                  </a:cubicBezTo>
                  <a:cubicBezTo>
                    <a:pt x="84" y="124"/>
                    <a:pt x="89" y="118"/>
                    <a:pt x="93" y="116"/>
                  </a:cubicBezTo>
                  <a:cubicBezTo>
                    <a:pt x="97" y="113"/>
                    <a:pt x="103" y="115"/>
                    <a:pt x="107" y="113"/>
                  </a:cubicBezTo>
                  <a:cubicBezTo>
                    <a:pt x="110" y="112"/>
                    <a:pt x="115" y="112"/>
                    <a:pt x="120" y="112"/>
                  </a:cubicBezTo>
                  <a:cubicBezTo>
                    <a:pt x="124" y="112"/>
                    <a:pt x="128" y="117"/>
                    <a:pt x="130" y="117"/>
                  </a:cubicBezTo>
                  <a:cubicBezTo>
                    <a:pt x="133" y="117"/>
                    <a:pt x="136" y="112"/>
                    <a:pt x="136" y="108"/>
                  </a:cubicBezTo>
                  <a:cubicBezTo>
                    <a:pt x="135" y="104"/>
                    <a:pt x="139" y="99"/>
                    <a:pt x="137" y="9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188365" y="4177598"/>
              <a:ext cx="333581" cy="483314"/>
            </a:xfrm>
            <a:custGeom>
              <a:avLst/>
              <a:gdLst/>
              <a:ahLst/>
              <a:cxnLst>
                <a:cxn ang="0">
                  <a:pos x="134" y="201"/>
                </a:cxn>
                <a:cxn ang="0">
                  <a:pos x="135" y="200"/>
                </a:cxn>
                <a:cxn ang="0">
                  <a:pos x="136" y="196"/>
                </a:cxn>
                <a:cxn ang="0">
                  <a:pos x="142" y="187"/>
                </a:cxn>
                <a:cxn ang="0">
                  <a:pos x="137" y="182"/>
                </a:cxn>
                <a:cxn ang="0">
                  <a:pos x="140" y="172"/>
                </a:cxn>
                <a:cxn ang="0">
                  <a:pos x="143" y="163"/>
                </a:cxn>
                <a:cxn ang="0">
                  <a:pos x="142" y="147"/>
                </a:cxn>
                <a:cxn ang="0">
                  <a:pos x="145" y="141"/>
                </a:cxn>
                <a:cxn ang="0">
                  <a:pos x="137" y="125"/>
                </a:cxn>
                <a:cxn ang="0">
                  <a:pos x="126" y="125"/>
                </a:cxn>
                <a:cxn ang="0">
                  <a:pos x="123" y="111"/>
                </a:cxn>
                <a:cxn ang="0">
                  <a:pos x="118" y="112"/>
                </a:cxn>
                <a:cxn ang="0">
                  <a:pos x="106" y="113"/>
                </a:cxn>
                <a:cxn ang="0">
                  <a:pos x="100" y="107"/>
                </a:cxn>
                <a:cxn ang="0">
                  <a:pos x="95" y="103"/>
                </a:cxn>
                <a:cxn ang="0">
                  <a:pos x="90" y="93"/>
                </a:cxn>
                <a:cxn ang="0">
                  <a:pos x="87" y="83"/>
                </a:cxn>
                <a:cxn ang="0">
                  <a:pos x="89" y="76"/>
                </a:cxn>
                <a:cxn ang="0">
                  <a:pos x="94" y="70"/>
                </a:cxn>
                <a:cxn ang="0">
                  <a:pos x="97" y="59"/>
                </a:cxn>
                <a:cxn ang="0">
                  <a:pos x="107" y="53"/>
                </a:cxn>
                <a:cxn ang="0">
                  <a:pos x="121" y="48"/>
                </a:cxn>
                <a:cxn ang="0">
                  <a:pos x="130" y="47"/>
                </a:cxn>
                <a:cxn ang="0">
                  <a:pos x="123" y="42"/>
                </a:cxn>
                <a:cxn ang="0">
                  <a:pos x="129" y="32"/>
                </a:cxn>
                <a:cxn ang="0">
                  <a:pos x="121" y="25"/>
                </a:cxn>
                <a:cxn ang="0">
                  <a:pos x="114" y="26"/>
                </a:cxn>
                <a:cxn ang="0">
                  <a:pos x="107" y="27"/>
                </a:cxn>
                <a:cxn ang="0">
                  <a:pos x="94" y="25"/>
                </a:cxn>
                <a:cxn ang="0">
                  <a:pos x="90" y="18"/>
                </a:cxn>
                <a:cxn ang="0">
                  <a:pos x="83" y="11"/>
                </a:cxn>
                <a:cxn ang="0">
                  <a:pos x="76" y="2"/>
                </a:cxn>
                <a:cxn ang="0">
                  <a:pos x="66" y="2"/>
                </a:cxn>
                <a:cxn ang="0">
                  <a:pos x="69" y="10"/>
                </a:cxn>
                <a:cxn ang="0">
                  <a:pos x="63" y="21"/>
                </a:cxn>
                <a:cxn ang="0">
                  <a:pos x="40" y="33"/>
                </a:cxn>
                <a:cxn ang="0">
                  <a:pos x="30" y="51"/>
                </a:cxn>
                <a:cxn ang="0">
                  <a:pos x="22" y="52"/>
                </a:cxn>
                <a:cxn ang="0">
                  <a:pos x="14" y="49"/>
                </a:cxn>
                <a:cxn ang="0">
                  <a:pos x="14" y="44"/>
                </a:cxn>
                <a:cxn ang="0">
                  <a:pos x="11" y="38"/>
                </a:cxn>
                <a:cxn ang="0">
                  <a:pos x="2" y="48"/>
                </a:cxn>
                <a:cxn ang="0">
                  <a:pos x="6" y="63"/>
                </a:cxn>
                <a:cxn ang="0">
                  <a:pos x="3" y="66"/>
                </a:cxn>
                <a:cxn ang="0">
                  <a:pos x="15" y="76"/>
                </a:cxn>
                <a:cxn ang="0">
                  <a:pos x="26" y="92"/>
                </a:cxn>
                <a:cxn ang="0">
                  <a:pos x="34" y="109"/>
                </a:cxn>
                <a:cxn ang="0">
                  <a:pos x="52" y="142"/>
                </a:cxn>
                <a:cxn ang="0">
                  <a:pos x="59" y="157"/>
                </a:cxn>
                <a:cxn ang="0">
                  <a:pos x="63" y="167"/>
                </a:cxn>
                <a:cxn ang="0">
                  <a:pos x="81" y="179"/>
                </a:cxn>
                <a:cxn ang="0">
                  <a:pos x="113" y="199"/>
                </a:cxn>
                <a:cxn ang="0">
                  <a:pos x="127" y="210"/>
                </a:cxn>
                <a:cxn ang="0">
                  <a:pos x="127" y="212"/>
                </a:cxn>
                <a:cxn ang="0">
                  <a:pos x="130" y="210"/>
                </a:cxn>
                <a:cxn ang="0">
                  <a:pos x="134" y="201"/>
                </a:cxn>
              </a:cxnLst>
              <a:rect l="0" t="0" r="r" b="b"/>
              <a:pathLst>
                <a:path w="146" h="212">
                  <a:moveTo>
                    <a:pt x="134" y="201"/>
                  </a:moveTo>
                  <a:cubicBezTo>
                    <a:pt x="134" y="201"/>
                    <a:pt x="135" y="201"/>
                    <a:pt x="135" y="200"/>
                  </a:cubicBezTo>
                  <a:cubicBezTo>
                    <a:pt x="134" y="198"/>
                    <a:pt x="134" y="197"/>
                    <a:pt x="136" y="196"/>
                  </a:cubicBezTo>
                  <a:cubicBezTo>
                    <a:pt x="138" y="195"/>
                    <a:pt x="142" y="189"/>
                    <a:pt x="142" y="187"/>
                  </a:cubicBezTo>
                  <a:cubicBezTo>
                    <a:pt x="142" y="185"/>
                    <a:pt x="137" y="185"/>
                    <a:pt x="137" y="182"/>
                  </a:cubicBezTo>
                  <a:cubicBezTo>
                    <a:pt x="137" y="179"/>
                    <a:pt x="142" y="174"/>
                    <a:pt x="140" y="172"/>
                  </a:cubicBezTo>
                  <a:cubicBezTo>
                    <a:pt x="138" y="170"/>
                    <a:pt x="143" y="165"/>
                    <a:pt x="143" y="163"/>
                  </a:cubicBezTo>
                  <a:cubicBezTo>
                    <a:pt x="142" y="160"/>
                    <a:pt x="140" y="148"/>
                    <a:pt x="142" y="147"/>
                  </a:cubicBezTo>
                  <a:cubicBezTo>
                    <a:pt x="143" y="145"/>
                    <a:pt x="146" y="144"/>
                    <a:pt x="145" y="141"/>
                  </a:cubicBezTo>
                  <a:cubicBezTo>
                    <a:pt x="144" y="138"/>
                    <a:pt x="139" y="130"/>
                    <a:pt x="137" y="125"/>
                  </a:cubicBezTo>
                  <a:cubicBezTo>
                    <a:pt x="133" y="124"/>
                    <a:pt x="129" y="124"/>
                    <a:pt x="126" y="125"/>
                  </a:cubicBezTo>
                  <a:cubicBezTo>
                    <a:pt x="122" y="127"/>
                    <a:pt x="123" y="115"/>
                    <a:pt x="123" y="111"/>
                  </a:cubicBezTo>
                  <a:cubicBezTo>
                    <a:pt x="123" y="106"/>
                    <a:pt x="120" y="109"/>
                    <a:pt x="118" y="112"/>
                  </a:cubicBezTo>
                  <a:cubicBezTo>
                    <a:pt x="117" y="115"/>
                    <a:pt x="112" y="113"/>
                    <a:pt x="106" y="113"/>
                  </a:cubicBezTo>
                  <a:cubicBezTo>
                    <a:pt x="101" y="113"/>
                    <a:pt x="104" y="107"/>
                    <a:pt x="100" y="107"/>
                  </a:cubicBezTo>
                  <a:cubicBezTo>
                    <a:pt x="97" y="107"/>
                    <a:pt x="94" y="106"/>
                    <a:pt x="95" y="103"/>
                  </a:cubicBezTo>
                  <a:cubicBezTo>
                    <a:pt x="95" y="99"/>
                    <a:pt x="92" y="97"/>
                    <a:pt x="90" y="93"/>
                  </a:cubicBezTo>
                  <a:cubicBezTo>
                    <a:pt x="88" y="89"/>
                    <a:pt x="85" y="86"/>
                    <a:pt x="87" y="83"/>
                  </a:cubicBezTo>
                  <a:cubicBezTo>
                    <a:pt x="89" y="81"/>
                    <a:pt x="86" y="79"/>
                    <a:pt x="89" y="76"/>
                  </a:cubicBezTo>
                  <a:cubicBezTo>
                    <a:pt x="92" y="73"/>
                    <a:pt x="95" y="74"/>
                    <a:pt x="94" y="70"/>
                  </a:cubicBezTo>
                  <a:cubicBezTo>
                    <a:pt x="93" y="66"/>
                    <a:pt x="97" y="64"/>
                    <a:pt x="97" y="59"/>
                  </a:cubicBezTo>
                  <a:cubicBezTo>
                    <a:pt x="98" y="55"/>
                    <a:pt x="103" y="56"/>
                    <a:pt x="107" y="53"/>
                  </a:cubicBezTo>
                  <a:cubicBezTo>
                    <a:pt x="112" y="49"/>
                    <a:pt x="117" y="51"/>
                    <a:pt x="121" y="48"/>
                  </a:cubicBezTo>
                  <a:cubicBezTo>
                    <a:pt x="125" y="44"/>
                    <a:pt x="127" y="47"/>
                    <a:pt x="130" y="47"/>
                  </a:cubicBezTo>
                  <a:cubicBezTo>
                    <a:pt x="128" y="45"/>
                    <a:pt x="124" y="43"/>
                    <a:pt x="123" y="42"/>
                  </a:cubicBezTo>
                  <a:cubicBezTo>
                    <a:pt x="122" y="39"/>
                    <a:pt x="128" y="35"/>
                    <a:pt x="129" y="32"/>
                  </a:cubicBezTo>
                  <a:cubicBezTo>
                    <a:pt x="131" y="29"/>
                    <a:pt x="123" y="26"/>
                    <a:pt x="121" y="25"/>
                  </a:cubicBezTo>
                  <a:cubicBezTo>
                    <a:pt x="119" y="25"/>
                    <a:pt x="116" y="27"/>
                    <a:pt x="114" y="26"/>
                  </a:cubicBezTo>
                  <a:cubicBezTo>
                    <a:pt x="112" y="25"/>
                    <a:pt x="109" y="25"/>
                    <a:pt x="107" y="27"/>
                  </a:cubicBezTo>
                  <a:cubicBezTo>
                    <a:pt x="105" y="28"/>
                    <a:pt x="94" y="29"/>
                    <a:pt x="94" y="25"/>
                  </a:cubicBezTo>
                  <a:cubicBezTo>
                    <a:pt x="94" y="22"/>
                    <a:pt x="89" y="20"/>
                    <a:pt x="90" y="18"/>
                  </a:cubicBezTo>
                  <a:cubicBezTo>
                    <a:pt x="90" y="16"/>
                    <a:pt x="87" y="11"/>
                    <a:pt x="83" y="11"/>
                  </a:cubicBezTo>
                  <a:cubicBezTo>
                    <a:pt x="78" y="11"/>
                    <a:pt x="79" y="3"/>
                    <a:pt x="76" y="2"/>
                  </a:cubicBezTo>
                  <a:cubicBezTo>
                    <a:pt x="74" y="0"/>
                    <a:pt x="70" y="1"/>
                    <a:pt x="66" y="2"/>
                  </a:cubicBezTo>
                  <a:cubicBezTo>
                    <a:pt x="70" y="6"/>
                    <a:pt x="71" y="8"/>
                    <a:pt x="69" y="10"/>
                  </a:cubicBezTo>
                  <a:cubicBezTo>
                    <a:pt x="66" y="12"/>
                    <a:pt x="69" y="13"/>
                    <a:pt x="63" y="21"/>
                  </a:cubicBezTo>
                  <a:cubicBezTo>
                    <a:pt x="56" y="30"/>
                    <a:pt x="46" y="32"/>
                    <a:pt x="40" y="33"/>
                  </a:cubicBezTo>
                  <a:cubicBezTo>
                    <a:pt x="35" y="35"/>
                    <a:pt x="33" y="45"/>
                    <a:pt x="30" y="51"/>
                  </a:cubicBezTo>
                  <a:cubicBezTo>
                    <a:pt x="27" y="58"/>
                    <a:pt x="25" y="56"/>
                    <a:pt x="22" y="52"/>
                  </a:cubicBezTo>
                  <a:cubicBezTo>
                    <a:pt x="19" y="48"/>
                    <a:pt x="17" y="53"/>
                    <a:pt x="14" y="49"/>
                  </a:cubicBezTo>
                  <a:cubicBezTo>
                    <a:pt x="10" y="46"/>
                    <a:pt x="12" y="46"/>
                    <a:pt x="14" y="44"/>
                  </a:cubicBezTo>
                  <a:cubicBezTo>
                    <a:pt x="15" y="42"/>
                    <a:pt x="14" y="40"/>
                    <a:pt x="11" y="38"/>
                  </a:cubicBezTo>
                  <a:cubicBezTo>
                    <a:pt x="8" y="39"/>
                    <a:pt x="4" y="44"/>
                    <a:pt x="2" y="48"/>
                  </a:cubicBezTo>
                  <a:cubicBezTo>
                    <a:pt x="0" y="52"/>
                    <a:pt x="6" y="60"/>
                    <a:pt x="6" y="63"/>
                  </a:cubicBezTo>
                  <a:cubicBezTo>
                    <a:pt x="7" y="66"/>
                    <a:pt x="3" y="64"/>
                    <a:pt x="3" y="66"/>
                  </a:cubicBezTo>
                  <a:cubicBezTo>
                    <a:pt x="2" y="69"/>
                    <a:pt x="11" y="73"/>
                    <a:pt x="15" y="76"/>
                  </a:cubicBezTo>
                  <a:cubicBezTo>
                    <a:pt x="19" y="79"/>
                    <a:pt x="23" y="88"/>
                    <a:pt x="26" y="92"/>
                  </a:cubicBezTo>
                  <a:cubicBezTo>
                    <a:pt x="30" y="96"/>
                    <a:pt x="30" y="99"/>
                    <a:pt x="34" y="109"/>
                  </a:cubicBezTo>
                  <a:cubicBezTo>
                    <a:pt x="38" y="119"/>
                    <a:pt x="46" y="135"/>
                    <a:pt x="52" y="142"/>
                  </a:cubicBezTo>
                  <a:cubicBezTo>
                    <a:pt x="57" y="149"/>
                    <a:pt x="60" y="155"/>
                    <a:pt x="59" y="157"/>
                  </a:cubicBezTo>
                  <a:cubicBezTo>
                    <a:pt x="57" y="159"/>
                    <a:pt x="59" y="164"/>
                    <a:pt x="63" y="167"/>
                  </a:cubicBezTo>
                  <a:cubicBezTo>
                    <a:pt x="67" y="170"/>
                    <a:pt x="70" y="174"/>
                    <a:pt x="81" y="179"/>
                  </a:cubicBezTo>
                  <a:cubicBezTo>
                    <a:pt x="91" y="185"/>
                    <a:pt x="110" y="195"/>
                    <a:pt x="113" y="199"/>
                  </a:cubicBezTo>
                  <a:cubicBezTo>
                    <a:pt x="116" y="204"/>
                    <a:pt x="125" y="209"/>
                    <a:pt x="127" y="210"/>
                  </a:cubicBezTo>
                  <a:cubicBezTo>
                    <a:pt x="127" y="210"/>
                    <a:pt x="127" y="211"/>
                    <a:pt x="127" y="212"/>
                  </a:cubicBezTo>
                  <a:cubicBezTo>
                    <a:pt x="128" y="211"/>
                    <a:pt x="129" y="210"/>
                    <a:pt x="130" y="210"/>
                  </a:cubicBezTo>
                  <a:cubicBezTo>
                    <a:pt x="133" y="208"/>
                    <a:pt x="133" y="203"/>
                    <a:pt x="134" y="20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396853" y="3861075"/>
              <a:ext cx="354430" cy="299465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6" y="21"/>
                </a:cxn>
                <a:cxn ang="0">
                  <a:pos x="4" y="29"/>
                </a:cxn>
                <a:cxn ang="0">
                  <a:pos x="2" y="34"/>
                </a:cxn>
                <a:cxn ang="0">
                  <a:pos x="7" y="37"/>
                </a:cxn>
                <a:cxn ang="0">
                  <a:pos x="12" y="44"/>
                </a:cxn>
                <a:cxn ang="0">
                  <a:pos x="20" y="59"/>
                </a:cxn>
                <a:cxn ang="0">
                  <a:pos x="39" y="61"/>
                </a:cxn>
                <a:cxn ang="0">
                  <a:pos x="55" y="68"/>
                </a:cxn>
                <a:cxn ang="0">
                  <a:pos x="68" y="71"/>
                </a:cxn>
                <a:cxn ang="0">
                  <a:pos x="65" y="92"/>
                </a:cxn>
                <a:cxn ang="0">
                  <a:pos x="70" y="100"/>
                </a:cxn>
                <a:cxn ang="0">
                  <a:pos x="69" y="109"/>
                </a:cxn>
                <a:cxn ang="0">
                  <a:pos x="71" y="115"/>
                </a:cxn>
                <a:cxn ang="0">
                  <a:pos x="70" y="115"/>
                </a:cxn>
                <a:cxn ang="0">
                  <a:pos x="78" y="127"/>
                </a:cxn>
                <a:cxn ang="0">
                  <a:pos x="85" y="130"/>
                </a:cxn>
                <a:cxn ang="0">
                  <a:pos x="91" y="129"/>
                </a:cxn>
                <a:cxn ang="0">
                  <a:pos x="99" y="124"/>
                </a:cxn>
                <a:cxn ang="0">
                  <a:pos x="106" y="121"/>
                </a:cxn>
                <a:cxn ang="0">
                  <a:pos x="113" y="115"/>
                </a:cxn>
                <a:cxn ang="0">
                  <a:pos x="114" y="110"/>
                </a:cxn>
                <a:cxn ang="0">
                  <a:pos x="108" y="109"/>
                </a:cxn>
                <a:cxn ang="0">
                  <a:pos x="105" y="101"/>
                </a:cxn>
                <a:cxn ang="0">
                  <a:pos x="101" y="93"/>
                </a:cxn>
                <a:cxn ang="0">
                  <a:pos x="108" y="92"/>
                </a:cxn>
                <a:cxn ang="0">
                  <a:pos x="118" y="95"/>
                </a:cxn>
                <a:cxn ang="0">
                  <a:pos x="123" y="95"/>
                </a:cxn>
                <a:cxn ang="0">
                  <a:pos x="130" y="91"/>
                </a:cxn>
                <a:cxn ang="0">
                  <a:pos x="144" y="86"/>
                </a:cxn>
                <a:cxn ang="0">
                  <a:pos x="147" y="82"/>
                </a:cxn>
                <a:cxn ang="0">
                  <a:pos x="140" y="72"/>
                </a:cxn>
                <a:cxn ang="0">
                  <a:pos x="141" y="66"/>
                </a:cxn>
                <a:cxn ang="0">
                  <a:pos x="146" y="61"/>
                </a:cxn>
                <a:cxn ang="0">
                  <a:pos x="148" y="55"/>
                </a:cxn>
                <a:cxn ang="0">
                  <a:pos x="152" y="47"/>
                </a:cxn>
                <a:cxn ang="0">
                  <a:pos x="156" y="42"/>
                </a:cxn>
                <a:cxn ang="0">
                  <a:pos x="140" y="40"/>
                </a:cxn>
                <a:cxn ang="0">
                  <a:pos x="143" y="31"/>
                </a:cxn>
                <a:cxn ang="0">
                  <a:pos x="126" y="25"/>
                </a:cxn>
                <a:cxn ang="0">
                  <a:pos x="128" y="19"/>
                </a:cxn>
                <a:cxn ang="0">
                  <a:pos x="118" y="16"/>
                </a:cxn>
                <a:cxn ang="0">
                  <a:pos x="96" y="24"/>
                </a:cxn>
                <a:cxn ang="0">
                  <a:pos x="75" y="17"/>
                </a:cxn>
                <a:cxn ang="0">
                  <a:pos x="60" y="15"/>
                </a:cxn>
                <a:cxn ang="0">
                  <a:pos x="52" y="6"/>
                </a:cxn>
                <a:cxn ang="0">
                  <a:pos x="42" y="0"/>
                </a:cxn>
                <a:cxn ang="0">
                  <a:pos x="39" y="7"/>
                </a:cxn>
                <a:cxn ang="0">
                  <a:pos x="24" y="16"/>
                </a:cxn>
                <a:cxn ang="0">
                  <a:pos x="27" y="32"/>
                </a:cxn>
                <a:cxn ang="0">
                  <a:pos x="15" y="28"/>
                </a:cxn>
                <a:cxn ang="0">
                  <a:pos x="20" y="14"/>
                </a:cxn>
                <a:cxn ang="0">
                  <a:pos x="19" y="6"/>
                </a:cxn>
                <a:cxn ang="0">
                  <a:pos x="15" y="8"/>
                </a:cxn>
              </a:cxnLst>
              <a:rect l="0" t="0" r="r" b="b"/>
              <a:pathLst>
                <a:path w="156" h="131">
                  <a:moveTo>
                    <a:pt x="15" y="8"/>
                  </a:moveTo>
                  <a:cubicBezTo>
                    <a:pt x="12" y="12"/>
                    <a:pt x="6" y="16"/>
                    <a:pt x="6" y="21"/>
                  </a:cubicBezTo>
                  <a:cubicBezTo>
                    <a:pt x="5" y="25"/>
                    <a:pt x="6" y="27"/>
                    <a:pt x="4" y="29"/>
                  </a:cubicBezTo>
                  <a:cubicBezTo>
                    <a:pt x="2" y="31"/>
                    <a:pt x="0" y="34"/>
                    <a:pt x="2" y="34"/>
                  </a:cubicBezTo>
                  <a:cubicBezTo>
                    <a:pt x="5" y="34"/>
                    <a:pt x="7" y="34"/>
                    <a:pt x="7" y="37"/>
                  </a:cubicBezTo>
                  <a:cubicBezTo>
                    <a:pt x="7" y="39"/>
                    <a:pt x="13" y="40"/>
                    <a:pt x="12" y="44"/>
                  </a:cubicBezTo>
                  <a:cubicBezTo>
                    <a:pt x="12" y="48"/>
                    <a:pt x="10" y="59"/>
                    <a:pt x="20" y="59"/>
                  </a:cubicBezTo>
                  <a:cubicBezTo>
                    <a:pt x="29" y="59"/>
                    <a:pt x="35" y="55"/>
                    <a:pt x="39" y="61"/>
                  </a:cubicBezTo>
                  <a:cubicBezTo>
                    <a:pt x="43" y="66"/>
                    <a:pt x="48" y="68"/>
                    <a:pt x="55" y="68"/>
                  </a:cubicBezTo>
                  <a:cubicBezTo>
                    <a:pt x="61" y="67"/>
                    <a:pt x="71" y="66"/>
                    <a:pt x="68" y="71"/>
                  </a:cubicBezTo>
                  <a:cubicBezTo>
                    <a:pt x="65" y="77"/>
                    <a:pt x="62" y="88"/>
                    <a:pt x="65" y="92"/>
                  </a:cubicBezTo>
                  <a:cubicBezTo>
                    <a:pt x="68" y="95"/>
                    <a:pt x="72" y="98"/>
                    <a:pt x="70" y="100"/>
                  </a:cubicBezTo>
                  <a:cubicBezTo>
                    <a:pt x="67" y="103"/>
                    <a:pt x="66" y="106"/>
                    <a:pt x="69" y="109"/>
                  </a:cubicBezTo>
                  <a:cubicBezTo>
                    <a:pt x="72" y="111"/>
                    <a:pt x="71" y="114"/>
                    <a:pt x="71" y="115"/>
                  </a:cubicBezTo>
                  <a:cubicBezTo>
                    <a:pt x="71" y="115"/>
                    <a:pt x="71" y="115"/>
                    <a:pt x="70" y="115"/>
                  </a:cubicBezTo>
                  <a:cubicBezTo>
                    <a:pt x="74" y="120"/>
                    <a:pt x="76" y="125"/>
                    <a:pt x="78" y="127"/>
                  </a:cubicBezTo>
                  <a:cubicBezTo>
                    <a:pt x="82" y="130"/>
                    <a:pt x="83" y="131"/>
                    <a:pt x="85" y="130"/>
                  </a:cubicBezTo>
                  <a:cubicBezTo>
                    <a:pt x="87" y="128"/>
                    <a:pt x="89" y="127"/>
                    <a:pt x="91" y="129"/>
                  </a:cubicBezTo>
                  <a:cubicBezTo>
                    <a:pt x="93" y="130"/>
                    <a:pt x="96" y="127"/>
                    <a:pt x="99" y="124"/>
                  </a:cubicBezTo>
                  <a:cubicBezTo>
                    <a:pt x="102" y="122"/>
                    <a:pt x="105" y="124"/>
                    <a:pt x="106" y="121"/>
                  </a:cubicBezTo>
                  <a:cubicBezTo>
                    <a:pt x="107" y="117"/>
                    <a:pt x="109" y="115"/>
                    <a:pt x="113" y="115"/>
                  </a:cubicBezTo>
                  <a:cubicBezTo>
                    <a:pt x="117" y="114"/>
                    <a:pt x="117" y="110"/>
                    <a:pt x="114" y="110"/>
                  </a:cubicBezTo>
                  <a:cubicBezTo>
                    <a:pt x="112" y="110"/>
                    <a:pt x="108" y="113"/>
                    <a:pt x="108" y="109"/>
                  </a:cubicBezTo>
                  <a:cubicBezTo>
                    <a:pt x="108" y="104"/>
                    <a:pt x="105" y="105"/>
                    <a:pt x="105" y="101"/>
                  </a:cubicBezTo>
                  <a:cubicBezTo>
                    <a:pt x="105" y="98"/>
                    <a:pt x="105" y="95"/>
                    <a:pt x="101" y="93"/>
                  </a:cubicBezTo>
                  <a:cubicBezTo>
                    <a:pt x="97" y="91"/>
                    <a:pt x="106" y="90"/>
                    <a:pt x="108" y="92"/>
                  </a:cubicBezTo>
                  <a:cubicBezTo>
                    <a:pt x="110" y="94"/>
                    <a:pt x="118" y="92"/>
                    <a:pt x="118" y="95"/>
                  </a:cubicBezTo>
                  <a:cubicBezTo>
                    <a:pt x="119" y="98"/>
                    <a:pt x="123" y="99"/>
                    <a:pt x="123" y="95"/>
                  </a:cubicBezTo>
                  <a:cubicBezTo>
                    <a:pt x="123" y="92"/>
                    <a:pt x="127" y="90"/>
                    <a:pt x="130" y="91"/>
                  </a:cubicBezTo>
                  <a:cubicBezTo>
                    <a:pt x="134" y="92"/>
                    <a:pt x="141" y="87"/>
                    <a:pt x="144" y="86"/>
                  </a:cubicBezTo>
                  <a:cubicBezTo>
                    <a:pt x="146" y="85"/>
                    <a:pt x="146" y="83"/>
                    <a:pt x="147" y="82"/>
                  </a:cubicBezTo>
                  <a:cubicBezTo>
                    <a:pt x="145" y="78"/>
                    <a:pt x="142" y="74"/>
                    <a:pt x="140" y="72"/>
                  </a:cubicBezTo>
                  <a:cubicBezTo>
                    <a:pt x="137" y="70"/>
                    <a:pt x="142" y="69"/>
                    <a:pt x="141" y="66"/>
                  </a:cubicBezTo>
                  <a:cubicBezTo>
                    <a:pt x="141" y="64"/>
                    <a:pt x="141" y="62"/>
                    <a:pt x="146" y="61"/>
                  </a:cubicBezTo>
                  <a:cubicBezTo>
                    <a:pt x="152" y="61"/>
                    <a:pt x="151" y="57"/>
                    <a:pt x="148" y="55"/>
                  </a:cubicBezTo>
                  <a:cubicBezTo>
                    <a:pt x="145" y="53"/>
                    <a:pt x="149" y="49"/>
                    <a:pt x="152" y="47"/>
                  </a:cubicBezTo>
                  <a:cubicBezTo>
                    <a:pt x="153" y="47"/>
                    <a:pt x="155" y="45"/>
                    <a:pt x="156" y="42"/>
                  </a:cubicBezTo>
                  <a:cubicBezTo>
                    <a:pt x="151" y="40"/>
                    <a:pt x="143" y="40"/>
                    <a:pt x="140" y="40"/>
                  </a:cubicBezTo>
                  <a:cubicBezTo>
                    <a:pt x="136" y="41"/>
                    <a:pt x="143" y="36"/>
                    <a:pt x="143" y="31"/>
                  </a:cubicBezTo>
                  <a:cubicBezTo>
                    <a:pt x="143" y="27"/>
                    <a:pt x="131" y="26"/>
                    <a:pt x="126" y="25"/>
                  </a:cubicBezTo>
                  <a:cubicBezTo>
                    <a:pt x="121" y="24"/>
                    <a:pt x="123" y="19"/>
                    <a:pt x="128" y="19"/>
                  </a:cubicBezTo>
                  <a:cubicBezTo>
                    <a:pt x="133" y="18"/>
                    <a:pt x="125" y="15"/>
                    <a:pt x="118" y="16"/>
                  </a:cubicBezTo>
                  <a:cubicBezTo>
                    <a:pt x="111" y="17"/>
                    <a:pt x="102" y="21"/>
                    <a:pt x="96" y="24"/>
                  </a:cubicBezTo>
                  <a:cubicBezTo>
                    <a:pt x="91" y="27"/>
                    <a:pt x="81" y="15"/>
                    <a:pt x="75" y="17"/>
                  </a:cubicBezTo>
                  <a:cubicBezTo>
                    <a:pt x="69" y="20"/>
                    <a:pt x="60" y="20"/>
                    <a:pt x="60" y="15"/>
                  </a:cubicBezTo>
                  <a:cubicBezTo>
                    <a:pt x="61" y="10"/>
                    <a:pt x="58" y="6"/>
                    <a:pt x="52" y="6"/>
                  </a:cubicBezTo>
                  <a:cubicBezTo>
                    <a:pt x="45" y="7"/>
                    <a:pt x="47" y="0"/>
                    <a:pt x="42" y="0"/>
                  </a:cubicBezTo>
                  <a:cubicBezTo>
                    <a:pt x="37" y="0"/>
                    <a:pt x="42" y="6"/>
                    <a:pt x="39" y="7"/>
                  </a:cubicBezTo>
                  <a:cubicBezTo>
                    <a:pt x="36" y="9"/>
                    <a:pt x="24" y="11"/>
                    <a:pt x="24" y="16"/>
                  </a:cubicBezTo>
                  <a:cubicBezTo>
                    <a:pt x="23" y="20"/>
                    <a:pt x="30" y="28"/>
                    <a:pt x="27" y="32"/>
                  </a:cubicBezTo>
                  <a:cubicBezTo>
                    <a:pt x="25" y="37"/>
                    <a:pt x="18" y="33"/>
                    <a:pt x="15" y="28"/>
                  </a:cubicBezTo>
                  <a:cubicBezTo>
                    <a:pt x="13" y="24"/>
                    <a:pt x="22" y="16"/>
                    <a:pt x="20" y="14"/>
                  </a:cubicBezTo>
                  <a:cubicBezTo>
                    <a:pt x="19" y="12"/>
                    <a:pt x="18" y="8"/>
                    <a:pt x="19" y="6"/>
                  </a:cubicBezTo>
                  <a:cubicBezTo>
                    <a:pt x="17" y="6"/>
                    <a:pt x="16" y="7"/>
                    <a:pt x="15" y="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94876" y="4014598"/>
              <a:ext cx="109930" cy="115617"/>
            </a:xfrm>
            <a:custGeom>
              <a:avLst/>
              <a:gdLst/>
              <a:ahLst/>
              <a:cxnLst>
                <a:cxn ang="0">
                  <a:pos x="11" y="10"/>
                </a:cxn>
                <a:cxn ang="0">
                  <a:pos x="6" y="16"/>
                </a:cxn>
                <a:cxn ang="0">
                  <a:pos x="2" y="25"/>
                </a:cxn>
                <a:cxn ang="0">
                  <a:pos x="11" y="37"/>
                </a:cxn>
                <a:cxn ang="0">
                  <a:pos x="18" y="50"/>
                </a:cxn>
                <a:cxn ang="0">
                  <a:pos x="23" y="50"/>
                </a:cxn>
                <a:cxn ang="0">
                  <a:pos x="28" y="43"/>
                </a:cxn>
                <a:cxn ang="0">
                  <a:pos x="41" y="43"/>
                </a:cxn>
                <a:cxn ang="0">
                  <a:pos x="42" y="45"/>
                </a:cxn>
                <a:cxn ang="0">
                  <a:pos x="45" y="39"/>
                </a:cxn>
                <a:cxn ang="0">
                  <a:pos x="44" y="24"/>
                </a:cxn>
                <a:cxn ang="0">
                  <a:pos x="46" y="11"/>
                </a:cxn>
                <a:cxn ang="0">
                  <a:pos x="48" y="5"/>
                </a:cxn>
                <a:cxn ang="0">
                  <a:pos x="37" y="3"/>
                </a:cxn>
                <a:cxn ang="0">
                  <a:pos x="22" y="3"/>
                </a:cxn>
                <a:cxn ang="0">
                  <a:pos x="14" y="3"/>
                </a:cxn>
                <a:cxn ang="0">
                  <a:pos x="13" y="3"/>
                </a:cxn>
                <a:cxn ang="0">
                  <a:pos x="11" y="10"/>
                </a:cxn>
              </a:cxnLst>
              <a:rect l="0" t="0" r="r" b="b"/>
              <a:pathLst>
                <a:path w="48" h="51">
                  <a:moveTo>
                    <a:pt x="11" y="10"/>
                  </a:moveTo>
                  <a:cubicBezTo>
                    <a:pt x="13" y="14"/>
                    <a:pt x="9" y="15"/>
                    <a:pt x="6" y="16"/>
                  </a:cubicBezTo>
                  <a:cubicBezTo>
                    <a:pt x="3" y="16"/>
                    <a:pt x="4" y="23"/>
                    <a:pt x="2" y="25"/>
                  </a:cubicBezTo>
                  <a:cubicBezTo>
                    <a:pt x="0" y="27"/>
                    <a:pt x="9" y="33"/>
                    <a:pt x="11" y="37"/>
                  </a:cubicBezTo>
                  <a:cubicBezTo>
                    <a:pt x="12" y="40"/>
                    <a:pt x="15" y="45"/>
                    <a:pt x="18" y="50"/>
                  </a:cubicBezTo>
                  <a:cubicBezTo>
                    <a:pt x="20" y="50"/>
                    <a:pt x="22" y="51"/>
                    <a:pt x="23" y="50"/>
                  </a:cubicBezTo>
                  <a:cubicBezTo>
                    <a:pt x="26" y="48"/>
                    <a:pt x="24" y="43"/>
                    <a:pt x="28" y="43"/>
                  </a:cubicBezTo>
                  <a:cubicBezTo>
                    <a:pt x="33" y="43"/>
                    <a:pt x="39" y="41"/>
                    <a:pt x="41" y="43"/>
                  </a:cubicBezTo>
                  <a:cubicBezTo>
                    <a:pt x="41" y="44"/>
                    <a:pt x="41" y="44"/>
                    <a:pt x="42" y="45"/>
                  </a:cubicBezTo>
                  <a:cubicBezTo>
                    <a:pt x="43" y="43"/>
                    <a:pt x="45" y="40"/>
                    <a:pt x="45" y="39"/>
                  </a:cubicBezTo>
                  <a:cubicBezTo>
                    <a:pt x="46" y="38"/>
                    <a:pt x="46" y="29"/>
                    <a:pt x="44" y="24"/>
                  </a:cubicBezTo>
                  <a:cubicBezTo>
                    <a:pt x="42" y="20"/>
                    <a:pt x="43" y="13"/>
                    <a:pt x="46" y="11"/>
                  </a:cubicBezTo>
                  <a:cubicBezTo>
                    <a:pt x="46" y="11"/>
                    <a:pt x="47" y="8"/>
                    <a:pt x="48" y="5"/>
                  </a:cubicBezTo>
                  <a:cubicBezTo>
                    <a:pt x="44" y="4"/>
                    <a:pt x="40" y="2"/>
                    <a:pt x="37" y="3"/>
                  </a:cubicBezTo>
                  <a:cubicBezTo>
                    <a:pt x="31" y="4"/>
                    <a:pt x="25" y="6"/>
                    <a:pt x="22" y="3"/>
                  </a:cubicBezTo>
                  <a:cubicBezTo>
                    <a:pt x="20" y="0"/>
                    <a:pt x="17" y="0"/>
                    <a:pt x="14" y="3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2" y="6"/>
                    <a:pt x="11" y="9"/>
                    <a:pt x="11" y="1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709585" y="3955842"/>
              <a:ext cx="126989" cy="189535"/>
            </a:xfrm>
            <a:custGeom>
              <a:avLst/>
              <a:gdLst/>
              <a:ahLst/>
              <a:cxnLst>
                <a:cxn ang="0">
                  <a:pos x="15" y="5"/>
                </a:cxn>
                <a:cxn ang="0">
                  <a:pos x="11" y="13"/>
                </a:cxn>
                <a:cxn ang="0">
                  <a:pos x="9" y="19"/>
                </a:cxn>
                <a:cxn ang="0">
                  <a:pos x="4" y="24"/>
                </a:cxn>
                <a:cxn ang="0">
                  <a:pos x="3" y="30"/>
                </a:cxn>
                <a:cxn ang="0">
                  <a:pos x="10" y="40"/>
                </a:cxn>
                <a:cxn ang="0">
                  <a:pos x="14" y="37"/>
                </a:cxn>
                <a:cxn ang="0">
                  <a:pos x="19" y="47"/>
                </a:cxn>
                <a:cxn ang="0">
                  <a:pos x="20" y="56"/>
                </a:cxn>
                <a:cxn ang="0">
                  <a:pos x="22" y="76"/>
                </a:cxn>
                <a:cxn ang="0">
                  <a:pos x="35" y="80"/>
                </a:cxn>
                <a:cxn ang="0">
                  <a:pos x="42" y="77"/>
                </a:cxn>
                <a:cxn ang="0">
                  <a:pos x="48" y="75"/>
                </a:cxn>
                <a:cxn ang="0">
                  <a:pos x="56" y="75"/>
                </a:cxn>
                <a:cxn ang="0">
                  <a:pos x="49" y="62"/>
                </a:cxn>
                <a:cxn ang="0">
                  <a:pos x="40" y="50"/>
                </a:cxn>
                <a:cxn ang="0">
                  <a:pos x="44" y="41"/>
                </a:cxn>
                <a:cxn ang="0">
                  <a:pos x="49" y="35"/>
                </a:cxn>
                <a:cxn ang="0">
                  <a:pos x="51" y="28"/>
                </a:cxn>
                <a:cxn ang="0">
                  <a:pos x="40" y="19"/>
                </a:cxn>
                <a:cxn ang="0">
                  <a:pos x="35" y="12"/>
                </a:cxn>
                <a:cxn ang="0">
                  <a:pos x="23" y="3"/>
                </a:cxn>
                <a:cxn ang="0">
                  <a:pos x="19" y="0"/>
                </a:cxn>
                <a:cxn ang="0">
                  <a:pos x="15" y="5"/>
                </a:cxn>
              </a:cxnLst>
              <a:rect l="0" t="0" r="r" b="b"/>
              <a:pathLst>
                <a:path w="56" h="83">
                  <a:moveTo>
                    <a:pt x="15" y="5"/>
                  </a:moveTo>
                  <a:cubicBezTo>
                    <a:pt x="12" y="7"/>
                    <a:pt x="8" y="11"/>
                    <a:pt x="11" y="13"/>
                  </a:cubicBezTo>
                  <a:cubicBezTo>
                    <a:pt x="14" y="15"/>
                    <a:pt x="15" y="19"/>
                    <a:pt x="9" y="19"/>
                  </a:cubicBezTo>
                  <a:cubicBezTo>
                    <a:pt x="4" y="20"/>
                    <a:pt x="4" y="22"/>
                    <a:pt x="4" y="24"/>
                  </a:cubicBezTo>
                  <a:cubicBezTo>
                    <a:pt x="5" y="27"/>
                    <a:pt x="0" y="28"/>
                    <a:pt x="3" y="30"/>
                  </a:cubicBezTo>
                  <a:cubicBezTo>
                    <a:pt x="5" y="32"/>
                    <a:pt x="8" y="36"/>
                    <a:pt x="10" y="40"/>
                  </a:cubicBezTo>
                  <a:cubicBezTo>
                    <a:pt x="11" y="38"/>
                    <a:pt x="12" y="37"/>
                    <a:pt x="14" y="37"/>
                  </a:cubicBezTo>
                  <a:cubicBezTo>
                    <a:pt x="19" y="38"/>
                    <a:pt x="15" y="45"/>
                    <a:pt x="19" y="47"/>
                  </a:cubicBezTo>
                  <a:cubicBezTo>
                    <a:pt x="23" y="48"/>
                    <a:pt x="23" y="54"/>
                    <a:pt x="20" y="56"/>
                  </a:cubicBezTo>
                  <a:cubicBezTo>
                    <a:pt x="17" y="58"/>
                    <a:pt x="16" y="69"/>
                    <a:pt x="22" y="76"/>
                  </a:cubicBezTo>
                  <a:cubicBezTo>
                    <a:pt x="29" y="83"/>
                    <a:pt x="33" y="82"/>
                    <a:pt x="35" y="80"/>
                  </a:cubicBezTo>
                  <a:cubicBezTo>
                    <a:pt x="36" y="78"/>
                    <a:pt x="41" y="80"/>
                    <a:pt x="42" y="77"/>
                  </a:cubicBezTo>
                  <a:cubicBezTo>
                    <a:pt x="43" y="75"/>
                    <a:pt x="45" y="78"/>
                    <a:pt x="48" y="75"/>
                  </a:cubicBezTo>
                  <a:cubicBezTo>
                    <a:pt x="49" y="73"/>
                    <a:pt x="53" y="74"/>
                    <a:pt x="56" y="75"/>
                  </a:cubicBezTo>
                  <a:cubicBezTo>
                    <a:pt x="53" y="70"/>
                    <a:pt x="50" y="65"/>
                    <a:pt x="49" y="62"/>
                  </a:cubicBezTo>
                  <a:cubicBezTo>
                    <a:pt x="47" y="58"/>
                    <a:pt x="38" y="52"/>
                    <a:pt x="40" y="50"/>
                  </a:cubicBezTo>
                  <a:cubicBezTo>
                    <a:pt x="42" y="48"/>
                    <a:pt x="41" y="41"/>
                    <a:pt x="44" y="41"/>
                  </a:cubicBezTo>
                  <a:cubicBezTo>
                    <a:pt x="47" y="40"/>
                    <a:pt x="51" y="39"/>
                    <a:pt x="49" y="35"/>
                  </a:cubicBezTo>
                  <a:cubicBezTo>
                    <a:pt x="49" y="34"/>
                    <a:pt x="50" y="31"/>
                    <a:pt x="51" y="28"/>
                  </a:cubicBezTo>
                  <a:cubicBezTo>
                    <a:pt x="48" y="28"/>
                    <a:pt x="43" y="19"/>
                    <a:pt x="40" y="19"/>
                  </a:cubicBezTo>
                  <a:cubicBezTo>
                    <a:pt x="37" y="19"/>
                    <a:pt x="34" y="16"/>
                    <a:pt x="35" y="12"/>
                  </a:cubicBezTo>
                  <a:cubicBezTo>
                    <a:pt x="35" y="8"/>
                    <a:pt x="28" y="7"/>
                    <a:pt x="23" y="3"/>
                  </a:cubicBezTo>
                  <a:cubicBezTo>
                    <a:pt x="22" y="1"/>
                    <a:pt x="21" y="1"/>
                    <a:pt x="19" y="0"/>
                  </a:cubicBezTo>
                  <a:cubicBezTo>
                    <a:pt x="18" y="3"/>
                    <a:pt x="16" y="5"/>
                    <a:pt x="15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891538" y="4025971"/>
              <a:ext cx="79605" cy="100454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3" y="34"/>
                </a:cxn>
                <a:cxn ang="0">
                  <a:pos x="0" y="40"/>
                </a:cxn>
                <a:cxn ang="0">
                  <a:pos x="10" y="42"/>
                </a:cxn>
                <a:cxn ang="0">
                  <a:pos x="22" y="37"/>
                </a:cxn>
                <a:cxn ang="0">
                  <a:pos x="35" y="19"/>
                </a:cxn>
                <a:cxn ang="0">
                  <a:pos x="35" y="19"/>
                </a:cxn>
                <a:cxn ang="0">
                  <a:pos x="16" y="4"/>
                </a:cxn>
                <a:cxn ang="0">
                  <a:pos x="6" y="0"/>
                </a:cxn>
                <a:cxn ang="0">
                  <a:pos x="4" y="6"/>
                </a:cxn>
                <a:cxn ang="0">
                  <a:pos x="2" y="19"/>
                </a:cxn>
              </a:cxnLst>
              <a:rect l="0" t="0" r="r" b="b"/>
              <a:pathLst>
                <a:path w="35" h="44">
                  <a:moveTo>
                    <a:pt x="2" y="19"/>
                  </a:moveTo>
                  <a:cubicBezTo>
                    <a:pt x="4" y="24"/>
                    <a:pt x="4" y="33"/>
                    <a:pt x="3" y="34"/>
                  </a:cubicBezTo>
                  <a:cubicBezTo>
                    <a:pt x="3" y="35"/>
                    <a:pt x="1" y="38"/>
                    <a:pt x="0" y="40"/>
                  </a:cubicBezTo>
                  <a:cubicBezTo>
                    <a:pt x="2" y="42"/>
                    <a:pt x="5" y="43"/>
                    <a:pt x="10" y="42"/>
                  </a:cubicBezTo>
                  <a:cubicBezTo>
                    <a:pt x="16" y="40"/>
                    <a:pt x="19" y="44"/>
                    <a:pt x="22" y="37"/>
                  </a:cubicBezTo>
                  <a:cubicBezTo>
                    <a:pt x="24" y="31"/>
                    <a:pt x="30" y="23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0" y="17"/>
                    <a:pt x="23" y="5"/>
                    <a:pt x="16" y="4"/>
                  </a:cubicBezTo>
                  <a:cubicBezTo>
                    <a:pt x="12" y="3"/>
                    <a:pt x="9" y="2"/>
                    <a:pt x="6" y="0"/>
                  </a:cubicBezTo>
                  <a:cubicBezTo>
                    <a:pt x="5" y="3"/>
                    <a:pt x="4" y="6"/>
                    <a:pt x="4" y="6"/>
                  </a:cubicBezTo>
                  <a:cubicBezTo>
                    <a:pt x="1" y="8"/>
                    <a:pt x="0" y="15"/>
                    <a:pt x="2" y="1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106865" y="3555925"/>
              <a:ext cx="271035" cy="96663"/>
            </a:xfrm>
            <a:custGeom>
              <a:avLst/>
              <a:gdLst/>
              <a:ahLst/>
              <a:cxnLst>
                <a:cxn ang="0">
                  <a:pos x="96" y="27"/>
                </a:cxn>
                <a:cxn ang="0">
                  <a:pos x="42" y="5"/>
                </a:cxn>
                <a:cxn ang="0">
                  <a:pos x="2" y="19"/>
                </a:cxn>
                <a:cxn ang="0">
                  <a:pos x="21" y="10"/>
                </a:cxn>
                <a:cxn ang="0">
                  <a:pos x="32" y="15"/>
                </a:cxn>
                <a:cxn ang="0">
                  <a:pos x="51" y="19"/>
                </a:cxn>
                <a:cxn ang="0">
                  <a:pos x="75" y="32"/>
                </a:cxn>
                <a:cxn ang="0">
                  <a:pos x="81" y="41"/>
                </a:cxn>
                <a:cxn ang="0">
                  <a:pos x="117" y="40"/>
                </a:cxn>
                <a:cxn ang="0">
                  <a:pos x="96" y="27"/>
                </a:cxn>
              </a:cxnLst>
              <a:rect l="0" t="0" r="r" b="b"/>
              <a:pathLst>
                <a:path w="119" h="43">
                  <a:moveTo>
                    <a:pt x="96" y="27"/>
                  </a:moveTo>
                  <a:cubicBezTo>
                    <a:pt x="89" y="27"/>
                    <a:pt x="64" y="10"/>
                    <a:pt x="42" y="5"/>
                  </a:cubicBezTo>
                  <a:cubicBezTo>
                    <a:pt x="19" y="0"/>
                    <a:pt x="0" y="16"/>
                    <a:pt x="2" y="19"/>
                  </a:cubicBezTo>
                  <a:cubicBezTo>
                    <a:pt x="5" y="23"/>
                    <a:pt x="16" y="14"/>
                    <a:pt x="21" y="10"/>
                  </a:cubicBezTo>
                  <a:cubicBezTo>
                    <a:pt x="27" y="6"/>
                    <a:pt x="32" y="12"/>
                    <a:pt x="32" y="15"/>
                  </a:cubicBezTo>
                  <a:cubicBezTo>
                    <a:pt x="33" y="17"/>
                    <a:pt x="40" y="19"/>
                    <a:pt x="51" y="19"/>
                  </a:cubicBezTo>
                  <a:cubicBezTo>
                    <a:pt x="63" y="20"/>
                    <a:pt x="64" y="29"/>
                    <a:pt x="75" y="32"/>
                  </a:cubicBezTo>
                  <a:cubicBezTo>
                    <a:pt x="86" y="34"/>
                    <a:pt x="75" y="39"/>
                    <a:pt x="81" y="41"/>
                  </a:cubicBezTo>
                  <a:cubicBezTo>
                    <a:pt x="86" y="43"/>
                    <a:pt x="115" y="42"/>
                    <a:pt x="117" y="40"/>
                  </a:cubicBezTo>
                  <a:cubicBezTo>
                    <a:pt x="119" y="37"/>
                    <a:pt x="104" y="27"/>
                    <a:pt x="96" y="2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262283" y="3684808"/>
              <a:ext cx="62547" cy="30326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26" y="9"/>
                </a:cxn>
                <a:cxn ang="0">
                  <a:pos x="3" y="5"/>
                </a:cxn>
              </a:cxnLst>
              <a:rect l="0" t="0" r="r" b="b"/>
              <a:pathLst>
                <a:path w="28" h="13">
                  <a:moveTo>
                    <a:pt x="3" y="5"/>
                  </a:moveTo>
                  <a:cubicBezTo>
                    <a:pt x="5" y="8"/>
                    <a:pt x="24" y="13"/>
                    <a:pt x="26" y="9"/>
                  </a:cubicBezTo>
                  <a:cubicBezTo>
                    <a:pt x="28" y="4"/>
                    <a:pt x="0" y="0"/>
                    <a:pt x="3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552272" y="3682912"/>
              <a:ext cx="56860" cy="32221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23" y="7"/>
                </a:cxn>
                <a:cxn ang="0">
                  <a:pos x="4" y="7"/>
                </a:cxn>
              </a:cxnLst>
              <a:rect l="0" t="0" r="r" b="b"/>
              <a:pathLst>
                <a:path w="25" h="14">
                  <a:moveTo>
                    <a:pt x="4" y="7"/>
                  </a:moveTo>
                  <a:cubicBezTo>
                    <a:pt x="9" y="14"/>
                    <a:pt x="22" y="9"/>
                    <a:pt x="23" y="7"/>
                  </a:cubicBezTo>
                  <a:cubicBezTo>
                    <a:pt x="25" y="2"/>
                    <a:pt x="0" y="0"/>
                    <a:pt x="4" y="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8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3415807" y="1224649"/>
              <a:ext cx="1578824" cy="1177011"/>
            </a:xfrm>
            <a:custGeom>
              <a:avLst/>
              <a:gdLst/>
              <a:ahLst/>
              <a:cxnLst>
                <a:cxn ang="0">
                  <a:pos x="606" y="59"/>
                </a:cxn>
                <a:cxn ang="0">
                  <a:pos x="555" y="83"/>
                </a:cxn>
                <a:cxn ang="0">
                  <a:pos x="552" y="52"/>
                </a:cxn>
                <a:cxn ang="0">
                  <a:pos x="494" y="47"/>
                </a:cxn>
                <a:cxn ang="0">
                  <a:pos x="551" y="38"/>
                </a:cxn>
                <a:cxn ang="0">
                  <a:pos x="546" y="17"/>
                </a:cxn>
                <a:cxn ang="0">
                  <a:pos x="467" y="1"/>
                </a:cxn>
                <a:cxn ang="0">
                  <a:pos x="393" y="10"/>
                </a:cxn>
                <a:cxn ang="0">
                  <a:pos x="337" y="11"/>
                </a:cxn>
                <a:cxn ang="0">
                  <a:pos x="291" y="31"/>
                </a:cxn>
                <a:cxn ang="0">
                  <a:pos x="280" y="37"/>
                </a:cxn>
                <a:cxn ang="0">
                  <a:pos x="247" y="47"/>
                </a:cxn>
                <a:cxn ang="0">
                  <a:pos x="216" y="58"/>
                </a:cxn>
                <a:cxn ang="0">
                  <a:pos x="162" y="47"/>
                </a:cxn>
                <a:cxn ang="0">
                  <a:pos x="133" y="70"/>
                </a:cxn>
                <a:cxn ang="0">
                  <a:pos x="88" y="99"/>
                </a:cxn>
                <a:cxn ang="0">
                  <a:pos x="0" y="142"/>
                </a:cxn>
                <a:cxn ang="0">
                  <a:pos x="56" y="158"/>
                </a:cxn>
                <a:cxn ang="0">
                  <a:pos x="16" y="172"/>
                </a:cxn>
                <a:cxn ang="0">
                  <a:pos x="50" y="194"/>
                </a:cxn>
                <a:cxn ang="0">
                  <a:pos x="95" y="192"/>
                </a:cxn>
                <a:cxn ang="0">
                  <a:pos x="163" y="211"/>
                </a:cxn>
                <a:cxn ang="0">
                  <a:pos x="197" y="256"/>
                </a:cxn>
                <a:cxn ang="0">
                  <a:pos x="202" y="297"/>
                </a:cxn>
                <a:cxn ang="0">
                  <a:pos x="245" y="312"/>
                </a:cxn>
                <a:cxn ang="0">
                  <a:pos x="240" y="328"/>
                </a:cxn>
                <a:cxn ang="0">
                  <a:pos x="234" y="356"/>
                </a:cxn>
                <a:cxn ang="0">
                  <a:pos x="226" y="390"/>
                </a:cxn>
                <a:cxn ang="0">
                  <a:pos x="235" y="436"/>
                </a:cxn>
                <a:cxn ang="0">
                  <a:pos x="256" y="463"/>
                </a:cxn>
                <a:cxn ang="0">
                  <a:pos x="287" y="498"/>
                </a:cxn>
                <a:cxn ang="0">
                  <a:pos x="331" y="515"/>
                </a:cxn>
                <a:cxn ang="0">
                  <a:pos x="344" y="471"/>
                </a:cxn>
                <a:cxn ang="0">
                  <a:pos x="363" y="449"/>
                </a:cxn>
                <a:cxn ang="0">
                  <a:pos x="365" y="427"/>
                </a:cxn>
                <a:cxn ang="0">
                  <a:pos x="384" y="413"/>
                </a:cxn>
                <a:cxn ang="0">
                  <a:pos x="401" y="409"/>
                </a:cxn>
                <a:cxn ang="0">
                  <a:pos x="461" y="369"/>
                </a:cxn>
                <a:cxn ang="0">
                  <a:pos x="500" y="359"/>
                </a:cxn>
                <a:cxn ang="0">
                  <a:pos x="576" y="325"/>
                </a:cxn>
                <a:cxn ang="0">
                  <a:pos x="535" y="316"/>
                </a:cxn>
                <a:cxn ang="0">
                  <a:pos x="577" y="319"/>
                </a:cxn>
                <a:cxn ang="0">
                  <a:pos x="569" y="280"/>
                </a:cxn>
                <a:cxn ang="0">
                  <a:pos x="547" y="261"/>
                </a:cxn>
                <a:cxn ang="0">
                  <a:pos x="596" y="254"/>
                </a:cxn>
                <a:cxn ang="0">
                  <a:pos x="609" y="230"/>
                </a:cxn>
                <a:cxn ang="0">
                  <a:pos x="603" y="193"/>
                </a:cxn>
                <a:cxn ang="0">
                  <a:pos x="590" y="178"/>
                </a:cxn>
                <a:cxn ang="0">
                  <a:pos x="595" y="162"/>
                </a:cxn>
                <a:cxn ang="0">
                  <a:pos x="578" y="154"/>
                </a:cxn>
                <a:cxn ang="0">
                  <a:pos x="624" y="106"/>
                </a:cxn>
                <a:cxn ang="0">
                  <a:pos x="613" y="94"/>
                </a:cxn>
                <a:cxn ang="0">
                  <a:pos x="626" y="81"/>
                </a:cxn>
                <a:cxn ang="0">
                  <a:pos x="691" y="58"/>
                </a:cxn>
                <a:cxn ang="0">
                  <a:pos x="228" y="329"/>
                </a:cxn>
                <a:cxn ang="0">
                  <a:pos x="216" y="342"/>
                </a:cxn>
              </a:cxnLst>
              <a:rect l="0" t="0" r="r" b="b"/>
              <a:pathLst>
                <a:path w="691" h="516">
                  <a:moveTo>
                    <a:pt x="652" y="47"/>
                  </a:moveTo>
                  <a:cubicBezTo>
                    <a:pt x="640" y="47"/>
                    <a:pt x="630" y="49"/>
                    <a:pt x="629" y="58"/>
                  </a:cubicBezTo>
                  <a:cubicBezTo>
                    <a:pt x="628" y="67"/>
                    <a:pt x="613" y="56"/>
                    <a:pt x="606" y="59"/>
                  </a:cubicBezTo>
                  <a:cubicBezTo>
                    <a:pt x="599" y="62"/>
                    <a:pt x="603" y="52"/>
                    <a:pt x="596" y="56"/>
                  </a:cubicBezTo>
                  <a:cubicBezTo>
                    <a:pt x="589" y="59"/>
                    <a:pt x="582" y="67"/>
                    <a:pt x="574" y="70"/>
                  </a:cubicBezTo>
                  <a:cubicBezTo>
                    <a:pt x="566" y="74"/>
                    <a:pt x="560" y="82"/>
                    <a:pt x="555" y="83"/>
                  </a:cubicBezTo>
                  <a:cubicBezTo>
                    <a:pt x="550" y="83"/>
                    <a:pt x="566" y="67"/>
                    <a:pt x="574" y="59"/>
                  </a:cubicBezTo>
                  <a:cubicBezTo>
                    <a:pt x="582" y="51"/>
                    <a:pt x="577" y="42"/>
                    <a:pt x="567" y="43"/>
                  </a:cubicBezTo>
                  <a:cubicBezTo>
                    <a:pt x="556" y="44"/>
                    <a:pt x="558" y="51"/>
                    <a:pt x="552" y="52"/>
                  </a:cubicBezTo>
                  <a:cubicBezTo>
                    <a:pt x="546" y="53"/>
                    <a:pt x="518" y="68"/>
                    <a:pt x="516" y="63"/>
                  </a:cubicBezTo>
                  <a:cubicBezTo>
                    <a:pt x="515" y="59"/>
                    <a:pt x="540" y="52"/>
                    <a:pt x="540" y="49"/>
                  </a:cubicBezTo>
                  <a:cubicBezTo>
                    <a:pt x="539" y="46"/>
                    <a:pt x="508" y="45"/>
                    <a:pt x="494" y="47"/>
                  </a:cubicBezTo>
                  <a:cubicBezTo>
                    <a:pt x="480" y="49"/>
                    <a:pt x="455" y="57"/>
                    <a:pt x="455" y="53"/>
                  </a:cubicBezTo>
                  <a:cubicBezTo>
                    <a:pt x="455" y="49"/>
                    <a:pt x="484" y="44"/>
                    <a:pt x="498" y="42"/>
                  </a:cubicBezTo>
                  <a:cubicBezTo>
                    <a:pt x="513" y="40"/>
                    <a:pt x="540" y="43"/>
                    <a:pt x="551" y="38"/>
                  </a:cubicBezTo>
                  <a:cubicBezTo>
                    <a:pt x="563" y="34"/>
                    <a:pt x="580" y="33"/>
                    <a:pt x="583" y="30"/>
                  </a:cubicBezTo>
                  <a:cubicBezTo>
                    <a:pt x="586" y="26"/>
                    <a:pt x="570" y="21"/>
                    <a:pt x="562" y="21"/>
                  </a:cubicBezTo>
                  <a:cubicBezTo>
                    <a:pt x="554" y="22"/>
                    <a:pt x="546" y="21"/>
                    <a:pt x="546" y="17"/>
                  </a:cubicBezTo>
                  <a:cubicBezTo>
                    <a:pt x="547" y="13"/>
                    <a:pt x="534" y="12"/>
                    <a:pt x="533" y="9"/>
                  </a:cubicBezTo>
                  <a:cubicBezTo>
                    <a:pt x="531" y="6"/>
                    <a:pt x="506" y="8"/>
                    <a:pt x="501" y="5"/>
                  </a:cubicBezTo>
                  <a:cubicBezTo>
                    <a:pt x="496" y="1"/>
                    <a:pt x="480" y="0"/>
                    <a:pt x="467" y="1"/>
                  </a:cubicBezTo>
                  <a:cubicBezTo>
                    <a:pt x="453" y="2"/>
                    <a:pt x="426" y="1"/>
                    <a:pt x="420" y="2"/>
                  </a:cubicBezTo>
                  <a:cubicBezTo>
                    <a:pt x="413" y="3"/>
                    <a:pt x="409" y="5"/>
                    <a:pt x="404" y="5"/>
                  </a:cubicBezTo>
                  <a:cubicBezTo>
                    <a:pt x="398" y="4"/>
                    <a:pt x="389" y="6"/>
                    <a:pt x="393" y="10"/>
                  </a:cubicBezTo>
                  <a:cubicBezTo>
                    <a:pt x="399" y="16"/>
                    <a:pt x="384" y="19"/>
                    <a:pt x="385" y="14"/>
                  </a:cubicBezTo>
                  <a:cubicBezTo>
                    <a:pt x="386" y="9"/>
                    <a:pt x="372" y="7"/>
                    <a:pt x="367" y="11"/>
                  </a:cubicBezTo>
                  <a:cubicBezTo>
                    <a:pt x="362" y="15"/>
                    <a:pt x="340" y="6"/>
                    <a:pt x="337" y="11"/>
                  </a:cubicBezTo>
                  <a:cubicBezTo>
                    <a:pt x="333" y="15"/>
                    <a:pt x="307" y="14"/>
                    <a:pt x="299" y="15"/>
                  </a:cubicBezTo>
                  <a:cubicBezTo>
                    <a:pt x="292" y="16"/>
                    <a:pt x="311" y="22"/>
                    <a:pt x="311" y="25"/>
                  </a:cubicBezTo>
                  <a:cubicBezTo>
                    <a:pt x="310" y="29"/>
                    <a:pt x="286" y="25"/>
                    <a:pt x="291" y="31"/>
                  </a:cubicBezTo>
                  <a:cubicBezTo>
                    <a:pt x="296" y="37"/>
                    <a:pt x="312" y="42"/>
                    <a:pt x="319" y="49"/>
                  </a:cubicBezTo>
                  <a:cubicBezTo>
                    <a:pt x="327" y="57"/>
                    <a:pt x="313" y="52"/>
                    <a:pt x="305" y="47"/>
                  </a:cubicBezTo>
                  <a:cubicBezTo>
                    <a:pt x="296" y="41"/>
                    <a:pt x="285" y="43"/>
                    <a:pt x="280" y="37"/>
                  </a:cubicBezTo>
                  <a:cubicBezTo>
                    <a:pt x="274" y="32"/>
                    <a:pt x="254" y="27"/>
                    <a:pt x="249" y="31"/>
                  </a:cubicBezTo>
                  <a:cubicBezTo>
                    <a:pt x="243" y="34"/>
                    <a:pt x="263" y="42"/>
                    <a:pt x="263" y="46"/>
                  </a:cubicBezTo>
                  <a:cubicBezTo>
                    <a:pt x="263" y="51"/>
                    <a:pt x="250" y="45"/>
                    <a:pt x="247" y="47"/>
                  </a:cubicBezTo>
                  <a:cubicBezTo>
                    <a:pt x="245" y="49"/>
                    <a:pt x="233" y="36"/>
                    <a:pt x="227" y="36"/>
                  </a:cubicBezTo>
                  <a:cubicBezTo>
                    <a:pt x="220" y="36"/>
                    <a:pt x="226" y="42"/>
                    <a:pt x="226" y="50"/>
                  </a:cubicBezTo>
                  <a:cubicBezTo>
                    <a:pt x="226" y="58"/>
                    <a:pt x="213" y="63"/>
                    <a:pt x="216" y="58"/>
                  </a:cubicBezTo>
                  <a:cubicBezTo>
                    <a:pt x="220" y="52"/>
                    <a:pt x="217" y="37"/>
                    <a:pt x="210" y="35"/>
                  </a:cubicBezTo>
                  <a:cubicBezTo>
                    <a:pt x="203" y="32"/>
                    <a:pt x="185" y="40"/>
                    <a:pt x="176" y="40"/>
                  </a:cubicBezTo>
                  <a:cubicBezTo>
                    <a:pt x="167" y="40"/>
                    <a:pt x="154" y="43"/>
                    <a:pt x="162" y="47"/>
                  </a:cubicBezTo>
                  <a:cubicBezTo>
                    <a:pt x="170" y="52"/>
                    <a:pt x="162" y="55"/>
                    <a:pt x="155" y="50"/>
                  </a:cubicBezTo>
                  <a:cubicBezTo>
                    <a:pt x="148" y="45"/>
                    <a:pt x="125" y="50"/>
                    <a:pt x="130" y="53"/>
                  </a:cubicBezTo>
                  <a:cubicBezTo>
                    <a:pt x="134" y="56"/>
                    <a:pt x="136" y="66"/>
                    <a:pt x="133" y="70"/>
                  </a:cubicBezTo>
                  <a:cubicBezTo>
                    <a:pt x="130" y="74"/>
                    <a:pt x="120" y="66"/>
                    <a:pt x="111" y="67"/>
                  </a:cubicBezTo>
                  <a:cubicBezTo>
                    <a:pt x="102" y="67"/>
                    <a:pt x="58" y="89"/>
                    <a:pt x="60" y="94"/>
                  </a:cubicBezTo>
                  <a:cubicBezTo>
                    <a:pt x="63" y="100"/>
                    <a:pt x="82" y="95"/>
                    <a:pt x="88" y="99"/>
                  </a:cubicBezTo>
                  <a:cubicBezTo>
                    <a:pt x="94" y="102"/>
                    <a:pt x="86" y="114"/>
                    <a:pt x="79" y="119"/>
                  </a:cubicBezTo>
                  <a:cubicBezTo>
                    <a:pt x="71" y="124"/>
                    <a:pt x="44" y="120"/>
                    <a:pt x="43" y="126"/>
                  </a:cubicBezTo>
                  <a:cubicBezTo>
                    <a:pt x="43" y="132"/>
                    <a:pt x="0" y="133"/>
                    <a:pt x="0" y="142"/>
                  </a:cubicBezTo>
                  <a:cubicBezTo>
                    <a:pt x="0" y="146"/>
                    <a:pt x="2" y="150"/>
                    <a:pt x="7" y="151"/>
                  </a:cubicBezTo>
                  <a:cubicBezTo>
                    <a:pt x="13" y="152"/>
                    <a:pt x="20" y="150"/>
                    <a:pt x="26" y="156"/>
                  </a:cubicBezTo>
                  <a:cubicBezTo>
                    <a:pt x="31" y="162"/>
                    <a:pt x="46" y="162"/>
                    <a:pt x="56" y="158"/>
                  </a:cubicBezTo>
                  <a:cubicBezTo>
                    <a:pt x="67" y="154"/>
                    <a:pt x="74" y="159"/>
                    <a:pt x="74" y="165"/>
                  </a:cubicBezTo>
                  <a:cubicBezTo>
                    <a:pt x="74" y="171"/>
                    <a:pt x="51" y="163"/>
                    <a:pt x="44" y="167"/>
                  </a:cubicBezTo>
                  <a:cubicBezTo>
                    <a:pt x="37" y="171"/>
                    <a:pt x="15" y="168"/>
                    <a:pt x="16" y="172"/>
                  </a:cubicBezTo>
                  <a:cubicBezTo>
                    <a:pt x="17" y="177"/>
                    <a:pt x="28" y="176"/>
                    <a:pt x="36" y="178"/>
                  </a:cubicBezTo>
                  <a:cubicBezTo>
                    <a:pt x="45" y="179"/>
                    <a:pt x="37" y="183"/>
                    <a:pt x="37" y="187"/>
                  </a:cubicBezTo>
                  <a:cubicBezTo>
                    <a:pt x="36" y="190"/>
                    <a:pt x="41" y="190"/>
                    <a:pt x="50" y="194"/>
                  </a:cubicBezTo>
                  <a:cubicBezTo>
                    <a:pt x="59" y="198"/>
                    <a:pt x="73" y="201"/>
                    <a:pt x="68" y="196"/>
                  </a:cubicBezTo>
                  <a:cubicBezTo>
                    <a:pt x="64" y="191"/>
                    <a:pt x="77" y="192"/>
                    <a:pt x="80" y="195"/>
                  </a:cubicBezTo>
                  <a:cubicBezTo>
                    <a:pt x="82" y="198"/>
                    <a:pt x="88" y="190"/>
                    <a:pt x="95" y="192"/>
                  </a:cubicBezTo>
                  <a:cubicBezTo>
                    <a:pt x="101" y="194"/>
                    <a:pt x="103" y="186"/>
                    <a:pt x="108" y="189"/>
                  </a:cubicBezTo>
                  <a:cubicBezTo>
                    <a:pt x="113" y="193"/>
                    <a:pt x="137" y="195"/>
                    <a:pt x="145" y="199"/>
                  </a:cubicBezTo>
                  <a:cubicBezTo>
                    <a:pt x="153" y="203"/>
                    <a:pt x="164" y="204"/>
                    <a:pt x="163" y="211"/>
                  </a:cubicBezTo>
                  <a:cubicBezTo>
                    <a:pt x="162" y="217"/>
                    <a:pt x="169" y="222"/>
                    <a:pt x="178" y="226"/>
                  </a:cubicBezTo>
                  <a:cubicBezTo>
                    <a:pt x="187" y="230"/>
                    <a:pt x="189" y="238"/>
                    <a:pt x="189" y="244"/>
                  </a:cubicBezTo>
                  <a:cubicBezTo>
                    <a:pt x="188" y="250"/>
                    <a:pt x="198" y="254"/>
                    <a:pt x="197" y="256"/>
                  </a:cubicBezTo>
                  <a:cubicBezTo>
                    <a:pt x="195" y="259"/>
                    <a:pt x="196" y="263"/>
                    <a:pt x="202" y="268"/>
                  </a:cubicBezTo>
                  <a:cubicBezTo>
                    <a:pt x="208" y="273"/>
                    <a:pt x="193" y="277"/>
                    <a:pt x="197" y="282"/>
                  </a:cubicBezTo>
                  <a:cubicBezTo>
                    <a:pt x="200" y="287"/>
                    <a:pt x="191" y="296"/>
                    <a:pt x="202" y="297"/>
                  </a:cubicBezTo>
                  <a:cubicBezTo>
                    <a:pt x="213" y="299"/>
                    <a:pt x="211" y="290"/>
                    <a:pt x="219" y="290"/>
                  </a:cubicBezTo>
                  <a:cubicBezTo>
                    <a:pt x="227" y="290"/>
                    <a:pt x="219" y="297"/>
                    <a:pt x="223" y="301"/>
                  </a:cubicBezTo>
                  <a:cubicBezTo>
                    <a:pt x="227" y="306"/>
                    <a:pt x="236" y="305"/>
                    <a:pt x="245" y="312"/>
                  </a:cubicBezTo>
                  <a:cubicBezTo>
                    <a:pt x="253" y="319"/>
                    <a:pt x="248" y="322"/>
                    <a:pt x="240" y="316"/>
                  </a:cubicBezTo>
                  <a:cubicBezTo>
                    <a:pt x="232" y="311"/>
                    <a:pt x="210" y="312"/>
                    <a:pt x="210" y="314"/>
                  </a:cubicBezTo>
                  <a:cubicBezTo>
                    <a:pt x="210" y="316"/>
                    <a:pt x="235" y="330"/>
                    <a:pt x="240" y="328"/>
                  </a:cubicBezTo>
                  <a:cubicBezTo>
                    <a:pt x="246" y="326"/>
                    <a:pt x="254" y="336"/>
                    <a:pt x="250" y="340"/>
                  </a:cubicBezTo>
                  <a:cubicBezTo>
                    <a:pt x="247" y="343"/>
                    <a:pt x="249" y="351"/>
                    <a:pt x="248" y="355"/>
                  </a:cubicBezTo>
                  <a:cubicBezTo>
                    <a:pt x="247" y="359"/>
                    <a:pt x="239" y="355"/>
                    <a:pt x="234" y="356"/>
                  </a:cubicBezTo>
                  <a:cubicBezTo>
                    <a:pt x="228" y="357"/>
                    <a:pt x="225" y="358"/>
                    <a:pt x="225" y="364"/>
                  </a:cubicBezTo>
                  <a:cubicBezTo>
                    <a:pt x="225" y="370"/>
                    <a:pt x="216" y="374"/>
                    <a:pt x="215" y="381"/>
                  </a:cubicBezTo>
                  <a:cubicBezTo>
                    <a:pt x="214" y="388"/>
                    <a:pt x="222" y="387"/>
                    <a:pt x="226" y="390"/>
                  </a:cubicBezTo>
                  <a:cubicBezTo>
                    <a:pt x="231" y="393"/>
                    <a:pt x="218" y="395"/>
                    <a:pt x="218" y="400"/>
                  </a:cubicBezTo>
                  <a:cubicBezTo>
                    <a:pt x="217" y="405"/>
                    <a:pt x="229" y="414"/>
                    <a:pt x="233" y="417"/>
                  </a:cubicBezTo>
                  <a:cubicBezTo>
                    <a:pt x="238" y="419"/>
                    <a:pt x="234" y="430"/>
                    <a:pt x="235" y="436"/>
                  </a:cubicBezTo>
                  <a:cubicBezTo>
                    <a:pt x="237" y="442"/>
                    <a:pt x="243" y="435"/>
                    <a:pt x="242" y="442"/>
                  </a:cubicBezTo>
                  <a:cubicBezTo>
                    <a:pt x="241" y="449"/>
                    <a:pt x="247" y="449"/>
                    <a:pt x="248" y="453"/>
                  </a:cubicBezTo>
                  <a:cubicBezTo>
                    <a:pt x="248" y="458"/>
                    <a:pt x="258" y="457"/>
                    <a:pt x="256" y="463"/>
                  </a:cubicBezTo>
                  <a:cubicBezTo>
                    <a:pt x="254" y="469"/>
                    <a:pt x="259" y="473"/>
                    <a:pt x="262" y="477"/>
                  </a:cubicBezTo>
                  <a:cubicBezTo>
                    <a:pt x="264" y="480"/>
                    <a:pt x="273" y="486"/>
                    <a:pt x="274" y="490"/>
                  </a:cubicBezTo>
                  <a:cubicBezTo>
                    <a:pt x="276" y="494"/>
                    <a:pt x="281" y="500"/>
                    <a:pt x="287" y="498"/>
                  </a:cubicBezTo>
                  <a:cubicBezTo>
                    <a:pt x="293" y="497"/>
                    <a:pt x="293" y="502"/>
                    <a:pt x="298" y="502"/>
                  </a:cubicBezTo>
                  <a:cubicBezTo>
                    <a:pt x="303" y="501"/>
                    <a:pt x="310" y="504"/>
                    <a:pt x="311" y="507"/>
                  </a:cubicBezTo>
                  <a:cubicBezTo>
                    <a:pt x="313" y="511"/>
                    <a:pt x="327" y="514"/>
                    <a:pt x="331" y="515"/>
                  </a:cubicBezTo>
                  <a:cubicBezTo>
                    <a:pt x="335" y="516"/>
                    <a:pt x="336" y="508"/>
                    <a:pt x="339" y="506"/>
                  </a:cubicBezTo>
                  <a:cubicBezTo>
                    <a:pt x="343" y="504"/>
                    <a:pt x="342" y="490"/>
                    <a:pt x="345" y="489"/>
                  </a:cubicBezTo>
                  <a:cubicBezTo>
                    <a:pt x="348" y="488"/>
                    <a:pt x="347" y="472"/>
                    <a:pt x="344" y="471"/>
                  </a:cubicBezTo>
                  <a:cubicBezTo>
                    <a:pt x="341" y="470"/>
                    <a:pt x="342" y="464"/>
                    <a:pt x="350" y="465"/>
                  </a:cubicBezTo>
                  <a:cubicBezTo>
                    <a:pt x="357" y="466"/>
                    <a:pt x="355" y="459"/>
                    <a:pt x="358" y="458"/>
                  </a:cubicBezTo>
                  <a:cubicBezTo>
                    <a:pt x="362" y="457"/>
                    <a:pt x="360" y="450"/>
                    <a:pt x="363" y="449"/>
                  </a:cubicBezTo>
                  <a:cubicBezTo>
                    <a:pt x="366" y="448"/>
                    <a:pt x="365" y="444"/>
                    <a:pt x="363" y="441"/>
                  </a:cubicBezTo>
                  <a:cubicBezTo>
                    <a:pt x="361" y="438"/>
                    <a:pt x="364" y="436"/>
                    <a:pt x="368" y="436"/>
                  </a:cubicBezTo>
                  <a:cubicBezTo>
                    <a:pt x="372" y="435"/>
                    <a:pt x="371" y="429"/>
                    <a:pt x="365" y="427"/>
                  </a:cubicBezTo>
                  <a:cubicBezTo>
                    <a:pt x="360" y="425"/>
                    <a:pt x="362" y="419"/>
                    <a:pt x="367" y="423"/>
                  </a:cubicBezTo>
                  <a:cubicBezTo>
                    <a:pt x="372" y="427"/>
                    <a:pt x="376" y="424"/>
                    <a:pt x="373" y="420"/>
                  </a:cubicBezTo>
                  <a:cubicBezTo>
                    <a:pt x="370" y="416"/>
                    <a:pt x="377" y="414"/>
                    <a:pt x="384" y="413"/>
                  </a:cubicBezTo>
                  <a:cubicBezTo>
                    <a:pt x="391" y="413"/>
                    <a:pt x="395" y="409"/>
                    <a:pt x="393" y="404"/>
                  </a:cubicBezTo>
                  <a:cubicBezTo>
                    <a:pt x="392" y="398"/>
                    <a:pt x="401" y="399"/>
                    <a:pt x="399" y="403"/>
                  </a:cubicBezTo>
                  <a:cubicBezTo>
                    <a:pt x="397" y="408"/>
                    <a:pt x="398" y="413"/>
                    <a:pt x="401" y="409"/>
                  </a:cubicBezTo>
                  <a:cubicBezTo>
                    <a:pt x="405" y="406"/>
                    <a:pt x="411" y="408"/>
                    <a:pt x="422" y="405"/>
                  </a:cubicBezTo>
                  <a:cubicBezTo>
                    <a:pt x="434" y="402"/>
                    <a:pt x="445" y="392"/>
                    <a:pt x="447" y="383"/>
                  </a:cubicBezTo>
                  <a:cubicBezTo>
                    <a:pt x="450" y="374"/>
                    <a:pt x="463" y="375"/>
                    <a:pt x="461" y="369"/>
                  </a:cubicBezTo>
                  <a:cubicBezTo>
                    <a:pt x="460" y="363"/>
                    <a:pt x="464" y="361"/>
                    <a:pt x="472" y="365"/>
                  </a:cubicBezTo>
                  <a:cubicBezTo>
                    <a:pt x="480" y="369"/>
                    <a:pt x="474" y="362"/>
                    <a:pt x="483" y="362"/>
                  </a:cubicBezTo>
                  <a:cubicBezTo>
                    <a:pt x="492" y="362"/>
                    <a:pt x="491" y="359"/>
                    <a:pt x="500" y="359"/>
                  </a:cubicBezTo>
                  <a:cubicBezTo>
                    <a:pt x="509" y="358"/>
                    <a:pt x="532" y="354"/>
                    <a:pt x="540" y="348"/>
                  </a:cubicBezTo>
                  <a:cubicBezTo>
                    <a:pt x="548" y="341"/>
                    <a:pt x="565" y="335"/>
                    <a:pt x="572" y="331"/>
                  </a:cubicBezTo>
                  <a:cubicBezTo>
                    <a:pt x="579" y="327"/>
                    <a:pt x="581" y="323"/>
                    <a:pt x="576" y="325"/>
                  </a:cubicBezTo>
                  <a:cubicBezTo>
                    <a:pt x="572" y="328"/>
                    <a:pt x="563" y="328"/>
                    <a:pt x="556" y="326"/>
                  </a:cubicBezTo>
                  <a:cubicBezTo>
                    <a:pt x="550" y="325"/>
                    <a:pt x="539" y="319"/>
                    <a:pt x="531" y="323"/>
                  </a:cubicBezTo>
                  <a:cubicBezTo>
                    <a:pt x="524" y="328"/>
                    <a:pt x="528" y="317"/>
                    <a:pt x="535" y="316"/>
                  </a:cubicBezTo>
                  <a:cubicBezTo>
                    <a:pt x="541" y="315"/>
                    <a:pt x="538" y="312"/>
                    <a:pt x="537" y="305"/>
                  </a:cubicBezTo>
                  <a:cubicBezTo>
                    <a:pt x="535" y="299"/>
                    <a:pt x="547" y="303"/>
                    <a:pt x="553" y="311"/>
                  </a:cubicBezTo>
                  <a:cubicBezTo>
                    <a:pt x="558" y="318"/>
                    <a:pt x="568" y="322"/>
                    <a:pt x="577" y="319"/>
                  </a:cubicBezTo>
                  <a:cubicBezTo>
                    <a:pt x="586" y="316"/>
                    <a:pt x="578" y="309"/>
                    <a:pt x="581" y="304"/>
                  </a:cubicBezTo>
                  <a:cubicBezTo>
                    <a:pt x="585" y="299"/>
                    <a:pt x="554" y="283"/>
                    <a:pt x="552" y="278"/>
                  </a:cubicBezTo>
                  <a:cubicBezTo>
                    <a:pt x="550" y="273"/>
                    <a:pt x="560" y="276"/>
                    <a:pt x="569" y="280"/>
                  </a:cubicBezTo>
                  <a:cubicBezTo>
                    <a:pt x="577" y="284"/>
                    <a:pt x="579" y="273"/>
                    <a:pt x="579" y="268"/>
                  </a:cubicBezTo>
                  <a:cubicBezTo>
                    <a:pt x="579" y="264"/>
                    <a:pt x="561" y="263"/>
                    <a:pt x="552" y="268"/>
                  </a:cubicBezTo>
                  <a:cubicBezTo>
                    <a:pt x="544" y="273"/>
                    <a:pt x="536" y="262"/>
                    <a:pt x="547" y="261"/>
                  </a:cubicBezTo>
                  <a:cubicBezTo>
                    <a:pt x="559" y="259"/>
                    <a:pt x="548" y="255"/>
                    <a:pt x="552" y="251"/>
                  </a:cubicBezTo>
                  <a:cubicBezTo>
                    <a:pt x="555" y="248"/>
                    <a:pt x="569" y="261"/>
                    <a:pt x="577" y="259"/>
                  </a:cubicBezTo>
                  <a:cubicBezTo>
                    <a:pt x="584" y="256"/>
                    <a:pt x="589" y="259"/>
                    <a:pt x="596" y="254"/>
                  </a:cubicBezTo>
                  <a:cubicBezTo>
                    <a:pt x="602" y="249"/>
                    <a:pt x="584" y="244"/>
                    <a:pt x="581" y="240"/>
                  </a:cubicBezTo>
                  <a:cubicBezTo>
                    <a:pt x="577" y="236"/>
                    <a:pt x="599" y="237"/>
                    <a:pt x="606" y="238"/>
                  </a:cubicBezTo>
                  <a:cubicBezTo>
                    <a:pt x="612" y="238"/>
                    <a:pt x="614" y="228"/>
                    <a:pt x="609" y="230"/>
                  </a:cubicBezTo>
                  <a:cubicBezTo>
                    <a:pt x="603" y="232"/>
                    <a:pt x="584" y="223"/>
                    <a:pt x="588" y="217"/>
                  </a:cubicBezTo>
                  <a:cubicBezTo>
                    <a:pt x="592" y="211"/>
                    <a:pt x="600" y="218"/>
                    <a:pt x="608" y="214"/>
                  </a:cubicBezTo>
                  <a:cubicBezTo>
                    <a:pt x="616" y="210"/>
                    <a:pt x="609" y="193"/>
                    <a:pt x="603" y="193"/>
                  </a:cubicBezTo>
                  <a:cubicBezTo>
                    <a:pt x="597" y="193"/>
                    <a:pt x="583" y="191"/>
                    <a:pt x="583" y="188"/>
                  </a:cubicBezTo>
                  <a:cubicBezTo>
                    <a:pt x="583" y="185"/>
                    <a:pt x="571" y="183"/>
                    <a:pt x="574" y="180"/>
                  </a:cubicBezTo>
                  <a:cubicBezTo>
                    <a:pt x="578" y="177"/>
                    <a:pt x="582" y="183"/>
                    <a:pt x="590" y="178"/>
                  </a:cubicBezTo>
                  <a:cubicBezTo>
                    <a:pt x="597" y="172"/>
                    <a:pt x="613" y="179"/>
                    <a:pt x="620" y="178"/>
                  </a:cubicBezTo>
                  <a:cubicBezTo>
                    <a:pt x="627" y="176"/>
                    <a:pt x="617" y="163"/>
                    <a:pt x="613" y="166"/>
                  </a:cubicBezTo>
                  <a:cubicBezTo>
                    <a:pt x="609" y="168"/>
                    <a:pt x="596" y="169"/>
                    <a:pt x="595" y="162"/>
                  </a:cubicBezTo>
                  <a:cubicBezTo>
                    <a:pt x="594" y="155"/>
                    <a:pt x="608" y="162"/>
                    <a:pt x="610" y="158"/>
                  </a:cubicBezTo>
                  <a:cubicBezTo>
                    <a:pt x="612" y="155"/>
                    <a:pt x="591" y="146"/>
                    <a:pt x="587" y="153"/>
                  </a:cubicBezTo>
                  <a:cubicBezTo>
                    <a:pt x="584" y="160"/>
                    <a:pt x="572" y="158"/>
                    <a:pt x="578" y="154"/>
                  </a:cubicBezTo>
                  <a:cubicBezTo>
                    <a:pt x="585" y="150"/>
                    <a:pt x="586" y="139"/>
                    <a:pt x="585" y="133"/>
                  </a:cubicBezTo>
                  <a:cubicBezTo>
                    <a:pt x="585" y="127"/>
                    <a:pt x="608" y="127"/>
                    <a:pt x="605" y="118"/>
                  </a:cubicBezTo>
                  <a:cubicBezTo>
                    <a:pt x="603" y="108"/>
                    <a:pt x="616" y="106"/>
                    <a:pt x="624" y="106"/>
                  </a:cubicBezTo>
                  <a:cubicBezTo>
                    <a:pt x="632" y="106"/>
                    <a:pt x="624" y="96"/>
                    <a:pt x="616" y="97"/>
                  </a:cubicBezTo>
                  <a:cubicBezTo>
                    <a:pt x="609" y="98"/>
                    <a:pt x="601" y="107"/>
                    <a:pt x="598" y="103"/>
                  </a:cubicBezTo>
                  <a:cubicBezTo>
                    <a:pt x="594" y="100"/>
                    <a:pt x="606" y="94"/>
                    <a:pt x="613" y="94"/>
                  </a:cubicBezTo>
                  <a:cubicBezTo>
                    <a:pt x="620" y="94"/>
                    <a:pt x="636" y="93"/>
                    <a:pt x="641" y="90"/>
                  </a:cubicBezTo>
                  <a:cubicBezTo>
                    <a:pt x="647" y="87"/>
                    <a:pt x="631" y="84"/>
                    <a:pt x="621" y="85"/>
                  </a:cubicBezTo>
                  <a:cubicBezTo>
                    <a:pt x="610" y="86"/>
                    <a:pt x="610" y="82"/>
                    <a:pt x="626" y="81"/>
                  </a:cubicBezTo>
                  <a:cubicBezTo>
                    <a:pt x="642" y="81"/>
                    <a:pt x="639" y="78"/>
                    <a:pt x="651" y="76"/>
                  </a:cubicBezTo>
                  <a:cubicBezTo>
                    <a:pt x="662" y="75"/>
                    <a:pt x="658" y="70"/>
                    <a:pt x="665" y="70"/>
                  </a:cubicBezTo>
                  <a:cubicBezTo>
                    <a:pt x="672" y="70"/>
                    <a:pt x="691" y="62"/>
                    <a:pt x="691" y="58"/>
                  </a:cubicBezTo>
                  <a:cubicBezTo>
                    <a:pt x="691" y="55"/>
                    <a:pt x="664" y="47"/>
                    <a:pt x="652" y="47"/>
                  </a:cubicBezTo>
                  <a:close/>
                  <a:moveTo>
                    <a:pt x="237" y="338"/>
                  </a:moveTo>
                  <a:cubicBezTo>
                    <a:pt x="237" y="332"/>
                    <a:pt x="231" y="336"/>
                    <a:pt x="228" y="329"/>
                  </a:cubicBezTo>
                  <a:cubicBezTo>
                    <a:pt x="224" y="323"/>
                    <a:pt x="207" y="320"/>
                    <a:pt x="206" y="325"/>
                  </a:cubicBezTo>
                  <a:cubicBezTo>
                    <a:pt x="205" y="327"/>
                    <a:pt x="200" y="330"/>
                    <a:pt x="204" y="335"/>
                  </a:cubicBezTo>
                  <a:cubicBezTo>
                    <a:pt x="208" y="340"/>
                    <a:pt x="211" y="338"/>
                    <a:pt x="216" y="342"/>
                  </a:cubicBezTo>
                  <a:cubicBezTo>
                    <a:pt x="221" y="347"/>
                    <a:pt x="236" y="343"/>
                    <a:pt x="237" y="33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29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1647448" y="1245497"/>
              <a:ext cx="2293370" cy="1764568"/>
            </a:xfrm>
            <a:custGeom>
              <a:avLst/>
              <a:gdLst/>
              <a:ahLst/>
              <a:cxnLst>
                <a:cxn ang="0">
                  <a:pos x="205" y="683"/>
                </a:cxn>
                <a:cxn ang="0">
                  <a:pos x="189" y="227"/>
                </a:cxn>
                <a:cxn ang="0">
                  <a:pos x="387" y="251"/>
                </a:cxn>
                <a:cxn ang="0">
                  <a:pos x="257" y="269"/>
                </a:cxn>
                <a:cxn ang="0">
                  <a:pos x="386" y="334"/>
                </a:cxn>
                <a:cxn ang="0">
                  <a:pos x="237" y="194"/>
                </a:cxn>
                <a:cxn ang="0">
                  <a:pos x="208" y="185"/>
                </a:cxn>
                <a:cxn ang="0">
                  <a:pos x="369" y="213"/>
                </a:cxn>
                <a:cxn ang="0">
                  <a:pos x="297" y="144"/>
                </a:cxn>
                <a:cxn ang="0">
                  <a:pos x="413" y="119"/>
                </a:cxn>
                <a:cxn ang="0">
                  <a:pos x="416" y="161"/>
                </a:cxn>
                <a:cxn ang="0">
                  <a:pos x="420" y="185"/>
                </a:cxn>
                <a:cxn ang="0">
                  <a:pos x="543" y="147"/>
                </a:cxn>
                <a:cxn ang="0">
                  <a:pos x="492" y="232"/>
                </a:cxn>
                <a:cxn ang="0">
                  <a:pos x="687" y="220"/>
                </a:cxn>
                <a:cxn ang="0">
                  <a:pos x="580" y="151"/>
                </a:cxn>
                <a:cxn ang="0">
                  <a:pos x="598" y="83"/>
                </a:cxn>
                <a:cxn ang="0">
                  <a:pos x="587" y="66"/>
                </a:cxn>
                <a:cxn ang="0">
                  <a:pos x="634" y="120"/>
                </a:cxn>
                <a:cxn ang="0">
                  <a:pos x="698" y="180"/>
                </a:cxn>
                <a:cxn ang="0">
                  <a:pos x="795" y="87"/>
                </a:cxn>
                <a:cxn ang="0">
                  <a:pos x="760" y="9"/>
                </a:cxn>
                <a:cxn ang="0">
                  <a:pos x="569" y="46"/>
                </a:cxn>
                <a:cxn ang="0">
                  <a:pos x="624" y="440"/>
                </a:cxn>
                <a:cxn ang="0">
                  <a:pos x="827" y="340"/>
                </a:cxn>
                <a:cxn ang="0">
                  <a:pos x="746" y="272"/>
                </a:cxn>
                <a:cxn ang="0">
                  <a:pos x="624" y="250"/>
                </a:cxn>
                <a:cxn ang="0">
                  <a:pos x="704" y="309"/>
                </a:cxn>
                <a:cxn ang="0">
                  <a:pos x="736" y="409"/>
                </a:cxn>
                <a:cxn ang="0">
                  <a:pos x="850" y="419"/>
                </a:cxn>
                <a:cxn ang="0">
                  <a:pos x="682" y="241"/>
                </a:cxn>
                <a:cxn ang="0">
                  <a:pos x="963" y="641"/>
                </a:cxn>
                <a:cxn ang="0">
                  <a:pos x="110" y="629"/>
                </a:cxn>
                <a:cxn ang="0">
                  <a:pos x="821" y="686"/>
                </a:cxn>
                <a:cxn ang="0">
                  <a:pos x="963" y="609"/>
                </a:cxn>
                <a:cxn ang="0">
                  <a:pos x="895" y="560"/>
                </a:cxn>
                <a:cxn ang="0">
                  <a:pos x="844" y="528"/>
                </a:cxn>
                <a:cxn ang="0">
                  <a:pos x="763" y="463"/>
                </a:cxn>
                <a:cxn ang="0">
                  <a:pos x="727" y="543"/>
                </a:cxn>
                <a:cxn ang="0">
                  <a:pos x="666" y="617"/>
                </a:cxn>
                <a:cxn ang="0">
                  <a:pos x="538" y="525"/>
                </a:cxn>
                <a:cxn ang="0">
                  <a:pos x="579" y="430"/>
                </a:cxn>
                <a:cxn ang="0">
                  <a:pos x="649" y="387"/>
                </a:cxn>
                <a:cxn ang="0">
                  <a:pos x="636" y="339"/>
                </a:cxn>
                <a:cxn ang="0">
                  <a:pos x="580" y="343"/>
                </a:cxn>
                <a:cxn ang="0">
                  <a:pos x="537" y="271"/>
                </a:cxn>
                <a:cxn ang="0">
                  <a:pos x="518" y="292"/>
                </a:cxn>
                <a:cxn ang="0">
                  <a:pos x="508" y="364"/>
                </a:cxn>
                <a:cxn ang="0">
                  <a:pos x="492" y="348"/>
                </a:cxn>
                <a:cxn ang="0">
                  <a:pos x="399" y="348"/>
                </a:cxn>
                <a:cxn ang="0">
                  <a:pos x="268" y="339"/>
                </a:cxn>
                <a:cxn ang="0">
                  <a:pos x="97" y="340"/>
                </a:cxn>
                <a:cxn ang="0">
                  <a:pos x="47" y="341"/>
                </a:cxn>
                <a:cxn ang="0">
                  <a:pos x="127" y="588"/>
                </a:cxn>
                <a:cxn ang="0">
                  <a:pos x="182" y="658"/>
                </a:cxn>
                <a:cxn ang="0">
                  <a:pos x="623" y="689"/>
                </a:cxn>
                <a:cxn ang="0">
                  <a:pos x="701" y="766"/>
                </a:cxn>
                <a:cxn ang="0">
                  <a:pos x="866" y="722"/>
                </a:cxn>
                <a:cxn ang="0">
                  <a:pos x="243" y="407"/>
                </a:cxn>
                <a:cxn ang="0">
                  <a:pos x="241" y="392"/>
                </a:cxn>
                <a:cxn ang="0">
                  <a:pos x="503" y="656"/>
                </a:cxn>
              </a:cxnLst>
              <a:rect l="0" t="0" r="r" b="b"/>
              <a:pathLst>
                <a:path w="1005" h="774">
                  <a:moveTo>
                    <a:pt x="198" y="678"/>
                  </a:moveTo>
                  <a:cubicBezTo>
                    <a:pt x="195" y="675"/>
                    <a:pt x="187" y="676"/>
                    <a:pt x="185" y="672"/>
                  </a:cubicBezTo>
                  <a:cubicBezTo>
                    <a:pt x="184" y="669"/>
                    <a:pt x="176" y="657"/>
                    <a:pt x="172" y="658"/>
                  </a:cubicBezTo>
                  <a:cubicBezTo>
                    <a:pt x="168" y="658"/>
                    <a:pt x="162" y="658"/>
                    <a:pt x="157" y="654"/>
                  </a:cubicBezTo>
                  <a:cubicBezTo>
                    <a:pt x="152" y="651"/>
                    <a:pt x="149" y="650"/>
                    <a:pt x="146" y="653"/>
                  </a:cubicBezTo>
                  <a:cubicBezTo>
                    <a:pt x="142" y="655"/>
                    <a:pt x="149" y="655"/>
                    <a:pt x="149" y="658"/>
                  </a:cubicBezTo>
                  <a:cubicBezTo>
                    <a:pt x="149" y="660"/>
                    <a:pt x="151" y="662"/>
                    <a:pt x="154" y="661"/>
                  </a:cubicBezTo>
                  <a:cubicBezTo>
                    <a:pt x="157" y="661"/>
                    <a:pt x="159" y="667"/>
                    <a:pt x="162" y="667"/>
                  </a:cubicBezTo>
                  <a:cubicBezTo>
                    <a:pt x="165" y="668"/>
                    <a:pt x="166" y="672"/>
                    <a:pt x="170" y="672"/>
                  </a:cubicBezTo>
                  <a:cubicBezTo>
                    <a:pt x="173" y="672"/>
                    <a:pt x="174" y="676"/>
                    <a:pt x="176" y="679"/>
                  </a:cubicBezTo>
                  <a:cubicBezTo>
                    <a:pt x="177" y="681"/>
                    <a:pt x="181" y="679"/>
                    <a:pt x="181" y="681"/>
                  </a:cubicBezTo>
                  <a:cubicBezTo>
                    <a:pt x="181" y="683"/>
                    <a:pt x="185" y="685"/>
                    <a:pt x="186" y="687"/>
                  </a:cubicBezTo>
                  <a:cubicBezTo>
                    <a:pt x="193" y="688"/>
                    <a:pt x="199" y="689"/>
                    <a:pt x="204" y="687"/>
                  </a:cubicBezTo>
                  <a:cubicBezTo>
                    <a:pt x="204" y="686"/>
                    <a:pt x="205" y="684"/>
                    <a:pt x="205" y="683"/>
                  </a:cubicBezTo>
                  <a:cubicBezTo>
                    <a:pt x="207" y="680"/>
                    <a:pt x="202" y="682"/>
                    <a:pt x="198" y="678"/>
                  </a:cubicBezTo>
                  <a:close/>
                  <a:moveTo>
                    <a:pt x="190" y="281"/>
                  </a:moveTo>
                  <a:cubicBezTo>
                    <a:pt x="199" y="283"/>
                    <a:pt x="200" y="299"/>
                    <a:pt x="206" y="299"/>
                  </a:cubicBezTo>
                  <a:cubicBezTo>
                    <a:pt x="210" y="299"/>
                    <a:pt x="207" y="294"/>
                    <a:pt x="213" y="294"/>
                  </a:cubicBezTo>
                  <a:cubicBezTo>
                    <a:pt x="220" y="294"/>
                    <a:pt x="218" y="291"/>
                    <a:pt x="224" y="291"/>
                  </a:cubicBezTo>
                  <a:cubicBezTo>
                    <a:pt x="230" y="292"/>
                    <a:pt x="235" y="290"/>
                    <a:pt x="235" y="283"/>
                  </a:cubicBezTo>
                  <a:cubicBezTo>
                    <a:pt x="235" y="276"/>
                    <a:pt x="240" y="273"/>
                    <a:pt x="246" y="272"/>
                  </a:cubicBezTo>
                  <a:cubicBezTo>
                    <a:pt x="252" y="270"/>
                    <a:pt x="246" y="263"/>
                    <a:pt x="255" y="261"/>
                  </a:cubicBezTo>
                  <a:cubicBezTo>
                    <a:pt x="263" y="259"/>
                    <a:pt x="287" y="249"/>
                    <a:pt x="291" y="246"/>
                  </a:cubicBezTo>
                  <a:cubicBezTo>
                    <a:pt x="295" y="243"/>
                    <a:pt x="286" y="239"/>
                    <a:pt x="277" y="233"/>
                  </a:cubicBezTo>
                  <a:cubicBezTo>
                    <a:pt x="268" y="228"/>
                    <a:pt x="261" y="226"/>
                    <a:pt x="254" y="231"/>
                  </a:cubicBezTo>
                  <a:cubicBezTo>
                    <a:pt x="247" y="235"/>
                    <a:pt x="252" y="226"/>
                    <a:pt x="247" y="228"/>
                  </a:cubicBezTo>
                  <a:cubicBezTo>
                    <a:pt x="241" y="231"/>
                    <a:pt x="226" y="224"/>
                    <a:pt x="224" y="222"/>
                  </a:cubicBezTo>
                  <a:cubicBezTo>
                    <a:pt x="222" y="219"/>
                    <a:pt x="195" y="227"/>
                    <a:pt x="189" y="227"/>
                  </a:cubicBezTo>
                  <a:cubicBezTo>
                    <a:pt x="182" y="227"/>
                    <a:pt x="189" y="234"/>
                    <a:pt x="194" y="238"/>
                  </a:cubicBezTo>
                  <a:cubicBezTo>
                    <a:pt x="198" y="241"/>
                    <a:pt x="183" y="252"/>
                    <a:pt x="186" y="255"/>
                  </a:cubicBezTo>
                  <a:cubicBezTo>
                    <a:pt x="189" y="257"/>
                    <a:pt x="183" y="264"/>
                    <a:pt x="176" y="272"/>
                  </a:cubicBezTo>
                  <a:cubicBezTo>
                    <a:pt x="169" y="280"/>
                    <a:pt x="181" y="279"/>
                    <a:pt x="190" y="281"/>
                  </a:cubicBezTo>
                  <a:close/>
                  <a:moveTo>
                    <a:pt x="440" y="322"/>
                  </a:moveTo>
                  <a:cubicBezTo>
                    <a:pt x="443" y="319"/>
                    <a:pt x="455" y="329"/>
                    <a:pt x="456" y="322"/>
                  </a:cubicBezTo>
                  <a:cubicBezTo>
                    <a:pt x="456" y="314"/>
                    <a:pt x="442" y="311"/>
                    <a:pt x="436" y="307"/>
                  </a:cubicBezTo>
                  <a:cubicBezTo>
                    <a:pt x="430" y="303"/>
                    <a:pt x="427" y="305"/>
                    <a:pt x="418" y="298"/>
                  </a:cubicBezTo>
                  <a:cubicBezTo>
                    <a:pt x="408" y="291"/>
                    <a:pt x="420" y="287"/>
                    <a:pt x="413" y="282"/>
                  </a:cubicBezTo>
                  <a:cubicBezTo>
                    <a:pt x="406" y="276"/>
                    <a:pt x="404" y="261"/>
                    <a:pt x="409" y="256"/>
                  </a:cubicBezTo>
                  <a:cubicBezTo>
                    <a:pt x="414" y="251"/>
                    <a:pt x="419" y="244"/>
                    <a:pt x="410" y="240"/>
                  </a:cubicBezTo>
                  <a:cubicBezTo>
                    <a:pt x="401" y="237"/>
                    <a:pt x="387" y="243"/>
                    <a:pt x="388" y="245"/>
                  </a:cubicBezTo>
                  <a:cubicBezTo>
                    <a:pt x="390" y="247"/>
                    <a:pt x="402" y="254"/>
                    <a:pt x="402" y="257"/>
                  </a:cubicBezTo>
                  <a:cubicBezTo>
                    <a:pt x="402" y="260"/>
                    <a:pt x="391" y="249"/>
                    <a:pt x="387" y="251"/>
                  </a:cubicBezTo>
                  <a:cubicBezTo>
                    <a:pt x="383" y="254"/>
                    <a:pt x="378" y="246"/>
                    <a:pt x="375" y="251"/>
                  </a:cubicBezTo>
                  <a:cubicBezTo>
                    <a:pt x="371" y="256"/>
                    <a:pt x="379" y="274"/>
                    <a:pt x="382" y="279"/>
                  </a:cubicBezTo>
                  <a:cubicBezTo>
                    <a:pt x="385" y="284"/>
                    <a:pt x="379" y="284"/>
                    <a:pt x="375" y="285"/>
                  </a:cubicBezTo>
                  <a:cubicBezTo>
                    <a:pt x="371" y="286"/>
                    <a:pt x="371" y="271"/>
                    <a:pt x="367" y="265"/>
                  </a:cubicBezTo>
                  <a:cubicBezTo>
                    <a:pt x="363" y="260"/>
                    <a:pt x="347" y="253"/>
                    <a:pt x="346" y="257"/>
                  </a:cubicBezTo>
                  <a:cubicBezTo>
                    <a:pt x="345" y="261"/>
                    <a:pt x="356" y="261"/>
                    <a:pt x="354" y="267"/>
                  </a:cubicBezTo>
                  <a:cubicBezTo>
                    <a:pt x="353" y="272"/>
                    <a:pt x="347" y="263"/>
                    <a:pt x="341" y="268"/>
                  </a:cubicBezTo>
                  <a:cubicBezTo>
                    <a:pt x="336" y="272"/>
                    <a:pt x="337" y="269"/>
                    <a:pt x="338" y="265"/>
                  </a:cubicBezTo>
                  <a:cubicBezTo>
                    <a:pt x="339" y="260"/>
                    <a:pt x="330" y="255"/>
                    <a:pt x="320" y="256"/>
                  </a:cubicBezTo>
                  <a:cubicBezTo>
                    <a:pt x="310" y="257"/>
                    <a:pt x="315" y="264"/>
                    <a:pt x="312" y="267"/>
                  </a:cubicBezTo>
                  <a:cubicBezTo>
                    <a:pt x="309" y="269"/>
                    <a:pt x="294" y="265"/>
                    <a:pt x="304" y="263"/>
                  </a:cubicBezTo>
                  <a:cubicBezTo>
                    <a:pt x="313" y="261"/>
                    <a:pt x="309" y="256"/>
                    <a:pt x="306" y="250"/>
                  </a:cubicBezTo>
                  <a:cubicBezTo>
                    <a:pt x="302" y="245"/>
                    <a:pt x="293" y="251"/>
                    <a:pt x="277" y="257"/>
                  </a:cubicBezTo>
                  <a:cubicBezTo>
                    <a:pt x="262" y="262"/>
                    <a:pt x="255" y="268"/>
                    <a:pt x="257" y="269"/>
                  </a:cubicBezTo>
                  <a:cubicBezTo>
                    <a:pt x="259" y="269"/>
                    <a:pt x="259" y="272"/>
                    <a:pt x="253" y="277"/>
                  </a:cubicBezTo>
                  <a:cubicBezTo>
                    <a:pt x="247" y="282"/>
                    <a:pt x="253" y="286"/>
                    <a:pt x="259" y="286"/>
                  </a:cubicBezTo>
                  <a:cubicBezTo>
                    <a:pt x="264" y="286"/>
                    <a:pt x="260" y="290"/>
                    <a:pt x="263" y="292"/>
                  </a:cubicBezTo>
                  <a:cubicBezTo>
                    <a:pt x="267" y="293"/>
                    <a:pt x="285" y="285"/>
                    <a:pt x="290" y="288"/>
                  </a:cubicBezTo>
                  <a:cubicBezTo>
                    <a:pt x="295" y="292"/>
                    <a:pt x="260" y="294"/>
                    <a:pt x="260" y="300"/>
                  </a:cubicBezTo>
                  <a:cubicBezTo>
                    <a:pt x="260" y="306"/>
                    <a:pt x="279" y="309"/>
                    <a:pt x="293" y="307"/>
                  </a:cubicBezTo>
                  <a:cubicBezTo>
                    <a:pt x="307" y="304"/>
                    <a:pt x="332" y="309"/>
                    <a:pt x="332" y="312"/>
                  </a:cubicBezTo>
                  <a:cubicBezTo>
                    <a:pt x="332" y="316"/>
                    <a:pt x="315" y="315"/>
                    <a:pt x="303" y="314"/>
                  </a:cubicBezTo>
                  <a:cubicBezTo>
                    <a:pt x="290" y="314"/>
                    <a:pt x="269" y="318"/>
                    <a:pt x="270" y="322"/>
                  </a:cubicBezTo>
                  <a:cubicBezTo>
                    <a:pt x="271" y="326"/>
                    <a:pt x="272" y="326"/>
                    <a:pt x="285" y="332"/>
                  </a:cubicBezTo>
                  <a:cubicBezTo>
                    <a:pt x="298" y="338"/>
                    <a:pt x="312" y="329"/>
                    <a:pt x="311" y="338"/>
                  </a:cubicBezTo>
                  <a:cubicBezTo>
                    <a:pt x="311" y="346"/>
                    <a:pt x="318" y="348"/>
                    <a:pt x="336" y="349"/>
                  </a:cubicBezTo>
                  <a:cubicBezTo>
                    <a:pt x="353" y="349"/>
                    <a:pt x="361" y="341"/>
                    <a:pt x="370" y="341"/>
                  </a:cubicBezTo>
                  <a:cubicBezTo>
                    <a:pt x="378" y="342"/>
                    <a:pt x="382" y="340"/>
                    <a:pt x="386" y="334"/>
                  </a:cubicBezTo>
                  <a:cubicBezTo>
                    <a:pt x="390" y="328"/>
                    <a:pt x="394" y="332"/>
                    <a:pt x="395" y="335"/>
                  </a:cubicBezTo>
                  <a:cubicBezTo>
                    <a:pt x="396" y="338"/>
                    <a:pt x="407" y="337"/>
                    <a:pt x="409" y="340"/>
                  </a:cubicBezTo>
                  <a:cubicBezTo>
                    <a:pt x="416" y="346"/>
                    <a:pt x="437" y="344"/>
                    <a:pt x="445" y="340"/>
                  </a:cubicBezTo>
                  <a:cubicBezTo>
                    <a:pt x="453" y="336"/>
                    <a:pt x="441" y="325"/>
                    <a:pt x="437" y="330"/>
                  </a:cubicBezTo>
                  <a:cubicBezTo>
                    <a:pt x="433" y="335"/>
                    <a:pt x="430" y="332"/>
                    <a:pt x="429" y="330"/>
                  </a:cubicBezTo>
                  <a:cubicBezTo>
                    <a:pt x="428" y="327"/>
                    <a:pt x="437" y="326"/>
                    <a:pt x="440" y="322"/>
                  </a:cubicBezTo>
                  <a:close/>
                  <a:moveTo>
                    <a:pt x="250" y="199"/>
                  </a:moveTo>
                  <a:cubicBezTo>
                    <a:pt x="259" y="200"/>
                    <a:pt x="268" y="192"/>
                    <a:pt x="267" y="188"/>
                  </a:cubicBezTo>
                  <a:cubicBezTo>
                    <a:pt x="267" y="183"/>
                    <a:pt x="245" y="199"/>
                    <a:pt x="250" y="199"/>
                  </a:cubicBezTo>
                  <a:close/>
                  <a:moveTo>
                    <a:pt x="208" y="185"/>
                  </a:moveTo>
                  <a:cubicBezTo>
                    <a:pt x="212" y="187"/>
                    <a:pt x="208" y="194"/>
                    <a:pt x="212" y="192"/>
                  </a:cubicBezTo>
                  <a:cubicBezTo>
                    <a:pt x="216" y="190"/>
                    <a:pt x="217" y="189"/>
                    <a:pt x="220" y="190"/>
                  </a:cubicBezTo>
                  <a:cubicBezTo>
                    <a:pt x="226" y="192"/>
                    <a:pt x="227" y="187"/>
                    <a:pt x="229" y="185"/>
                  </a:cubicBezTo>
                  <a:cubicBezTo>
                    <a:pt x="232" y="182"/>
                    <a:pt x="231" y="194"/>
                    <a:pt x="237" y="194"/>
                  </a:cubicBezTo>
                  <a:cubicBezTo>
                    <a:pt x="243" y="194"/>
                    <a:pt x="242" y="182"/>
                    <a:pt x="247" y="185"/>
                  </a:cubicBezTo>
                  <a:cubicBezTo>
                    <a:pt x="252" y="189"/>
                    <a:pt x="253" y="184"/>
                    <a:pt x="254" y="180"/>
                  </a:cubicBezTo>
                  <a:cubicBezTo>
                    <a:pt x="255" y="177"/>
                    <a:pt x="255" y="171"/>
                    <a:pt x="261" y="170"/>
                  </a:cubicBezTo>
                  <a:cubicBezTo>
                    <a:pt x="266" y="169"/>
                    <a:pt x="262" y="175"/>
                    <a:pt x="264" y="180"/>
                  </a:cubicBezTo>
                  <a:cubicBezTo>
                    <a:pt x="268" y="186"/>
                    <a:pt x="274" y="180"/>
                    <a:pt x="275" y="177"/>
                  </a:cubicBezTo>
                  <a:cubicBezTo>
                    <a:pt x="275" y="174"/>
                    <a:pt x="284" y="176"/>
                    <a:pt x="284" y="173"/>
                  </a:cubicBezTo>
                  <a:cubicBezTo>
                    <a:pt x="283" y="169"/>
                    <a:pt x="286" y="168"/>
                    <a:pt x="284" y="164"/>
                  </a:cubicBezTo>
                  <a:cubicBezTo>
                    <a:pt x="281" y="160"/>
                    <a:pt x="288" y="161"/>
                    <a:pt x="291" y="158"/>
                  </a:cubicBezTo>
                  <a:cubicBezTo>
                    <a:pt x="294" y="155"/>
                    <a:pt x="287" y="158"/>
                    <a:pt x="282" y="153"/>
                  </a:cubicBezTo>
                  <a:cubicBezTo>
                    <a:pt x="277" y="149"/>
                    <a:pt x="275" y="155"/>
                    <a:pt x="275" y="158"/>
                  </a:cubicBezTo>
                  <a:cubicBezTo>
                    <a:pt x="275" y="161"/>
                    <a:pt x="265" y="158"/>
                    <a:pt x="260" y="156"/>
                  </a:cubicBezTo>
                  <a:cubicBezTo>
                    <a:pt x="254" y="154"/>
                    <a:pt x="247" y="163"/>
                    <a:pt x="239" y="167"/>
                  </a:cubicBezTo>
                  <a:cubicBezTo>
                    <a:pt x="231" y="171"/>
                    <a:pt x="231" y="178"/>
                    <a:pt x="223" y="177"/>
                  </a:cubicBezTo>
                  <a:cubicBezTo>
                    <a:pt x="216" y="177"/>
                    <a:pt x="205" y="184"/>
                    <a:pt x="208" y="185"/>
                  </a:cubicBezTo>
                  <a:close/>
                  <a:moveTo>
                    <a:pt x="286" y="183"/>
                  </a:moveTo>
                  <a:cubicBezTo>
                    <a:pt x="279" y="183"/>
                    <a:pt x="280" y="190"/>
                    <a:pt x="288" y="190"/>
                  </a:cubicBezTo>
                  <a:cubicBezTo>
                    <a:pt x="296" y="190"/>
                    <a:pt x="298" y="193"/>
                    <a:pt x="287" y="192"/>
                  </a:cubicBezTo>
                  <a:cubicBezTo>
                    <a:pt x="275" y="192"/>
                    <a:pt x="270" y="202"/>
                    <a:pt x="278" y="200"/>
                  </a:cubicBezTo>
                  <a:cubicBezTo>
                    <a:pt x="286" y="198"/>
                    <a:pt x="296" y="198"/>
                    <a:pt x="290" y="200"/>
                  </a:cubicBezTo>
                  <a:cubicBezTo>
                    <a:pt x="284" y="202"/>
                    <a:pt x="268" y="203"/>
                    <a:pt x="270" y="206"/>
                  </a:cubicBezTo>
                  <a:cubicBezTo>
                    <a:pt x="271" y="208"/>
                    <a:pt x="278" y="208"/>
                    <a:pt x="284" y="210"/>
                  </a:cubicBezTo>
                  <a:cubicBezTo>
                    <a:pt x="291" y="213"/>
                    <a:pt x="295" y="214"/>
                    <a:pt x="300" y="209"/>
                  </a:cubicBezTo>
                  <a:cubicBezTo>
                    <a:pt x="305" y="203"/>
                    <a:pt x="311" y="198"/>
                    <a:pt x="309" y="205"/>
                  </a:cubicBezTo>
                  <a:cubicBezTo>
                    <a:pt x="306" y="213"/>
                    <a:pt x="317" y="207"/>
                    <a:pt x="330" y="207"/>
                  </a:cubicBezTo>
                  <a:cubicBezTo>
                    <a:pt x="344" y="206"/>
                    <a:pt x="328" y="215"/>
                    <a:pt x="314" y="216"/>
                  </a:cubicBezTo>
                  <a:cubicBezTo>
                    <a:pt x="300" y="217"/>
                    <a:pt x="302" y="224"/>
                    <a:pt x="313" y="226"/>
                  </a:cubicBezTo>
                  <a:cubicBezTo>
                    <a:pt x="324" y="229"/>
                    <a:pt x="348" y="219"/>
                    <a:pt x="353" y="214"/>
                  </a:cubicBezTo>
                  <a:cubicBezTo>
                    <a:pt x="359" y="208"/>
                    <a:pt x="364" y="217"/>
                    <a:pt x="369" y="213"/>
                  </a:cubicBezTo>
                  <a:cubicBezTo>
                    <a:pt x="375" y="209"/>
                    <a:pt x="385" y="213"/>
                    <a:pt x="395" y="211"/>
                  </a:cubicBezTo>
                  <a:cubicBezTo>
                    <a:pt x="404" y="209"/>
                    <a:pt x="406" y="191"/>
                    <a:pt x="399" y="188"/>
                  </a:cubicBezTo>
                  <a:cubicBezTo>
                    <a:pt x="392" y="185"/>
                    <a:pt x="392" y="192"/>
                    <a:pt x="386" y="193"/>
                  </a:cubicBezTo>
                  <a:cubicBezTo>
                    <a:pt x="381" y="194"/>
                    <a:pt x="378" y="187"/>
                    <a:pt x="373" y="182"/>
                  </a:cubicBezTo>
                  <a:cubicBezTo>
                    <a:pt x="369" y="178"/>
                    <a:pt x="372" y="169"/>
                    <a:pt x="365" y="170"/>
                  </a:cubicBezTo>
                  <a:cubicBezTo>
                    <a:pt x="359" y="171"/>
                    <a:pt x="345" y="182"/>
                    <a:pt x="353" y="183"/>
                  </a:cubicBezTo>
                  <a:cubicBezTo>
                    <a:pt x="362" y="184"/>
                    <a:pt x="359" y="188"/>
                    <a:pt x="354" y="190"/>
                  </a:cubicBezTo>
                  <a:cubicBezTo>
                    <a:pt x="350" y="192"/>
                    <a:pt x="365" y="196"/>
                    <a:pt x="363" y="199"/>
                  </a:cubicBezTo>
                  <a:cubicBezTo>
                    <a:pt x="361" y="202"/>
                    <a:pt x="338" y="199"/>
                    <a:pt x="337" y="194"/>
                  </a:cubicBezTo>
                  <a:cubicBezTo>
                    <a:pt x="336" y="189"/>
                    <a:pt x="318" y="180"/>
                    <a:pt x="310" y="182"/>
                  </a:cubicBezTo>
                  <a:cubicBezTo>
                    <a:pt x="303" y="184"/>
                    <a:pt x="306" y="176"/>
                    <a:pt x="298" y="176"/>
                  </a:cubicBezTo>
                  <a:cubicBezTo>
                    <a:pt x="291" y="175"/>
                    <a:pt x="293" y="182"/>
                    <a:pt x="286" y="183"/>
                  </a:cubicBezTo>
                  <a:close/>
                  <a:moveTo>
                    <a:pt x="312" y="147"/>
                  </a:moveTo>
                  <a:cubicBezTo>
                    <a:pt x="315" y="141"/>
                    <a:pt x="296" y="142"/>
                    <a:pt x="297" y="144"/>
                  </a:cubicBezTo>
                  <a:cubicBezTo>
                    <a:pt x="301" y="148"/>
                    <a:pt x="310" y="153"/>
                    <a:pt x="312" y="147"/>
                  </a:cubicBezTo>
                  <a:close/>
                  <a:moveTo>
                    <a:pt x="354" y="144"/>
                  </a:moveTo>
                  <a:cubicBezTo>
                    <a:pt x="360" y="143"/>
                    <a:pt x="357" y="138"/>
                    <a:pt x="347" y="140"/>
                  </a:cubicBezTo>
                  <a:cubicBezTo>
                    <a:pt x="336" y="141"/>
                    <a:pt x="318" y="141"/>
                    <a:pt x="318" y="149"/>
                  </a:cubicBezTo>
                  <a:cubicBezTo>
                    <a:pt x="318" y="155"/>
                    <a:pt x="322" y="158"/>
                    <a:pt x="333" y="159"/>
                  </a:cubicBezTo>
                  <a:cubicBezTo>
                    <a:pt x="345" y="160"/>
                    <a:pt x="355" y="149"/>
                    <a:pt x="349" y="149"/>
                  </a:cubicBezTo>
                  <a:cubicBezTo>
                    <a:pt x="344" y="149"/>
                    <a:pt x="347" y="145"/>
                    <a:pt x="354" y="144"/>
                  </a:cubicBezTo>
                  <a:close/>
                  <a:moveTo>
                    <a:pt x="329" y="135"/>
                  </a:moveTo>
                  <a:cubicBezTo>
                    <a:pt x="334" y="137"/>
                    <a:pt x="339" y="130"/>
                    <a:pt x="343" y="133"/>
                  </a:cubicBezTo>
                  <a:cubicBezTo>
                    <a:pt x="346" y="136"/>
                    <a:pt x="362" y="139"/>
                    <a:pt x="362" y="131"/>
                  </a:cubicBezTo>
                  <a:cubicBezTo>
                    <a:pt x="362" y="123"/>
                    <a:pt x="342" y="122"/>
                    <a:pt x="337" y="125"/>
                  </a:cubicBezTo>
                  <a:cubicBezTo>
                    <a:pt x="332" y="128"/>
                    <a:pt x="309" y="129"/>
                    <a:pt x="316" y="134"/>
                  </a:cubicBezTo>
                  <a:cubicBezTo>
                    <a:pt x="320" y="137"/>
                    <a:pt x="324" y="133"/>
                    <a:pt x="329" y="135"/>
                  </a:cubicBezTo>
                  <a:close/>
                  <a:moveTo>
                    <a:pt x="413" y="119"/>
                  </a:moveTo>
                  <a:cubicBezTo>
                    <a:pt x="419" y="115"/>
                    <a:pt x="430" y="122"/>
                    <a:pt x="428" y="126"/>
                  </a:cubicBezTo>
                  <a:cubicBezTo>
                    <a:pt x="426" y="131"/>
                    <a:pt x="409" y="125"/>
                    <a:pt x="410" y="129"/>
                  </a:cubicBezTo>
                  <a:cubicBezTo>
                    <a:pt x="410" y="131"/>
                    <a:pt x="412" y="137"/>
                    <a:pt x="424" y="133"/>
                  </a:cubicBezTo>
                  <a:cubicBezTo>
                    <a:pt x="436" y="130"/>
                    <a:pt x="446" y="132"/>
                    <a:pt x="454" y="139"/>
                  </a:cubicBezTo>
                  <a:cubicBezTo>
                    <a:pt x="462" y="145"/>
                    <a:pt x="470" y="148"/>
                    <a:pt x="475" y="141"/>
                  </a:cubicBezTo>
                  <a:cubicBezTo>
                    <a:pt x="481" y="135"/>
                    <a:pt x="468" y="134"/>
                    <a:pt x="471" y="129"/>
                  </a:cubicBezTo>
                  <a:cubicBezTo>
                    <a:pt x="473" y="124"/>
                    <a:pt x="463" y="121"/>
                    <a:pt x="457" y="121"/>
                  </a:cubicBezTo>
                  <a:cubicBezTo>
                    <a:pt x="452" y="121"/>
                    <a:pt x="450" y="111"/>
                    <a:pt x="445" y="113"/>
                  </a:cubicBezTo>
                  <a:cubicBezTo>
                    <a:pt x="441" y="115"/>
                    <a:pt x="438" y="118"/>
                    <a:pt x="438" y="112"/>
                  </a:cubicBezTo>
                  <a:cubicBezTo>
                    <a:pt x="438" y="105"/>
                    <a:pt x="412" y="105"/>
                    <a:pt x="405" y="107"/>
                  </a:cubicBezTo>
                  <a:cubicBezTo>
                    <a:pt x="399" y="110"/>
                    <a:pt x="407" y="123"/>
                    <a:pt x="413" y="119"/>
                  </a:cubicBezTo>
                  <a:close/>
                  <a:moveTo>
                    <a:pt x="416" y="161"/>
                  </a:moveTo>
                  <a:cubicBezTo>
                    <a:pt x="420" y="156"/>
                    <a:pt x="400" y="140"/>
                    <a:pt x="399" y="148"/>
                  </a:cubicBezTo>
                  <a:cubicBezTo>
                    <a:pt x="398" y="155"/>
                    <a:pt x="412" y="166"/>
                    <a:pt x="416" y="161"/>
                  </a:cubicBezTo>
                  <a:close/>
                  <a:moveTo>
                    <a:pt x="481" y="96"/>
                  </a:moveTo>
                  <a:cubicBezTo>
                    <a:pt x="485" y="90"/>
                    <a:pt x="460" y="85"/>
                    <a:pt x="466" y="90"/>
                  </a:cubicBezTo>
                  <a:cubicBezTo>
                    <a:pt x="470" y="93"/>
                    <a:pt x="478" y="102"/>
                    <a:pt x="481" y="96"/>
                  </a:cubicBezTo>
                  <a:close/>
                  <a:moveTo>
                    <a:pt x="425" y="209"/>
                  </a:moveTo>
                  <a:cubicBezTo>
                    <a:pt x="428" y="205"/>
                    <a:pt x="417" y="197"/>
                    <a:pt x="414" y="204"/>
                  </a:cubicBezTo>
                  <a:cubicBezTo>
                    <a:pt x="411" y="211"/>
                    <a:pt x="421" y="213"/>
                    <a:pt x="425" y="209"/>
                  </a:cubicBezTo>
                  <a:close/>
                  <a:moveTo>
                    <a:pt x="481" y="174"/>
                  </a:moveTo>
                  <a:cubicBezTo>
                    <a:pt x="481" y="179"/>
                    <a:pt x="469" y="173"/>
                    <a:pt x="460" y="170"/>
                  </a:cubicBezTo>
                  <a:cubicBezTo>
                    <a:pt x="451" y="166"/>
                    <a:pt x="457" y="177"/>
                    <a:pt x="464" y="183"/>
                  </a:cubicBezTo>
                  <a:cubicBezTo>
                    <a:pt x="471" y="189"/>
                    <a:pt x="460" y="186"/>
                    <a:pt x="451" y="179"/>
                  </a:cubicBezTo>
                  <a:cubicBezTo>
                    <a:pt x="441" y="173"/>
                    <a:pt x="442" y="184"/>
                    <a:pt x="447" y="187"/>
                  </a:cubicBezTo>
                  <a:cubicBezTo>
                    <a:pt x="451" y="191"/>
                    <a:pt x="446" y="196"/>
                    <a:pt x="440" y="188"/>
                  </a:cubicBezTo>
                  <a:cubicBezTo>
                    <a:pt x="434" y="180"/>
                    <a:pt x="431" y="171"/>
                    <a:pt x="421" y="171"/>
                  </a:cubicBezTo>
                  <a:cubicBezTo>
                    <a:pt x="412" y="170"/>
                    <a:pt x="416" y="180"/>
                    <a:pt x="420" y="185"/>
                  </a:cubicBezTo>
                  <a:cubicBezTo>
                    <a:pt x="425" y="191"/>
                    <a:pt x="430" y="193"/>
                    <a:pt x="438" y="197"/>
                  </a:cubicBezTo>
                  <a:cubicBezTo>
                    <a:pt x="446" y="202"/>
                    <a:pt x="459" y="195"/>
                    <a:pt x="465" y="197"/>
                  </a:cubicBezTo>
                  <a:cubicBezTo>
                    <a:pt x="471" y="198"/>
                    <a:pt x="458" y="206"/>
                    <a:pt x="462" y="211"/>
                  </a:cubicBezTo>
                  <a:cubicBezTo>
                    <a:pt x="466" y="216"/>
                    <a:pt x="477" y="212"/>
                    <a:pt x="486" y="212"/>
                  </a:cubicBezTo>
                  <a:cubicBezTo>
                    <a:pt x="494" y="211"/>
                    <a:pt x="490" y="206"/>
                    <a:pt x="495" y="203"/>
                  </a:cubicBezTo>
                  <a:cubicBezTo>
                    <a:pt x="500" y="199"/>
                    <a:pt x="490" y="200"/>
                    <a:pt x="494" y="191"/>
                  </a:cubicBezTo>
                  <a:cubicBezTo>
                    <a:pt x="498" y="183"/>
                    <a:pt x="482" y="169"/>
                    <a:pt x="481" y="174"/>
                  </a:cubicBezTo>
                  <a:close/>
                  <a:moveTo>
                    <a:pt x="502" y="145"/>
                  </a:moveTo>
                  <a:cubicBezTo>
                    <a:pt x="510" y="145"/>
                    <a:pt x="516" y="144"/>
                    <a:pt x="522" y="141"/>
                  </a:cubicBezTo>
                  <a:cubicBezTo>
                    <a:pt x="529" y="139"/>
                    <a:pt x="519" y="139"/>
                    <a:pt x="523" y="133"/>
                  </a:cubicBezTo>
                  <a:cubicBezTo>
                    <a:pt x="528" y="127"/>
                    <a:pt x="512" y="126"/>
                    <a:pt x="511" y="128"/>
                  </a:cubicBezTo>
                  <a:cubicBezTo>
                    <a:pt x="510" y="130"/>
                    <a:pt x="491" y="116"/>
                    <a:pt x="488" y="121"/>
                  </a:cubicBezTo>
                  <a:cubicBezTo>
                    <a:pt x="485" y="125"/>
                    <a:pt x="495" y="145"/>
                    <a:pt x="502" y="145"/>
                  </a:cubicBezTo>
                  <a:close/>
                  <a:moveTo>
                    <a:pt x="543" y="147"/>
                  </a:moveTo>
                  <a:cubicBezTo>
                    <a:pt x="542" y="144"/>
                    <a:pt x="504" y="149"/>
                    <a:pt x="510" y="153"/>
                  </a:cubicBezTo>
                  <a:cubicBezTo>
                    <a:pt x="520" y="161"/>
                    <a:pt x="544" y="150"/>
                    <a:pt x="543" y="147"/>
                  </a:cubicBezTo>
                  <a:close/>
                  <a:moveTo>
                    <a:pt x="537" y="220"/>
                  </a:moveTo>
                  <a:cubicBezTo>
                    <a:pt x="546" y="220"/>
                    <a:pt x="542" y="209"/>
                    <a:pt x="532" y="201"/>
                  </a:cubicBezTo>
                  <a:cubicBezTo>
                    <a:pt x="522" y="194"/>
                    <a:pt x="499" y="209"/>
                    <a:pt x="503" y="212"/>
                  </a:cubicBezTo>
                  <a:cubicBezTo>
                    <a:pt x="508" y="216"/>
                    <a:pt x="528" y="221"/>
                    <a:pt x="537" y="220"/>
                  </a:cubicBezTo>
                  <a:close/>
                  <a:moveTo>
                    <a:pt x="473" y="290"/>
                  </a:moveTo>
                  <a:cubicBezTo>
                    <a:pt x="484" y="298"/>
                    <a:pt x="481" y="284"/>
                    <a:pt x="493" y="285"/>
                  </a:cubicBezTo>
                  <a:cubicBezTo>
                    <a:pt x="506" y="285"/>
                    <a:pt x="506" y="265"/>
                    <a:pt x="508" y="257"/>
                  </a:cubicBezTo>
                  <a:cubicBezTo>
                    <a:pt x="510" y="250"/>
                    <a:pt x="498" y="250"/>
                    <a:pt x="501" y="256"/>
                  </a:cubicBezTo>
                  <a:cubicBezTo>
                    <a:pt x="504" y="261"/>
                    <a:pt x="501" y="267"/>
                    <a:pt x="500" y="260"/>
                  </a:cubicBezTo>
                  <a:cubicBezTo>
                    <a:pt x="499" y="254"/>
                    <a:pt x="489" y="260"/>
                    <a:pt x="486" y="255"/>
                  </a:cubicBezTo>
                  <a:cubicBezTo>
                    <a:pt x="482" y="250"/>
                    <a:pt x="497" y="249"/>
                    <a:pt x="500" y="243"/>
                  </a:cubicBezTo>
                  <a:cubicBezTo>
                    <a:pt x="504" y="236"/>
                    <a:pt x="489" y="237"/>
                    <a:pt x="492" y="232"/>
                  </a:cubicBezTo>
                  <a:cubicBezTo>
                    <a:pt x="496" y="227"/>
                    <a:pt x="470" y="233"/>
                    <a:pt x="478" y="236"/>
                  </a:cubicBezTo>
                  <a:cubicBezTo>
                    <a:pt x="485" y="239"/>
                    <a:pt x="478" y="243"/>
                    <a:pt x="471" y="238"/>
                  </a:cubicBezTo>
                  <a:cubicBezTo>
                    <a:pt x="464" y="233"/>
                    <a:pt x="445" y="241"/>
                    <a:pt x="452" y="247"/>
                  </a:cubicBezTo>
                  <a:cubicBezTo>
                    <a:pt x="457" y="251"/>
                    <a:pt x="474" y="244"/>
                    <a:pt x="464" y="257"/>
                  </a:cubicBezTo>
                  <a:cubicBezTo>
                    <a:pt x="455" y="270"/>
                    <a:pt x="451" y="253"/>
                    <a:pt x="442" y="255"/>
                  </a:cubicBezTo>
                  <a:cubicBezTo>
                    <a:pt x="433" y="256"/>
                    <a:pt x="437" y="267"/>
                    <a:pt x="450" y="271"/>
                  </a:cubicBezTo>
                  <a:cubicBezTo>
                    <a:pt x="464" y="275"/>
                    <a:pt x="462" y="283"/>
                    <a:pt x="473" y="290"/>
                  </a:cubicBezTo>
                  <a:close/>
                  <a:moveTo>
                    <a:pt x="555" y="210"/>
                  </a:moveTo>
                  <a:cubicBezTo>
                    <a:pt x="558" y="220"/>
                    <a:pt x="562" y="213"/>
                    <a:pt x="568" y="217"/>
                  </a:cubicBezTo>
                  <a:cubicBezTo>
                    <a:pt x="573" y="221"/>
                    <a:pt x="582" y="224"/>
                    <a:pt x="586" y="220"/>
                  </a:cubicBezTo>
                  <a:cubicBezTo>
                    <a:pt x="591" y="216"/>
                    <a:pt x="593" y="213"/>
                    <a:pt x="594" y="216"/>
                  </a:cubicBezTo>
                  <a:cubicBezTo>
                    <a:pt x="597" y="222"/>
                    <a:pt x="608" y="223"/>
                    <a:pt x="632" y="223"/>
                  </a:cubicBezTo>
                  <a:cubicBezTo>
                    <a:pt x="656" y="224"/>
                    <a:pt x="650" y="213"/>
                    <a:pt x="657" y="217"/>
                  </a:cubicBezTo>
                  <a:cubicBezTo>
                    <a:pt x="664" y="221"/>
                    <a:pt x="680" y="221"/>
                    <a:pt x="687" y="220"/>
                  </a:cubicBezTo>
                  <a:cubicBezTo>
                    <a:pt x="694" y="218"/>
                    <a:pt x="697" y="207"/>
                    <a:pt x="697" y="202"/>
                  </a:cubicBezTo>
                  <a:cubicBezTo>
                    <a:pt x="696" y="196"/>
                    <a:pt x="643" y="192"/>
                    <a:pt x="633" y="197"/>
                  </a:cubicBezTo>
                  <a:cubicBezTo>
                    <a:pt x="624" y="203"/>
                    <a:pt x="609" y="195"/>
                    <a:pt x="601" y="199"/>
                  </a:cubicBezTo>
                  <a:cubicBezTo>
                    <a:pt x="594" y="203"/>
                    <a:pt x="596" y="194"/>
                    <a:pt x="583" y="193"/>
                  </a:cubicBezTo>
                  <a:cubicBezTo>
                    <a:pt x="569" y="193"/>
                    <a:pt x="584" y="186"/>
                    <a:pt x="586" y="183"/>
                  </a:cubicBezTo>
                  <a:cubicBezTo>
                    <a:pt x="589" y="180"/>
                    <a:pt x="566" y="172"/>
                    <a:pt x="556" y="174"/>
                  </a:cubicBezTo>
                  <a:cubicBezTo>
                    <a:pt x="547" y="176"/>
                    <a:pt x="541" y="171"/>
                    <a:pt x="532" y="167"/>
                  </a:cubicBezTo>
                  <a:cubicBezTo>
                    <a:pt x="523" y="163"/>
                    <a:pt x="499" y="163"/>
                    <a:pt x="504" y="171"/>
                  </a:cubicBezTo>
                  <a:cubicBezTo>
                    <a:pt x="507" y="176"/>
                    <a:pt x="536" y="186"/>
                    <a:pt x="539" y="181"/>
                  </a:cubicBezTo>
                  <a:cubicBezTo>
                    <a:pt x="542" y="176"/>
                    <a:pt x="550" y="187"/>
                    <a:pt x="554" y="193"/>
                  </a:cubicBezTo>
                  <a:cubicBezTo>
                    <a:pt x="559" y="198"/>
                    <a:pt x="551" y="200"/>
                    <a:pt x="555" y="210"/>
                  </a:cubicBezTo>
                  <a:close/>
                  <a:moveTo>
                    <a:pt x="580" y="151"/>
                  </a:moveTo>
                  <a:cubicBezTo>
                    <a:pt x="571" y="147"/>
                    <a:pt x="560" y="156"/>
                    <a:pt x="569" y="160"/>
                  </a:cubicBezTo>
                  <a:cubicBezTo>
                    <a:pt x="577" y="163"/>
                    <a:pt x="589" y="156"/>
                    <a:pt x="580" y="151"/>
                  </a:cubicBezTo>
                  <a:close/>
                  <a:moveTo>
                    <a:pt x="508" y="95"/>
                  </a:moveTo>
                  <a:cubicBezTo>
                    <a:pt x="516" y="99"/>
                    <a:pt x="511" y="104"/>
                    <a:pt x="519" y="107"/>
                  </a:cubicBezTo>
                  <a:cubicBezTo>
                    <a:pt x="527" y="111"/>
                    <a:pt x="550" y="103"/>
                    <a:pt x="552" y="108"/>
                  </a:cubicBezTo>
                  <a:cubicBezTo>
                    <a:pt x="554" y="114"/>
                    <a:pt x="529" y="114"/>
                    <a:pt x="532" y="118"/>
                  </a:cubicBezTo>
                  <a:cubicBezTo>
                    <a:pt x="536" y="121"/>
                    <a:pt x="550" y="127"/>
                    <a:pt x="548" y="130"/>
                  </a:cubicBezTo>
                  <a:cubicBezTo>
                    <a:pt x="546" y="133"/>
                    <a:pt x="572" y="141"/>
                    <a:pt x="575" y="137"/>
                  </a:cubicBezTo>
                  <a:cubicBezTo>
                    <a:pt x="577" y="133"/>
                    <a:pt x="584" y="134"/>
                    <a:pt x="591" y="137"/>
                  </a:cubicBezTo>
                  <a:cubicBezTo>
                    <a:pt x="597" y="139"/>
                    <a:pt x="598" y="121"/>
                    <a:pt x="602" y="124"/>
                  </a:cubicBezTo>
                  <a:cubicBezTo>
                    <a:pt x="607" y="127"/>
                    <a:pt x="606" y="118"/>
                    <a:pt x="614" y="115"/>
                  </a:cubicBezTo>
                  <a:cubicBezTo>
                    <a:pt x="621" y="112"/>
                    <a:pt x="632" y="111"/>
                    <a:pt x="633" y="108"/>
                  </a:cubicBezTo>
                  <a:cubicBezTo>
                    <a:pt x="633" y="106"/>
                    <a:pt x="631" y="102"/>
                    <a:pt x="622" y="103"/>
                  </a:cubicBezTo>
                  <a:cubicBezTo>
                    <a:pt x="613" y="104"/>
                    <a:pt x="607" y="101"/>
                    <a:pt x="611" y="96"/>
                  </a:cubicBezTo>
                  <a:cubicBezTo>
                    <a:pt x="615" y="91"/>
                    <a:pt x="601" y="89"/>
                    <a:pt x="606" y="85"/>
                  </a:cubicBezTo>
                  <a:cubicBezTo>
                    <a:pt x="611" y="81"/>
                    <a:pt x="596" y="77"/>
                    <a:pt x="598" y="83"/>
                  </a:cubicBezTo>
                  <a:cubicBezTo>
                    <a:pt x="599" y="89"/>
                    <a:pt x="589" y="84"/>
                    <a:pt x="587" y="78"/>
                  </a:cubicBezTo>
                  <a:cubicBezTo>
                    <a:pt x="586" y="73"/>
                    <a:pt x="565" y="71"/>
                    <a:pt x="552" y="59"/>
                  </a:cubicBezTo>
                  <a:cubicBezTo>
                    <a:pt x="538" y="47"/>
                    <a:pt x="524" y="55"/>
                    <a:pt x="532" y="56"/>
                  </a:cubicBezTo>
                  <a:cubicBezTo>
                    <a:pt x="540" y="58"/>
                    <a:pt x="540" y="62"/>
                    <a:pt x="533" y="61"/>
                  </a:cubicBezTo>
                  <a:cubicBezTo>
                    <a:pt x="527" y="61"/>
                    <a:pt x="515" y="62"/>
                    <a:pt x="526" y="66"/>
                  </a:cubicBezTo>
                  <a:cubicBezTo>
                    <a:pt x="536" y="70"/>
                    <a:pt x="525" y="71"/>
                    <a:pt x="516" y="71"/>
                  </a:cubicBezTo>
                  <a:cubicBezTo>
                    <a:pt x="508" y="71"/>
                    <a:pt x="507" y="82"/>
                    <a:pt x="518" y="84"/>
                  </a:cubicBezTo>
                  <a:cubicBezTo>
                    <a:pt x="529" y="85"/>
                    <a:pt x="521" y="92"/>
                    <a:pt x="512" y="89"/>
                  </a:cubicBezTo>
                  <a:cubicBezTo>
                    <a:pt x="503" y="87"/>
                    <a:pt x="500" y="91"/>
                    <a:pt x="508" y="95"/>
                  </a:cubicBezTo>
                  <a:close/>
                  <a:moveTo>
                    <a:pt x="569" y="46"/>
                  </a:moveTo>
                  <a:cubicBezTo>
                    <a:pt x="576" y="41"/>
                    <a:pt x="581" y="44"/>
                    <a:pt x="575" y="47"/>
                  </a:cubicBezTo>
                  <a:cubicBezTo>
                    <a:pt x="569" y="50"/>
                    <a:pt x="571" y="52"/>
                    <a:pt x="580" y="52"/>
                  </a:cubicBezTo>
                  <a:cubicBezTo>
                    <a:pt x="588" y="51"/>
                    <a:pt x="576" y="54"/>
                    <a:pt x="576" y="59"/>
                  </a:cubicBezTo>
                  <a:cubicBezTo>
                    <a:pt x="576" y="64"/>
                    <a:pt x="586" y="61"/>
                    <a:pt x="587" y="66"/>
                  </a:cubicBezTo>
                  <a:cubicBezTo>
                    <a:pt x="587" y="71"/>
                    <a:pt x="609" y="73"/>
                    <a:pt x="615" y="67"/>
                  </a:cubicBezTo>
                  <a:cubicBezTo>
                    <a:pt x="622" y="61"/>
                    <a:pt x="619" y="69"/>
                    <a:pt x="619" y="73"/>
                  </a:cubicBezTo>
                  <a:cubicBezTo>
                    <a:pt x="618" y="77"/>
                    <a:pt x="649" y="80"/>
                    <a:pt x="651" y="75"/>
                  </a:cubicBezTo>
                  <a:cubicBezTo>
                    <a:pt x="652" y="70"/>
                    <a:pt x="657" y="72"/>
                    <a:pt x="663" y="74"/>
                  </a:cubicBezTo>
                  <a:cubicBezTo>
                    <a:pt x="669" y="75"/>
                    <a:pt x="698" y="68"/>
                    <a:pt x="699" y="62"/>
                  </a:cubicBezTo>
                  <a:cubicBezTo>
                    <a:pt x="699" y="56"/>
                    <a:pt x="708" y="65"/>
                    <a:pt x="699" y="72"/>
                  </a:cubicBezTo>
                  <a:cubicBezTo>
                    <a:pt x="689" y="78"/>
                    <a:pt x="670" y="77"/>
                    <a:pt x="662" y="80"/>
                  </a:cubicBezTo>
                  <a:cubicBezTo>
                    <a:pt x="653" y="82"/>
                    <a:pt x="667" y="88"/>
                    <a:pt x="676" y="95"/>
                  </a:cubicBezTo>
                  <a:cubicBezTo>
                    <a:pt x="684" y="101"/>
                    <a:pt x="665" y="98"/>
                    <a:pt x="657" y="89"/>
                  </a:cubicBezTo>
                  <a:cubicBezTo>
                    <a:pt x="649" y="81"/>
                    <a:pt x="631" y="81"/>
                    <a:pt x="621" y="81"/>
                  </a:cubicBezTo>
                  <a:cubicBezTo>
                    <a:pt x="612" y="82"/>
                    <a:pt x="615" y="99"/>
                    <a:pt x="622" y="99"/>
                  </a:cubicBezTo>
                  <a:cubicBezTo>
                    <a:pt x="629" y="99"/>
                    <a:pt x="636" y="102"/>
                    <a:pt x="643" y="113"/>
                  </a:cubicBezTo>
                  <a:cubicBezTo>
                    <a:pt x="650" y="124"/>
                    <a:pt x="665" y="121"/>
                    <a:pt x="665" y="126"/>
                  </a:cubicBezTo>
                  <a:cubicBezTo>
                    <a:pt x="665" y="131"/>
                    <a:pt x="645" y="122"/>
                    <a:pt x="634" y="120"/>
                  </a:cubicBezTo>
                  <a:cubicBezTo>
                    <a:pt x="623" y="118"/>
                    <a:pt x="606" y="125"/>
                    <a:pt x="605" y="133"/>
                  </a:cubicBezTo>
                  <a:cubicBezTo>
                    <a:pt x="605" y="141"/>
                    <a:pt x="621" y="140"/>
                    <a:pt x="632" y="134"/>
                  </a:cubicBezTo>
                  <a:cubicBezTo>
                    <a:pt x="643" y="127"/>
                    <a:pt x="635" y="136"/>
                    <a:pt x="630" y="141"/>
                  </a:cubicBezTo>
                  <a:cubicBezTo>
                    <a:pt x="624" y="146"/>
                    <a:pt x="643" y="150"/>
                    <a:pt x="643" y="156"/>
                  </a:cubicBezTo>
                  <a:cubicBezTo>
                    <a:pt x="643" y="162"/>
                    <a:pt x="629" y="160"/>
                    <a:pt x="628" y="154"/>
                  </a:cubicBezTo>
                  <a:cubicBezTo>
                    <a:pt x="626" y="149"/>
                    <a:pt x="621" y="143"/>
                    <a:pt x="608" y="144"/>
                  </a:cubicBezTo>
                  <a:cubicBezTo>
                    <a:pt x="595" y="145"/>
                    <a:pt x="599" y="154"/>
                    <a:pt x="607" y="155"/>
                  </a:cubicBezTo>
                  <a:cubicBezTo>
                    <a:pt x="615" y="156"/>
                    <a:pt x="615" y="162"/>
                    <a:pt x="606" y="162"/>
                  </a:cubicBezTo>
                  <a:cubicBezTo>
                    <a:pt x="597" y="162"/>
                    <a:pt x="577" y="168"/>
                    <a:pt x="583" y="174"/>
                  </a:cubicBezTo>
                  <a:cubicBezTo>
                    <a:pt x="590" y="180"/>
                    <a:pt x="616" y="174"/>
                    <a:pt x="620" y="178"/>
                  </a:cubicBezTo>
                  <a:cubicBezTo>
                    <a:pt x="625" y="182"/>
                    <a:pt x="637" y="183"/>
                    <a:pt x="640" y="179"/>
                  </a:cubicBezTo>
                  <a:cubicBezTo>
                    <a:pt x="643" y="174"/>
                    <a:pt x="653" y="176"/>
                    <a:pt x="663" y="176"/>
                  </a:cubicBezTo>
                  <a:cubicBezTo>
                    <a:pt x="673" y="176"/>
                    <a:pt x="676" y="178"/>
                    <a:pt x="680" y="182"/>
                  </a:cubicBezTo>
                  <a:cubicBezTo>
                    <a:pt x="685" y="186"/>
                    <a:pt x="693" y="184"/>
                    <a:pt x="698" y="180"/>
                  </a:cubicBezTo>
                  <a:cubicBezTo>
                    <a:pt x="704" y="176"/>
                    <a:pt x="704" y="176"/>
                    <a:pt x="711" y="176"/>
                  </a:cubicBezTo>
                  <a:cubicBezTo>
                    <a:pt x="718" y="176"/>
                    <a:pt x="719" y="172"/>
                    <a:pt x="716" y="166"/>
                  </a:cubicBezTo>
                  <a:cubicBezTo>
                    <a:pt x="712" y="161"/>
                    <a:pt x="703" y="170"/>
                    <a:pt x="702" y="166"/>
                  </a:cubicBezTo>
                  <a:cubicBezTo>
                    <a:pt x="701" y="161"/>
                    <a:pt x="693" y="160"/>
                    <a:pt x="679" y="162"/>
                  </a:cubicBezTo>
                  <a:cubicBezTo>
                    <a:pt x="665" y="164"/>
                    <a:pt x="671" y="153"/>
                    <a:pt x="679" y="155"/>
                  </a:cubicBezTo>
                  <a:cubicBezTo>
                    <a:pt x="688" y="158"/>
                    <a:pt x="699" y="157"/>
                    <a:pt x="709" y="154"/>
                  </a:cubicBezTo>
                  <a:cubicBezTo>
                    <a:pt x="718" y="152"/>
                    <a:pt x="711" y="147"/>
                    <a:pt x="711" y="143"/>
                  </a:cubicBezTo>
                  <a:cubicBezTo>
                    <a:pt x="711" y="139"/>
                    <a:pt x="723" y="142"/>
                    <a:pt x="732" y="142"/>
                  </a:cubicBezTo>
                  <a:cubicBezTo>
                    <a:pt x="741" y="142"/>
                    <a:pt x="754" y="127"/>
                    <a:pt x="754" y="119"/>
                  </a:cubicBezTo>
                  <a:cubicBezTo>
                    <a:pt x="755" y="110"/>
                    <a:pt x="734" y="112"/>
                    <a:pt x="724" y="112"/>
                  </a:cubicBezTo>
                  <a:cubicBezTo>
                    <a:pt x="714" y="112"/>
                    <a:pt x="731" y="105"/>
                    <a:pt x="750" y="106"/>
                  </a:cubicBezTo>
                  <a:cubicBezTo>
                    <a:pt x="769" y="107"/>
                    <a:pt x="760" y="98"/>
                    <a:pt x="764" y="95"/>
                  </a:cubicBezTo>
                  <a:cubicBezTo>
                    <a:pt x="767" y="92"/>
                    <a:pt x="776" y="99"/>
                    <a:pt x="786" y="97"/>
                  </a:cubicBezTo>
                  <a:cubicBezTo>
                    <a:pt x="795" y="95"/>
                    <a:pt x="789" y="87"/>
                    <a:pt x="795" y="87"/>
                  </a:cubicBezTo>
                  <a:cubicBezTo>
                    <a:pt x="800" y="87"/>
                    <a:pt x="810" y="80"/>
                    <a:pt x="831" y="68"/>
                  </a:cubicBezTo>
                  <a:cubicBezTo>
                    <a:pt x="851" y="57"/>
                    <a:pt x="867" y="59"/>
                    <a:pt x="868" y="52"/>
                  </a:cubicBezTo>
                  <a:cubicBezTo>
                    <a:pt x="869" y="46"/>
                    <a:pt x="840" y="52"/>
                    <a:pt x="835" y="50"/>
                  </a:cubicBezTo>
                  <a:cubicBezTo>
                    <a:pt x="830" y="48"/>
                    <a:pt x="855" y="43"/>
                    <a:pt x="861" y="44"/>
                  </a:cubicBezTo>
                  <a:cubicBezTo>
                    <a:pt x="867" y="46"/>
                    <a:pt x="875" y="44"/>
                    <a:pt x="896" y="34"/>
                  </a:cubicBezTo>
                  <a:cubicBezTo>
                    <a:pt x="916" y="24"/>
                    <a:pt x="907" y="22"/>
                    <a:pt x="899" y="23"/>
                  </a:cubicBezTo>
                  <a:cubicBezTo>
                    <a:pt x="890" y="25"/>
                    <a:pt x="881" y="22"/>
                    <a:pt x="881" y="16"/>
                  </a:cubicBezTo>
                  <a:cubicBezTo>
                    <a:pt x="882" y="11"/>
                    <a:pt x="869" y="16"/>
                    <a:pt x="868" y="13"/>
                  </a:cubicBezTo>
                  <a:cubicBezTo>
                    <a:pt x="868" y="10"/>
                    <a:pt x="856" y="11"/>
                    <a:pt x="843" y="16"/>
                  </a:cubicBezTo>
                  <a:cubicBezTo>
                    <a:pt x="830" y="21"/>
                    <a:pt x="842" y="11"/>
                    <a:pt x="847" y="9"/>
                  </a:cubicBezTo>
                  <a:cubicBezTo>
                    <a:pt x="853" y="7"/>
                    <a:pt x="814" y="9"/>
                    <a:pt x="808" y="5"/>
                  </a:cubicBezTo>
                  <a:cubicBezTo>
                    <a:pt x="801" y="0"/>
                    <a:pt x="794" y="12"/>
                    <a:pt x="788" y="6"/>
                  </a:cubicBezTo>
                  <a:cubicBezTo>
                    <a:pt x="782" y="0"/>
                    <a:pt x="766" y="5"/>
                    <a:pt x="768" y="10"/>
                  </a:cubicBezTo>
                  <a:cubicBezTo>
                    <a:pt x="770" y="14"/>
                    <a:pt x="766" y="14"/>
                    <a:pt x="760" y="9"/>
                  </a:cubicBezTo>
                  <a:cubicBezTo>
                    <a:pt x="754" y="4"/>
                    <a:pt x="742" y="10"/>
                    <a:pt x="732" y="8"/>
                  </a:cubicBezTo>
                  <a:cubicBezTo>
                    <a:pt x="721" y="7"/>
                    <a:pt x="726" y="17"/>
                    <a:pt x="714" y="12"/>
                  </a:cubicBezTo>
                  <a:cubicBezTo>
                    <a:pt x="703" y="7"/>
                    <a:pt x="690" y="9"/>
                    <a:pt x="694" y="11"/>
                  </a:cubicBezTo>
                  <a:cubicBezTo>
                    <a:pt x="697" y="12"/>
                    <a:pt x="693" y="15"/>
                    <a:pt x="688" y="14"/>
                  </a:cubicBezTo>
                  <a:cubicBezTo>
                    <a:pt x="683" y="12"/>
                    <a:pt x="678" y="14"/>
                    <a:pt x="681" y="19"/>
                  </a:cubicBezTo>
                  <a:cubicBezTo>
                    <a:pt x="683" y="24"/>
                    <a:pt x="662" y="18"/>
                    <a:pt x="662" y="23"/>
                  </a:cubicBezTo>
                  <a:cubicBezTo>
                    <a:pt x="662" y="29"/>
                    <a:pt x="655" y="32"/>
                    <a:pt x="649" y="27"/>
                  </a:cubicBezTo>
                  <a:cubicBezTo>
                    <a:pt x="643" y="22"/>
                    <a:pt x="624" y="20"/>
                    <a:pt x="629" y="25"/>
                  </a:cubicBezTo>
                  <a:cubicBezTo>
                    <a:pt x="635" y="29"/>
                    <a:pt x="612" y="27"/>
                    <a:pt x="618" y="31"/>
                  </a:cubicBezTo>
                  <a:cubicBezTo>
                    <a:pt x="624" y="36"/>
                    <a:pt x="611" y="39"/>
                    <a:pt x="611" y="37"/>
                  </a:cubicBezTo>
                  <a:cubicBezTo>
                    <a:pt x="611" y="34"/>
                    <a:pt x="598" y="30"/>
                    <a:pt x="593" y="34"/>
                  </a:cubicBezTo>
                  <a:cubicBezTo>
                    <a:pt x="588" y="39"/>
                    <a:pt x="587" y="44"/>
                    <a:pt x="584" y="41"/>
                  </a:cubicBezTo>
                  <a:cubicBezTo>
                    <a:pt x="582" y="38"/>
                    <a:pt x="571" y="39"/>
                    <a:pt x="560" y="43"/>
                  </a:cubicBezTo>
                  <a:cubicBezTo>
                    <a:pt x="550" y="47"/>
                    <a:pt x="562" y="50"/>
                    <a:pt x="569" y="46"/>
                  </a:cubicBezTo>
                  <a:close/>
                  <a:moveTo>
                    <a:pt x="695" y="477"/>
                  </a:moveTo>
                  <a:cubicBezTo>
                    <a:pt x="698" y="477"/>
                    <a:pt x="705" y="464"/>
                    <a:pt x="696" y="465"/>
                  </a:cubicBezTo>
                  <a:cubicBezTo>
                    <a:pt x="687" y="465"/>
                    <a:pt x="689" y="478"/>
                    <a:pt x="695" y="477"/>
                  </a:cubicBezTo>
                  <a:close/>
                  <a:moveTo>
                    <a:pt x="651" y="466"/>
                  </a:moveTo>
                  <a:cubicBezTo>
                    <a:pt x="659" y="471"/>
                    <a:pt x="671" y="458"/>
                    <a:pt x="670" y="454"/>
                  </a:cubicBezTo>
                  <a:cubicBezTo>
                    <a:pt x="669" y="450"/>
                    <a:pt x="641" y="460"/>
                    <a:pt x="651" y="466"/>
                  </a:cubicBezTo>
                  <a:close/>
                  <a:moveTo>
                    <a:pt x="687" y="439"/>
                  </a:moveTo>
                  <a:cubicBezTo>
                    <a:pt x="688" y="434"/>
                    <a:pt x="670" y="432"/>
                    <a:pt x="671" y="426"/>
                  </a:cubicBezTo>
                  <a:cubicBezTo>
                    <a:pt x="672" y="421"/>
                    <a:pt x="655" y="416"/>
                    <a:pt x="649" y="413"/>
                  </a:cubicBezTo>
                  <a:cubicBezTo>
                    <a:pt x="644" y="410"/>
                    <a:pt x="635" y="409"/>
                    <a:pt x="635" y="403"/>
                  </a:cubicBezTo>
                  <a:cubicBezTo>
                    <a:pt x="635" y="397"/>
                    <a:pt x="623" y="401"/>
                    <a:pt x="623" y="410"/>
                  </a:cubicBezTo>
                  <a:cubicBezTo>
                    <a:pt x="622" y="419"/>
                    <a:pt x="617" y="417"/>
                    <a:pt x="620" y="426"/>
                  </a:cubicBezTo>
                  <a:cubicBezTo>
                    <a:pt x="622" y="434"/>
                    <a:pt x="609" y="436"/>
                    <a:pt x="610" y="441"/>
                  </a:cubicBezTo>
                  <a:cubicBezTo>
                    <a:pt x="612" y="445"/>
                    <a:pt x="618" y="440"/>
                    <a:pt x="624" y="440"/>
                  </a:cubicBezTo>
                  <a:cubicBezTo>
                    <a:pt x="630" y="440"/>
                    <a:pt x="623" y="448"/>
                    <a:pt x="630" y="449"/>
                  </a:cubicBezTo>
                  <a:cubicBezTo>
                    <a:pt x="636" y="450"/>
                    <a:pt x="647" y="443"/>
                    <a:pt x="649" y="439"/>
                  </a:cubicBezTo>
                  <a:cubicBezTo>
                    <a:pt x="652" y="435"/>
                    <a:pt x="657" y="433"/>
                    <a:pt x="664" y="438"/>
                  </a:cubicBezTo>
                  <a:cubicBezTo>
                    <a:pt x="671" y="443"/>
                    <a:pt x="686" y="444"/>
                    <a:pt x="687" y="439"/>
                  </a:cubicBezTo>
                  <a:close/>
                  <a:moveTo>
                    <a:pt x="850" y="395"/>
                  </a:moveTo>
                  <a:cubicBezTo>
                    <a:pt x="856" y="395"/>
                    <a:pt x="857" y="403"/>
                    <a:pt x="867" y="411"/>
                  </a:cubicBezTo>
                  <a:cubicBezTo>
                    <a:pt x="876" y="419"/>
                    <a:pt x="877" y="413"/>
                    <a:pt x="879" y="408"/>
                  </a:cubicBezTo>
                  <a:cubicBezTo>
                    <a:pt x="880" y="402"/>
                    <a:pt x="891" y="407"/>
                    <a:pt x="890" y="401"/>
                  </a:cubicBezTo>
                  <a:cubicBezTo>
                    <a:pt x="890" y="396"/>
                    <a:pt x="899" y="389"/>
                    <a:pt x="905" y="387"/>
                  </a:cubicBezTo>
                  <a:cubicBezTo>
                    <a:pt x="911" y="384"/>
                    <a:pt x="900" y="378"/>
                    <a:pt x="892" y="379"/>
                  </a:cubicBezTo>
                  <a:cubicBezTo>
                    <a:pt x="884" y="379"/>
                    <a:pt x="882" y="374"/>
                    <a:pt x="882" y="370"/>
                  </a:cubicBezTo>
                  <a:cubicBezTo>
                    <a:pt x="882" y="367"/>
                    <a:pt x="867" y="358"/>
                    <a:pt x="862" y="360"/>
                  </a:cubicBezTo>
                  <a:cubicBezTo>
                    <a:pt x="857" y="361"/>
                    <a:pt x="849" y="353"/>
                    <a:pt x="842" y="353"/>
                  </a:cubicBezTo>
                  <a:cubicBezTo>
                    <a:pt x="836" y="352"/>
                    <a:pt x="826" y="347"/>
                    <a:pt x="827" y="340"/>
                  </a:cubicBezTo>
                  <a:cubicBezTo>
                    <a:pt x="828" y="333"/>
                    <a:pt x="840" y="342"/>
                    <a:pt x="843" y="337"/>
                  </a:cubicBezTo>
                  <a:cubicBezTo>
                    <a:pt x="845" y="331"/>
                    <a:pt x="830" y="334"/>
                    <a:pt x="830" y="330"/>
                  </a:cubicBezTo>
                  <a:cubicBezTo>
                    <a:pt x="829" y="326"/>
                    <a:pt x="833" y="328"/>
                    <a:pt x="836" y="325"/>
                  </a:cubicBezTo>
                  <a:cubicBezTo>
                    <a:pt x="839" y="323"/>
                    <a:pt x="834" y="318"/>
                    <a:pt x="830" y="316"/>
                  </a:cubicBezTo>
                  <a:cubicBezTo>
                    <a:pt x="827" y="314"/>
                    <a:pt x="826" y="320"/>
                    <a:pt x="822" y="320"/>
                  </a:cubicBezTo>
                  <a:cubicBezTo>
                    <a:pt x="819" y="320"/>
                    <a:pt x="822" y="314"/>
                    <a:pt x="824" y="311"/>
                  </a:cubicBezTo>
                  <a:cubicBezTo>
                    <a:pt x="827" y="307"/>
                    <a:pt x="813" y="303"/>
                    <a:pt x="807" y="305"/>
                  </a:cubicBezTo>
                  <a:cubicBezTo>
                    <a:pt x="801" y="307"/>
                    <a:pt x="799" y="304"/>
                    <a:pt x="799" y="300"/>
                  </a:cubicBezTo>
                  <a:cubicBezTo>
                    <a:pt x="799" y="296"/>
                    <a:pt x="788" y="300"/>
                    <a:pt x="784" y="303"/>
                  </a:cubicBezTo>
                  <a:cubicBezTo>
                    <a:pt x="780" y="306"/>
                    <a:pt x="775" y="300"/>
                    <a:pt x="780" y="299"/>
                  </a:cubicBezTo>
                  <a:cubicBezTo>
                    <a:pt x="785" y="299"/>
                    <a:pt x="791" y="295"/>
                    <a:pt x="790" y="290"/>
                  </a:cubicBezTo>
                  <a:cubicBezTo>
                    <a:pt x="788" y="286"/>
                    <a:pt x="775" y="285"/>
                    <a:pt x="773" y="291"/>
                  </a:cubicBezTo>
                  <a:cubicBezTo>
                    <a:pt x="770" y="296"/>
                    <a:pt x="760" y="285"/>
                    <a:pt x="760" y="280"/>
                  </a:cubicBezTo>
                  <a:cubicBezTo>
                    <a:pt x="760" y="276"/>
                    <a:pt x="744" y="280"/>
                    <a:pt x="746" y="272"/>
                  </a:cubicBezTo>
                  <a:cubicBezTo>
                    <a:pt x="748" y="265"/>
                    <a:pt x="727" y="263"/>
                    <a:pt x="722" y="263"/>
                  </a:cubicBezTo>
                  <a:cubicBezTo>
                    <a:pt x="716" y="263"/>
                    <a:pt x="708" y="267"/>
                    <a:pt x="709" y="272"/>
                  </a:cubicBezTo>
                  <a:cubicBezTo>
                    <a:pt x="710" y="277"/>
                    <a:pt x="703" y="275"/>
                    <a:pt x="702" y="270"/>
                  </a:cubicBezTo>
                  <a:cubicBezTo>
                    <a:pt x="701" y="264"/>
                    <a:pt x="688" y="276"/>
                    <a:pt x="684" y="276"/>
                  </a:cubicBezTo>
                  <a:cubicBezTo>
                    <a:pt x="680" y="276"/>
                    <a:pt x="686" y="261"/>
                    <a:pt x="684" y="257"/>
                  </a:cubicBezTo>
                  <a:cubicBezTo>
                    <a:pt x="682" y="252"/>
                    <a:pt x="679" y="251"/>
                    <a:pt x="676" y="243"/>
                  </a:cubicBezTo>
                  <a:cubicBezTo>
                    <a:pt x="673" y="236"/>
                    <a:pt x="658" y="239"/>
                    <a:pt x="654" y="243"/>
                  </a:cubicBezTo>
                  <a:cubicBezTo>
                    <a:pt x="650" y="248"/>
                    <a:pt x="637" y="246"/>
                    <a:pt x="630" y="253"/>
                  </a:cubicBezTo>
                  <a:cubicBezTo>
                    <a:pt x="623" y="260"/>
                    <a:pt x="631" y="267"/>
                    <a:pt x="634" y="269"/>
                  </a:cubicBezTo>
                  <a:cubicBezTo>
                    <a:pt x="637" y="272"/>
                    <a:pt x="623" y="276"/>
                    <a:pt x="628" y="280"/>
                  </a:cubicBezTo>
                  <a:cubicBezTo>
                    <a:pt x="632" y="284"/>
                    <a:pt x="639" y="282"/>
                    <a:pt x="640" y="288"/>
                  </a:cubicBezTo>
                  <a:cubicBezTo>
                    <a:pt x="640" y="295"/>
                    <a:pt x="623" y="286"/>
                    <a:pt x="621" y="281"/>
                  </a:cubicBezTo>
                  <a:cubicBezTo>
                    <a:pt x="618" y="275"/>
                    <a:pt x="622" y="270"/>
                    <a:pt x="618" y="266"/>
                  </a:cubicBezTo>
                  <a:cubicBezTo>
                    <a:pt x="615" y="262"/>
                    <a:pt x="618" y="257"/>
                    <a:pt x="624" y="250"/>
                  </a:cubicBezTo>
                  <a:cubicBezTo>
                    <a:pt x="631" y="243"/>
                    <a:pt x="636" y="244"/>
                    <a:pt x="636" y="240"/>
                  </a:cubicBezTo>
                  <a:cubicBezTo>
                    <a:pt x="636" y="236"/>
                    <a:pt x="608" y="236"/>
                    <a:pt x="591" y="251"/>
                  </a:cubicBezTo>
                  <a:cubicBezTo>
                    <a:pt x="575" y="266"/>
                    <a:pt x="580" y="286"/>
                    <a:pt x="581" y="290"/>
                  </a:cubicBezTo>
                  <a:cubicBezTo>
                    <a:pt x="582" y="294"/>
                    <a:pt x="596" y="292"/>
                    <a:pt x="605" y="295"/>
                  </a:cubicBezTo>
                  <a:cubicBezTo>
                    <a:pt x="613" y="297"/>
                    <a:pt x="609" y="301"/>
                    <a:pt x="602" y="300"/>
                  </a:cubicBezTo>
                  <a:cubicBezTo>
                    <a:pt x="596" y="299"/>
                    <a:pt x="585" y="297"/>
                    <a:pt x="585" y="301"/>
                  </a:cubicBezTo>
                  <a:cubicBezTo>
                    <a:pt x="586" y="306"/>
                    <a:pt x="599" y="314"/>
                    <a:pt x="607" y="312"/>
                  </a:cubicBezTo>
                  <a:cubicBezTo>
                    <a:pt x="615" y="310"/>
                    <a:pt x="615" y="310"/>
                    <a:pt x="619" y="315"/>
                  </a:cubicBezTo>
                  <a:cubicBezTo>
                    <a:pt x="622" y="319"/>
                    <a:pt x="632" y="318"/>
                    <a:pt x="641" y="318"/>
                  </a:cubicBezTo>
                  <a:cubicBezTo>
                    <a:pt x="651" y="319"/>
                    <a:pt x="662" y="322"/>
                    <a:pt x="666" y="323"/>
                  </a:cubicBezTo>
                  <a:cubicBezTo>
                    <a:pt x="671" y="323"/>
                    <a:pt x="676" y="320"/>
                    <a:pt x="678" y="318"/>
                  </a:cubicBezTo>
                  <a:cubicBezTo>
                    <a:pt x="679" y="315"/>
                    <a:pt x="698" y="322"/>
                    <a:pt x="703" y="321"/>
                  </a:cubicBezTo>
                  <a:cubicBezTo>
                    <a:pt x="709" y="321"/>
                    <a:pt x="705" y="316"/>
                    <a:pt x="702" y="314"/>
                  </a:cubicBezTo>
                  <a:cubicBezTo>
                    <a:pt x="698" y="313"/>
                    <a:pt x="700" y="306"/>
                    <a:pt x="704" y="309"/>
                  </a:cubicBezTo>
                  <a:cubicBezTo>
                    <a:pt x="709" y="311"/>
                    <a:pt x="716" y="313"/>
                    <a:pt x="718" y="317"/>
                  </a:cubicBezTo>
                  <a:cubicBezTo>
                    <a:pt x="719" y="321"/>
                    <a:pt x="723" y="319"/>
                    <a:pt x="724" y="323"/>
                  </a:cubicBezTo>
                  <a:cubicBezTo>
                    <a:pt x="724" y="326"/>
                    <a:pt x="740" y="330"/>
                    <a:pt x="741" y="334"/>
                  </a:cubicBezTo>
                  <a:cubicBezTo>
                    <a:pt x="741" y="338"/>
                    <a:pt x="725" y="340"/>
                    <a:pt x="730" y="344"/>
                  </a:cubicBezTo>
                  <a:cubicBezTo>
                    <a:pt x="734" y="347"/>
                    <a:pt x="741" y="339"/>
                    <a:pt x="747" y="339"/>
                  </a:cubicBezTo>
                  <a:cubicBezTo>
                    <a:pt x="753" y="338"/>
                    <a:pt x="753" y="352"/>
                    <a:pt x="758" y="350"/>
                  </a:cubicBezTo>
                  <a:cubicBezTo>
                    <a:pt x="764" y="347"/>
                    <a:pt x="769" y="352"/>
                    <a:pt x="775" y="361"/>
                  </a:cubicBezTo>
                  <a:cubicBezTo>
                    <a:pt x="781" y="369"/>
                    <a:pt x="774" y="377"/>
                    <a:pt x="775" y="380"/>
                  </a:cubicBezTo>
                  <a:cubicBezTo>
                    <a:pt x="775" y="383"/>
                    <a:pt x="787" y="382"/>
                    <a:pt x="793" y="379"/>
                  </a:cubicBezTo>
                  <a:cubicBezTo>
                    <a:pt x="800" y="375"/>
                    <a:pt x="806" y="383"/>
                    <a:pt x="811" y="387"/>
                  </a:cubicBezTo>
                  <a:cubicBezTo>
                    <a:pt x="816" y="392"/>
                    <a:pt x="792" y="399"/>
                    <a:pt x="794" y="395"/>
                  </a:cubicBezTo>
                  <a:cubicBezTo>
                    <a:pt x="796" y="391"/>
                    <a:pt x="780" y="379"/>
                    <a:pt x="766" y="385"/>
                  </a:cubicBezTo>
                  <a:cubicBezTo>
                    <a:pt x="751" y="390"/>
                    <a:pt x="761" y="399"/>
                    <a:pt x="763" y="404"/>
                  </a:cubicBezTo>
                  <a:cubicBezTo>
                    <a:pt x="764" y="409"/>
                    <a:pt x="750" y="414"/>
                    <a:pt x="736" y="409"/>
                  </a:cubicBezTo>
                  <a:cubicBezTo>
                    <a:pt x="723" y="405"/>
                    <a:pt x="727" y="412"/>
                    <a:pt x="721" y="412"/>
                  </a:cubicBezTo>
                  <a:cubicBezTo>
                    <a:pt x="716" y="412"/>
                    <a:pt x="710" y="421"/>
                    <a:pt x="715" y="426"/>
                  </a:cubicBezTo>
                  <a:cubicBezTo>
                    <a:pt x="720" y="432"/>
                    <a:pt x="731" y="427"/>
                    <a:pt x="740" y="427"/>
                  </a:cubicBezTo>
                  <a:cubicBezTo>
                    <a:pt x="749" y="428"/>
                    <a:pt x="750" y="430"/>
                    <a:pt x="751" y="425"/>
                  </a:cubicBezTo>
                  <a:cubicBezTo>
                    <a:pt x="752" y="420"/>
                    <a:pt x="761" y="423"/>
                    <a:pt x="768" y="424"/>
                  </a:cubicBezTo>
                  <a:cubicBezTo>
                    <a:pt x="774" y="426"/>
                    <a:pt x="773" y="435"/>
                    <a:pt x="781" y="436"/>
                  </a:cubicBezTo>
                  <a:cubicBezTo>
                    <a:pt x="789" y="437"/>
                    <a:pt x="782" y="445"/>
                    <a:pt x="787" y="450"/>
                  </a:cubicBezTo>
                  <a:cubicBezTo>
                    <a:pt x="792" y="456"/>
                    <a:pt x="808" y="453"/>
                    <a:pt x="814" y="459"/>
                  </a:cubicBezTo>
                  <a:cubicBezTo>
                    <a:pt x="820" y="465"/>
                    <a:pt x="846" y="476"/>
                    <a:pt x="849" y="472"/>
                  </a:cubicBezTo>
                  <a:cubicBezTo>
                    <a:pt x="853" y="467"/>
                    <a:pt x="827" y="444"/>
                    <a:pt x="820" y="442"/>
                  </a:cubicBezTo>
                  <a:cubicBezTo>
                    <a:pt x="812" y="440"/>
                    <a:pt x="827" y="438"/>
                    <a:pt x="837" y="445"/>
                  </a:cubicBezTo>
                  <a:cubicBezTo>
                    <a:pt x="846" y="453"/>
                    <a:pt x="860" y="456"/>
                    <a:pt x="867" y="447"/>
                  </a:cubicBezTo>
                  <a:cubicBezTo>
                    <a:pt x="874" y="438"/>
                    <a:pt x="861" y="441"/>
                    <a:pt x="861" y="434"/>
                  </a:cubicBezTo>
                  <a:cubicBezTo>
                    <a:pt x="861" y="428"/>
                    <a:pt x="857" y="419"/>
                    <a:pt x="850" y="419"/>
                  </a:cubicBezTo>
                  <a:cubicBezTo>
                    <a:pt x="843" y="419"/>
                    <a:pt x="825" y="405"/>
                    <a:pt x="831" y="402"/>
                  </a:cubicBezTo>
                  <a:cubicBezTo>
                    <a:pt x="838" y="399"/>
                    <a:pt x="829" y="395"/>
                    <a:pt x="834" y="389"/>
                  </a:cubicBezTo>
                  <a:cubicBezTo>
                    <a:pt x="839" y="384"/>
                    <a:pt x="844" y="394"/>
                    <a:pt x="850" y="395"/>
                  </a:cubicBezTo>
                  <a:close/>
                  <a:moveTo>
                    <a:pt x="745" y="371"/>
                  </a:moveTo>
                  <a:cubicBezTo>
                    <a:pt x="751" y="370"/>
                    <a:pt x="750" y="360"/>
                    <a:pt x="746" y="356"/>
                  </a:cubicBezTo>
                  <a:cubicBezTo>
                    <a:pt x="744" y="352"/>
                    <a:pt x="737" y="352"/>
                    <a:pt x="732" y="352"/>
                  </a:cubicBezTo>
                  <a:cubicBezTo>
                    <a:pt x="726" y="353"/>
                    <a:pt x="717" y="361"/>
                    <a:pt x="722" y="370"/>
                  </a:cubicBezTo>
                  <a:cubicBezTo>
                    <a:pt x="727" y="378"/>
                    <a:pt x="739" y="372"/>
                    <a:pt x="745" y="371"/>
                  </a:cubicBezTo>
                  <a:close/>
                  <a:moveTo>
                    <a:pt x="682" y="241"/>
                  </a:moveTo>
                  <a:cubicBezTo>
                    <a:pt x="679" y="247"/>
                    <a:pt x="689" y="247"/>
                    <a:pt x="689" y="255"/>
                  </a:cubicBezTo>
                  <a:cubicBezTo>
                    <a:pt x="690" y="262"/>
                    <a:pt x="699" y="265"/>
                    <a:pt x="706" y="260"/>
                  </a:cubicBezTo>
                  <a:cubicBezTo>
                    <a:pt x="713" y="256"/>
                    <a:pt x="733" y="261"/>
                    <a:pt x="733" y="256"/>
                  </a:cubicBezTo>
                  <a:cubicBezTo>
                    <a:pt x="733" y="250"/>
                    <a:pt x="712" y="240"/>
                    <a:pt x="705" y="242"/>
                  </a:cubicBezTo>
                  <a:cubicBezTo>
                    <a:pt x="697" y="243"/>
                    <a:pt x="685" y="234"/>
                    <a:pt x="682" y="241"/>
                  </a:cubicBezTo>
                  <a:close/>
                  <a:moveTo>
                    <a:pt x="870" y="666"/>
                  </a:moveTo>
                  <a:cubicBezTo>
                    <a:pt x="871" y="670"/>
                    <a:pt x="900" y="682"/>
                    <a:pt x="901" y="677"/>
                  </a:cubicBezTo>
                  <a:cubicBezTo>
                    <a:pt x="902" y="671"/>
                    <a:pt x="869" y="663"/>
                    <a:pt x="870" y="666"/>
                  </a:cubicBezTo>
                  <a:close/>
                  <a:moveTo>
                    <a:pt x="997" y="696"/>
                  </a:moveTo>
                  <a:cubicBezTo>
                    <a:pt x="995" y="700"/>
                    <a:pt x="992" y="693"/>
                    <a:pt x="996" y="690"/>
                  </a:cubicBezTo>
                  <a:cubicBezTo>
                    <a:pt x="1000" y="687"/>
                    <a:pt x="995" y="685"/>
                    <a:pt x="991" y="687"/>
                  </a:cubicBezTo>
                  <a:cubicBezTo>
                    <a:pt x="987" y="689"/>
                    <a:pt x="988" y="678"/>
                    <a:pt x="992" y="676"/>
                  </a:cubicBezTo>
                  <a:cubicBezTo>
                    <a:pt x="996" y="674"/>
                    <a:pt x="983" y="670"/>
                    <a:pt x="983" y="674"/>
                  </a:cubicBezTo>
                  <a:cubicBezTo>
                    <a:pt x="983" y="678"/>
                    <a:pt x="974" y="675"/>
                    <a:pt x="973" y="672"/>
                  </a:cubicBezTo>
                  <a:cubicBezTo>
                    <a:pt x="972" y="669"/>
                    <a:pt x="966" y="668"/>
                    <a:pt x="968" y="665"/>
                  </a:cubicBezTo>
                  <a:cubicBezTo>
                    <a:pt x="970" y="663"/>
                    <a:pt x="960" y="662"/>
                    <a:pt x="959" y="666"/>
                  </a:cubicBezTo>
                  <a:cubicBezTo>
                    <a:pt x="958" y="670"/>
                    <a:pt x="955" y="663"/>
                    <a:pt x="960" y="658"/>
                  </a:cubicBezTo>
                  <a:cubicBezTo>
                    <a:pt x="965" y="652"/>
                    <a:pt x="964" y="648"/>
                    <a:pt x="968" y="645"/>
                  </a:cubicBezTo>
                  <a:cubicBezTo>
                    <a:pt x="973" y="642"/>
                    <a:pt x="968" y="639"/>
                    <a:pt x="963" y="641"/>
                  </a:cubicBezTo>
                  <a:cubicBezTo>
                    <a:pt x="958" y="643"/>
                    <a:pt x="945" y="662"/>
                    <a:pt x="945" y="667"/>
                  </a:cubicBezTo>
                  <a:cubicBezTo>
                    <a:pt x="945" y="672"/>
                    <a:pt x="944" y="678"/>
                    <a:pt x="940" y="677"/>
                  </a:cubicBezTo>
                  <a:cubicBezTo>
                    <a:pt x="935" y="677"/>
                    <a:pt x="930" y="681"/>
                    <a:pt x="933" y="684"/>
                  </a:cubicBezTo>
                  <a:cubicBezTo>
                    <a:pt x="937" y="687"/>
                    <a:pt x="924" y="694"/>
                    <a:pt x="930" y="698"/>
                  </a:cubicBezTo>
                  <a:cubicBezTo>
                    <a:pt x="934" y="700"/>
                    <a:pt x="941" y="697"/>
                    <a:pt x="947" y="697"/>
                  </a:cubicBezTo>
                  <a:cubicBezTo>
                    <a:pt x="953" y="698"/>
                    <a:pt x="958" y="698"/>
                    <a:pt x="963" y="695"/>
                  </a:cubicBezTo>
                  <a:cubicBezTo>
                    <a:pt x="968" y="691"/>
                    <a:pt x="968" y="698"/>
                    <a:pt x="974" y="697"/>
                  </a:cubicBezTo>
                  <a:cubicBezTo>
                    <a:pt x="979" y="697"/>
                    <a:pt x="971" y="702"/>
                    <a:pt x="971" y="705"/>
                  </a:cubicBezTo>
                  <a:cubicBezTo>
                    <a:pt x="971" y="709"/>
                    <a:pt x="977" y="703"/>
                    <a:pt x="981" y="701"/>
                  </a:cubicBezTo>
                  <a:cubicBezTo>
                    <a:pt x="985" y="699"/>
                    <a:pt x="990" y="701"/>
                    <a:pt x="988" y="705"/>
                  </a:cubicBezTo>
                  <a:cubicBezTo>
                    <a:pt x="986" y="708"/>
                    <a:pt x="999" y="711"/>
                    <a:pt x="1002" y="706"/>
                  </a:cubicBezTo>
                  <a:cubicBezTo>
                    <a:pt x="1005" y="701"/>
                    <a:pt x="999" y="692"/>
                    <a:pt x="997" y="696"/>
                  </a:cubicBezTo>
                  <a:close/>
                  <a:moveTo>
                    <a:pt x="93" y="604"/>
                  </a:moveTo>
                  <a:cubicBezTo>
                    <a:pt x="84" y="609"/>
                    <a:pt x="106" y="632"/>
                    <a:pt x="110" y="629"/>
                  </a:cubicBezTo>
                  <a:cubicBezTo>
                    <a:pt x="113" y="627"/>
                    <a:pt x="105" y="617"/>
                    <a:pt x="105" y="611"/>
                  </a:cubicBezTo>
                  <a:cubicBezTo>
                    <a:pt x="105" y="605"/>
                    <a:pt x="102" y="599"/>
                    <a:pt x="93" y="604"/>
                  </a:cubicBezTo>
                  <a:close/>
                  <a:moveTo>
                    <a:pt x="917" y="718"/>
                  </a:moveTo>
                  <a:cubicBezTo>
                    <a:pt x="913" y="719"/>
                    <a:pt x="916" y="713"/>
                    <a:pt x="917" y="710"/>
                  </a:cubicBezTo>
                  <a:cubicBezTo>
                    <a:pt x="917" y="708"/>
                    <a:pt x="909" y="712"/>
                    <a:pt x="909" y="715"/>
                  </a:cubicBezTo>
                  <a:cubicBezTo>
                    <a:pt x="909" y="718"/>
                    <a:pt x="903" y="719"/>
                    <a:pt x="903" y="721"/>
                  </a:cubicBezTo>
                  <a:cubicBezTo>
                    <a:pt x="903" y="727"/>
                    <a:pt x="902" y="724"/>
                    <a:pt x="898" y="726"/>
                  </a:cubicBezTo>
                  <a:cubicBezTo>
                    <a:pt x="894" y="728"/>
                    <a:pt x="879" y="726"/>
                    <a:pt x="878" y="723"/>
                  </a:cubicBezTo>
                  <a:cubicBezTo>
                    <a:pt x="878" y="719"/>
                    <a:pt x="867" y="717"/>
                    <a:pt x="866" y="713"/>
                  </a:cubicBezTo>
                  <a:cubicBezTo>
                    <a:pt x="866" y="708"/>
                    <a:pt x="860" y="706"/>
                    <a:pt x="865" y="701"/>
                  </a:cubicBezTo>
                  <a:cubicBezTo>
                    <a:pt x="869" y="696"/>
                    <a:pt x="864" y="693"/>
                    <a:pt x="860" y="697"/>
                  </a:cubicBezTo>
                  <a:cubicBezTo>
                    <a:pt x="855" y="701"/>
                    <a:pt x="853" y="695"/>
                    <a:pt x="859" y="693"/>
                  </a:cubicBezTo>
                  <a:cubicBezTo>
                    <a:pt x="864" y="691"/>
                    <a:pt x="875" y="688"/>
                    <a:pt x="870" y="678"/>
                  </a:cubicBezTo>
                  <a:cubicBezTo>
                    <a:pt x="864" y="668"/>
                    <a:pt x="830" y="681"/>
                    <a:pt x="821" y="686"/>
                  </a:cubicBezTo>
                  <a:cubicBezTo>
                    <a:pt x="812" y="691"/>
                    <a:pt x="801" y="707"/>
                    <a:pt x="796" y="707"/>
                  </a:cubicBezTo>
                  <a:cubicBezTo>
                    <a:pt x="792" y="707"/>
                    <a:pt x="805" y="699"/>
                    <a:pt x="807" y="696"/>
                  </a:cubicBezTo>
                  <a:cubicBezTo>
                    <a:pt x="809" y="692"/>
                    <a:pt x="806" y="689"/>
                    <a:pt x="809" y="690"/>
                  </a:cubicBezTo>
                  <a:cubicBezTo>
                    <a:pt x="812" y="692"/>
                    <a:pt x="819" y="680"/>
                    <a:pt x="825" y="676"/>
                  </a:cubicBezTo>
                  <a:cubicBezTo>
                    <a:pt x="830" y="672"/>
                    <a:pt x="836" y="675"/>
                    <a:pt x="836" y="672"/>
                  </a:cubicBezTo>
                  <a:cubicBezTo>
                    <a:pt x="837" y="669"/>
                    <a:pt x="840" y="667"/>
                    <a:pt x="845" y="662"/>
                  </a:cubicBezTo>
                  <a:cubicBezTo>
                    <a:pt x="850" y="658"/>
                    <a:pt x="909" y="658"/>
                    <a:pt x="915" y="659"/>
                  </a:cubicBezTo>
                  <a:cubicBezTo>
                    <a:pt x="921" y="659"/>
                    <a:pt x="932" y="651"/>
                    <a:pt x="935" y="646"/>
                  </a:cubicBezTo>
                  <a:cubicBezTo>
                    <a:pt x="939" y="641"/>
                    <a:pt x="943" y="641"/>
                    <a:pt x="951" y="642"/>
                  </a:cubicBezTo>
                  <a:cubicBezTo>
                    <a:pt x="959" y="642"/>
                    <a:pt x="963" y="635"/>
                    <a:pt x="967" y="632"/>
                  </a:cubicBezTo>
                  <a:cubicBezTo>
                    <a:pt x="971" y="629"/>
                    <a:pt x="969" y="628"/>
                    <a:pt x="966" y="627"/>
                  </a:cubicBezTo>
                  <a:cubicBezTo>
                    <a:pt x="962" y="627"/>
                    <a:pt x="959" y="624"/>
                    <a:pt x="962" y="624"/>
                  </a:cubicBezTo>
                  <a:cubicBezTo>
                    <a:pt x="966" y="624"/>
                    <a:pt x="968" y="622"/>
                    <a:pt x="969" y="617"/>
                  </a:cubicBezTo>
                  <a:cubicBezTo>
                    <a:pt x="971" y="613"/>
                    <a:pt x="968" y="615"/>
                    <a:pt x="963" y="609"/>
                  </a:cubicBezTo>
                  <a:cubicBezTo>
                    <a:pt x="958" y="602"/>
                    <a:pt x="956" y="611"/>
                    <a:pt x="951" y="610"/>
                  </a:cubicBezTo>
                  <a:cubicBezTo>
                    <a:pt x="946" y="610"/>
                    <a:pt x="954" y="604"/>
                    <a:pt x="950" y="601"/>
                  </a:cubicBezTo>
                  <a:cubicBezTo>
                    <a:pt x="946" y="599"/>
                    <a:pt x="939" y="600"/>
                    <a:pt x="933" y="605"/>
                  </a:cubicBezTo>
                  <a:cubicBezTo>
                    <a:pt x="927" y="610"/>
                    <a:pt x="927" y="605"/>
                    <a:pt x="922" y="610"/>
                  </a:cubicBezTo>
                  <a:cubicBezTo>
                    <a:pt x="917" y="615"/>
                    <a:pt x="917" y="608"/>
                    <a:pt x="919" y="606"/>
                  </a:cubicBezTo>
                  <a:cubicBezTo>
                    <a:pt x="922" y="604"/>
                    <a:pt x="924" y="606"/>
                    <a:pt x="926" y="603"/>
                  </a:cubicBezTo>
                  <a:cubicBezTo>
                    <a:pt x="928" y="600"/>
                    <a:pt x="930" y="603"/>
                    <a:pt x="936" y="599"/>
                  </a:cubicBezTo>
                  <a:cubicBezTo>
                    <a:pt x="942" y="595"/>
                    <a:pt x="947" y="597"/>
                    <a:pt x="949" y="594"/>
                  </a:cubicBezTo>
                  <a:cubicBezTo>
                    <a:pt x="950" y="592"/>
                    <a:pt x="946" y="588"/>
                    <a:pt x="940" y="589"/>
                  </a:cubicBezTo>
                  <a:cubicBezTo>
                    <a:pt x="935" y="590"/>
                    <a:pt x="931" y="582"/>
                    <a:pt x="928" y="584"/>
                  </a:cubicBezTo>
                  <a:cubicBezTo>
                    <a:pt x="924" y="587"/>
                    <a:pt x="925" y="580"/>
                    <a:pt x="921" y="583"/>
                  </a:cubicBezTo>
                  <a:cubicBezTo>
                    <a:pt x="917" y="585"/>
                    <a:pt x="915" y="582"/>
                    <a:pt x="913" y="577"/>
                  </a:cubicBezTo>
                  <a:cubicBezTo>
                    <a:pt x="911" y="573"/>
                    <a:pt x="900" y="565"/>
                    <a:pt x="894" y="563"/>
                  </a:cubicBezTo>
                  <a:cubicBezTo>
                    <a:pt x="887" y="561"/>
                    <a:pt x="892" y="557"/>
                    <a:pt x="895" y="560"/>
                  </a:cubicBezTo>
                  <a:cubicBezTo>
                    <a:pt x="899" y="562"/>
                    <a:pt x="903" y="557"/>
                    <a:pt x="904" y="555"/>
                  </a:cubicBezTo>
                  <a:cubicBezTo>
                    <a:pt x="906" y="552"/>
                    <a:pt x="902" y="550"/>
                    <a:pt x="900" y="550"/>
                  </a:cubicBezTo>
                  <a:cubicBezTo>
                    <a:pt x="898" y="550"/>
                    <a:pt x="898" y="546"/>
                    <a:pt x="898" y="544"/>
                  </a:cubicBezTo>
                  <a:cubicBezTo>
                    <a:pt x="899" y="541"/>
                    <a:pt x="891" y="538"/>
                    <a:pt x="891" y="536"/>
                  </a:cubicBezTo>
                  <a:cubicBezTo>
                    <a:pt x="891" y="533"/>
                    <a:pt x="886" y="531"/>
                    <a:pt x="887" y="529"/>
                  </a:cubicBezTo>
                  <a:cubicBezTo>
                    <a:pt x="887" y="527"/>
                    <a:pt x="882" y="524"/>
                    <a:pt x="882" y="521"/>
                  </a:cubicBezTo>
                  <a:cubicBezTo>
                    <a:pt x="882" y="518"/>
                    <a:pt x="875" y="512"/>
                    <a:pt x="875" y="508"/>
                  </a:cubicBezTo>
                  <a:cubicBezTo>
                    <a:pt x="874" y="505"/>
                    <a:pt x="870" y="502"/>
                    <a:pt x="869" y="498"/>
                  </a:cubicBezTo>
                  <a:cubicBezTo>
                    <a:pt x="867" y="494"/>
                    <a:pt x="865" y="496"/>
                    <a:pt x="864" y="502"/>
                  </a:cubicBezTo>
                  <a:cubicBezTo>
                    <a:pt x="862" y="508"/>
                    <a:pt x="857" y="507"/>
                    <a:pt x="859" y="509"/>
                  </a:cubicBezTo>
                  <a:cubicBezTo>
                    <a:pt x="862" y="513"/>
                    <a:pt x="859" y="514"/>
                    <a:pt x="857" y="516"/>
                  </a:cubicBezTo>
                  <a:cubicBezTo>
                    <a:pt x="855" y="519"/>
                    <a:pt x="859" y="522"/>
                    <a:pt x="855" y="522"/>
                  </a:cubicBezTo>
                  <a:cubicBezTo>
                    <a:pt x="851" y="522"/>
                    <a:pt x="853" y="530"/>
                    <a:pt x="851" y="527"/>
                  </a:cubicBezTo>
                  <a:cubicBezTo>
                    <a:pt x="849" y="523"/>
                    <a:pt x="844" y="524"/>
                    <a:pt x="844" y="528"/>
                  </a:cubicBezTo>
                  <a:cubicBezTo>
                    <a:pt x="844" y="531"/>
                    <a:pt x="836" y="534"/>
                    <a:pt x="833" y="534"/>
                  </a:cubicBezTo>
                  <a:cubicBezTo>
                    <a:pt x="830" y="534"/>
                    <a:pt x="830" y="527"/>
                    <a:pt x="827" y="529"/>
                  </a:cubicBezTo>
                  <a:cubicBezTo>
                    <a:pt x="824" y="531"/>
                    <a:pt x="825" y="523"/>
                    <a:pt x="820" y="524"/>
                  </a:cubicBezTo>
                  <a:cubicBezTo>
                    <a:pt x="816" y="524"/>
                    <a:pt x="813" y="523"/>
                    <a:pt x="814" y="520"/>
                  </a:cubicBezTo>
                  <a:cubicBezTo>
                    <a:pt x="816" y="516"/>
                    <a:pt x="807" y="514"/>
                    <a:pt x="810" y="512"/>
                  </a:cubicBezTo>
                  <a:cubicBezTo>
                    <a:pt x="813" y="510"/>
                    <a:pt x="809" y="506"/>
                    <a:pt x="809" y="499"/>
                  </a:cubicBezTo>
                  <a:cubicBezTo>
                    <a:pt x="808" y="493"/>
                    <a:pt x="812" y="492"/>
                    <a:pt x="812" y="490"/>
                  </a:cubicBezTo>
                  <a:cubicBezTo>
                    <a:pt x="812" y="487"/>
                    <a:pt x="809" y="487"/>
                    <a:pt x="806" y="489"/>
                  </a:cubicBezTo>
                  <a:cubicBezTo>
                    <a:pt x="803" y="491"/>
                    <a:pt x="803" y="486"/>
                    <a:pt x="800" y="487"/>
                  </a:cubicBezTo>
                  <a:cubicBezTo>
                    <a:pt x="797" y="487"/>
                    <a:pt x="787" y="486"/>
                    <a:pt x="787" y="482"/>
                  </a:cubicBezTo>
                  <a:cubicBezTo>
                    <a:pt x="786" y="477"/>
                    <a:pt x="783" y="480"/>
                    <a:pt x="781" y="475"/>
                  </a:cubicBezTo>
                  <a:cubicBezTo>
                    <a:pt x="780" y="471"/>
                    <a:pt x="776" y="474"/>
                    <a:pt x="776" y="471"/>
                  </a:cubicBezTo>
                  <a:cubicBezTo>
                    <a:pt x="776" y="468"/>
                    <a:pt x="774" y="467"/>
                    <a:pt x="771" y="467"/>
                  </a:cubicBezTo>
                  <a:cubicBezTo>
                    <a:pt x="768" y="467"/>
                    <a:pt x="767" y="463"/>
                    <a:pt x="763" y="463"/>
                  </a:cubicBezTo>
                  <a:cubicBezTo>
                    <a:pt x="759" y="462"/>
                    <a:pt x="754" y="466"/>
                    <a:pt x="752" y="467"/>
                  </a:cubicBezTo>
                  <a:cubicBezTo>
                    <a:pt x="750" y="468"/>
                    <a:pt x="744" y="463"/>
                    <a:pt x="742" y="465"/>
                  </a:cubicBezTo>
                  <a:cubicBezTo>
                    <a:pt x="739" y="467"/>
                    <a:pt x="739" y="464"/>
                    <a:pt x="733" y="462"/>
                  </a:cubicBezTo>
                  <a:cubicBezTo>
                    <a:pt x="726" y="460"/>
                    <a:pt x="718" y="460"/>
                    <a:pt x="718" y="462"/>
                  </a:cubicBezTo>
                  <a:cubicBezTo>
                    <a:pt x="717" y="464"/>
                    <a:pt x="712" y="465"/>
                    <a:pt x="713" y="470"/>
                  </a:cubicBezTo>
                  <a:cubicBezTo>
                    <a:pt x="714" y="475"/>
                    <a:pt x="719" y="474"/>
                    <a:pt x="720" y="478"/>
                  </a:cubicBezTo>
                  <a:cubicBezTo>
                    <a:pt x="721" y="481"/>
                    <a:pt x="718" y="480"/>
                    <a:pt x="717" y="483"/>
                  </a:cubicBezTo>
                  <a:cubicBezTo>
                    <a:pt x="717" y="487"/>
                    <a:pt x="714" y="486"/>
                    <a:pt x="714" y="489"/>
                  </a:cubicBezTo>
                  <a:cubicBezTo>
                    <a:pt x="714" y="491"/>
                    <a:pt x="716" y="490"/>
                    <a:pt x="717" y="495"/>
                  </a:cubicBezTo>
                  <a:cubicBezTo>
                    <a:pt x="719" y="499"/>
                    <a:pt x="721" y="499"/>
                    <a:pt x="722" y="505"/>
                  </a:cubicBezTo>
                  <a:cubicBezTo>
                    <a:pt x="723" y="511"/>
                    <a:pt x="720" y="510"/>
                    <a:pt x="717" y="511"/>
                  </a:cubicBezTo>
                  <a:cubicBezTo>
                    <a:pt x="715" y="511"/>
                    <a:pt x="718" y="514"/>
                    <a:pt x="714" y="518"/>
                  </a:cubicBezTo>
                  <a:cubicBezTo>
                    <a:pt x="711" y="522"/>
                    <a:pt x="708" y="527"/>
                    <a:pt x="710" y="529"/>
                  </a:cubicBezTo>
                  <a:cubicBezTo>
                    <a:pt x="713" y="532"/>
                    <a:pt x="723" y="536"/>
                    <a:pt x="727" y="543"/>
                  </a:cubicBezTo>
                  <a:cubicBezTo>
                    <a:pt x="731" y="549"/>
                    <a:pt x="731" y="560"/>
                    <a:pt x="730" y="567"/>
                  </a:cubicBezTo>
                  <a:cubicBezTo>
                    <a:pt x="729" y="575"/>
                    <a:pt x="720" y="577"/>
                    <a:pt x="714" y="583"/>
                  </a:cubicBezTo>
                  <a:cubicBezTo>
                    <a:pt x="708" y="590"/>
                    <a:pt x="701" y="589"/>
                    <a:pt x="698" y="589"/>
                  </a:cubicBezTo>
                  <a:cubicBezTo>
                    <a:pt x="695" y="589"/>
                    <a:pt x="697" y="595"/>
                    <a:pt x="701" y="600"/>
                  </a:cubicBezTo>
                  <a:cubicBezTo>
                    <a:pt x="705" y="605"/>
                    <a:pt x="702" y="606"/>
                    <a:pt x="704" y="611"/>
                  </a:cubicBezTo>
                  <a:cubicBezTo>
                    <a:pt x="706" y="616"/>
                    <a:pt x="704" y="620"/>
                    <a:pt x="707" y="625"/>
                  </a:cubicBezTo>
                  <a:cubicBezTo>
                    <a:pt x="711" y="629"/>
                    <a:pt x="709" y="631"/>
                    <a:pt x="705" y="634"/>
                  </a:cubicBezTo>
                  <a:cubicBezTo>
                    <a:pt x="701" y="637"/>
                    <a:pt x="706" y="636"/>
                    <a:pt x="707" y="640"/>
                  </a:cubicBezTo>
                  <a:cubicBezTo>
                    <a:pt x="707" y="644"/>
                    <a:pt x="705" y="642"/>
                    <a:pt x="702" y="639"/>
                  </a:cubicBezTo>
                  <a:cubicBezTo>
                    <a:pt x="698" y="637"/>
                    <a:pt x="695" y="644"/>
                    <a:pt x="695" y="646"/>
                  </a:cubicBezTo>
                  <a:cubicBezTo>
                    <a:pt x="695" y="649"/>
                    <a:pt x="688" y="643"/>
                    <a:pt x="686" y="643"/>
                  </a:cubicBezTo>
                  <a:cubicBezTo>
                    <a:pt x="684" y="643"/>
                    <a:pt x="686" y="639"/>
                    <a:pt x="682" y="635"/>
                  </a:cubicBezTo>
                  <a:cubicBezTo>
                    <a:pt x="677" y="632"/>
                    <a:pt x="674" y="631"/>
                    <a:pt x="674" y="627"/>
                  </a:cubicBezTo>
                  <a:cubicBezTo>
                    <a:pt x="674" y="624"/>
                    <a:pt x="666" y="621"/>
                    <a:pt x="666" y="617"/>
                  </a:cubicBezTo>
                  <a:cubicBezTo>
                    <a:pt x="666" y="613"/>
                    <a:pt x="667" y="603"/>
                    <a:pt x="665" y="600"/>
                  </a:cubicBezTo>
                  <a:cubicBezTo>
                    <a:pt x="664" y="597"/>
                    <a:pt x="665" y="594"/>
                    <a:pt x="667" y="591"/>
                  </a:cubicBezTo>
                  <a:cubicBezTo>
                    <a:pt x="668" y="588"/>
                    <a:pt x="665" y="584"/>
                    <a:pt x="660" y="584"/>
                  </a:cubicBezTo>
                  <a:cubicBezTo>
                    <a:pt x="656" y="584"/>
                    <a:pt x="650" y="583"/>
                    <a:pt x="643" y="583"/>
                  </a:cubicBezTo>
                  <a:cubicBezTo>
                    <a:pt x="637" y="584"/>
                    <a:pt x="634" y="583"/>
                    <a:pt x="632" y="581"/>
                  </a:cubicBezTo>
                  <a:cubicBezTo>
                    <a:pt x="630" y="579"/>
                    <a:pt x="624" y="575"/>
                    <a:pt x="616" y="573"/>
                  </a:cubicBezTo>
                  <a:cubicBezTo>
                    <a:pt x="608" y="571"/>
                    <a:pt x="605" y="567"/>
                    <a:pt x="604" y="565"/>
                  </a:cubicBezTo>
                  <a:cubicBezTo>
                    <a:pt x="603" y="563"/>
                    <a:pt x="596" y="561"/>
                    <a:pt x="594" y="559"/>
                  </a:cubicBezTo>
                  <a:cubicBezTo>
                    <a:pt x="592" y="557"/>
                    <a:pt x="585" y="555"/>
                    <a:pt x="582" y="556"/>
                  </a:cubicBezTo>
                  <a:cubicBezTo>
                    <a:pt x="579" y="556"/>
                    <a:pt x="571" y="550"/>
                    <a:pt x="567" y="550"/>
                  </a:cubicBezTo>
                  <a:cubicBezTo>
                    <a:pt x="562" y="550"/>
                    <a:pt x="552" y="555"/>
                    <a:pt x="550" y="555"/>
                  </a:cubicBezTo>
                  <a:cubicBezTo>
                    <a:pt x="548" y="555"/>
                    <a:pt x="550" y="551"/>
                    <a:pt x="551" y="549"/>
                  </a:cubicBezTo>
                  <a:cubicBezTo>
                    <a:pt x="553" y="548"/>
                    <a:pt x="548" y="540"/>
                    <a:pt x="546" y="535"/>
                  </a:cubicBezTo>
                  <a:cubicBezTo>
                    <a:pt x="545" y="530"/>
                    <a:pt x="543" y="525"/>
                    <a:pt x="538" y="525"/>
                  </a:cubicBezTo>
                  <a:cubicBezTo>
                    <a:pt x="533" y="526"/>
                    <a:pt x="527" y="523"/>
                    <a:pt x="526" y="522"/>
                  </a:cubicBezTo>
                  <a:cubicBezTo>
                    <a:pt x="524" y="521"/>
                    <a:pt x="524" y="507"/>
                    <a:pt x="525" y="501"/>
                  </a:cubicBezTo>
                  <a:cubicBezTo>
                    <a:pt x="526" y="495"/>
                    <a:pt x="533" y="486"/>
                    <a:pt x="533" y="482"/>
                  </a:cubicBezTo>
                  <a:cubicBezTo>
                    <a:pt x="533" y="479"/>
                    <a:pt x="537" y="477"/>
                    <a:pt x="541" y="476"/>
                  </a:cubicBezTo>
                  <a:cubicBezTo>
                    <a:pt x="545" y="475"/>
                    <a:pt x="542" y="468"/>
                    <a:pt x="545" y="467"/>
                  </a:cubicBezTo>
                  <a:cubicBezTo>
                    <a:pt x="549" y="467"/>
                    <a:pt x="549" y="465"/>
                    <a:pt x="550" y="462"/>
                  </a:cubicBezTo>
                  <a:cubicBezTo>
                    <a:pt x="551" y="459"/>
                    <a:pt x="555" y="461"/>
                    <a:pt x="553" y="459"/>
                  </a:cubicBezTo>
                  <a:cubicBezTo>
                    <a:pt x="550" y="456"/>
                    <a:pt x="552" y="455"/>
                    <a:pt x="558" y="455"/>
                  </a:cubicBezTo>
                  <a:cubicBezTo>
                    <a:pt x="564" y="455"/>
                    <a:pt x="572" y="453"/>
                    <a:pt x="571" y="448"/>
                  </a:cubicBezTo>
                  <a:cubicBezTo>
                    <a:pt x="570" y="442"/>
                    <a:pt x="555" y="446"/>
                    <a:pt x="555" y="441"/>
                  </a:cubicBezTo>
                  <a:cubicBezTo>
                    <a:pt x="555" y="437"/>
                    <a:pt x="536" y="436"/>
                    <a:pt x="537" y="434"/>
                  </a:cubicBezTo>
                  <a:cubicBezTo>
                    <a:pt x="538" y="431"/>
                    <a:pt x="556" y="436"/>
                    <a:pt x="563" y="438"/>
                  </a:cubicBezTo>
                  <a:cubicBezTo>
                    <a:pt x="569" y="441"/>
                    <a:pt x="571" y="440"/>
                    <a:pt x="576" y="440"/>
                  </a:cubicBezTo>
                  <a:cubicBezTo>
                    <a:pt x="581" y="440"/>
                    <a:pt x="578" y="433"/>
                    <a:pt x="579" y="430"/>
                  </a:cubicBezTo>
                  <a:cubicBezTo>
                    <a:pt x="580" y="428"/>
                    <a:pt x="590" y="435"/>
                    <a:pt x="596" y="433"/>
                  </a:cubicBezTo>
                  <a:cubicBezTo>
                    <a:pt x="601" y="432"/>
                    <a:pt x="607" y="420"/>
                    <a:pt x="612" y="417"/>
                  </a:cubicBezTo>
                  <a:cubicBezTo>
                    <a:pt x="616" y="413"/>
                    <a:pt x="612" y="410"/>
                    <a:pt x="603" y="411"/>
                  </a:cubicBezTo>
                  <a:cubicBezTo>
                    <a:pt x="594" y="412"/>
                    <a:pt x="588" y="408"/>
                    <a:pt x="583" y="405"/>
                  </a:cubicBezTo>
                  <a:cubicBezTo>
                    <a:pt x="578" y="401"/>
                    <a:pt x="579" y="398"/>
                    <a:pt x="584" y="398"/>
                  </a:cubicBezTo>
                  <a:cubicBezTo>
                    <a:pt x="589" y="399"/>
                    <a:pt x="602" y="409"/>
                    <a:pt x="607" y="409"/>
                  </a:cubicBezTo>
                  <a:cubicBezTo>
                    <a:pt x="611" y="410"/>
                    <a:pt x="620" y="400"/>
                    <a:pt x="624" y="397"/>
                  </a:cubicBezTo>
                  <a:cubicBezTo>
                    <a:pt x="628" y="394"/>
                    <a:pt x="620" y="393"/>
                    <a:pt x="617" y="391"/>
                  </a:cubicBezTo>
                  <a:cubicBezTo>
                    <a:pt x="614" y="388"/>
                    <a:pt x="622" y="387"/>
                    <a:pt x="626" y="387"/>
                  </a:cubicBezTo>
                  <a:cubicBezTo>
                    <a:pt x="630" y="387"/>
                    <a:pt x="632" y="390"/>
                    <a:pt x="633" y="392"/>
                  </a:cubicBezTo>
                  <a:cubicBezTo>
                    <a:pt x="635" y="394"/>
                    <a:pt x="642" y="391"/>
                    <a:pt x="645" y="391"/>
                  </a:cubicBezTo>
                  <a:cubicBezTo>
                    <a:pt x="649" y="391"/>
                    <a:pt x="645" y="385"/>
                    <a:pt x="639" y="383"/>
                  </a:cubicBezTo>
                  <a:cubicBezTo>
                    <a:pt x="633" y="381"/>
                    <a:pt x="639" y="376"/>
                    <a:pt x="641" y="380"/>
                  </a:cubicBezTo>
                  <a:cubicBezTo>
                    <a:pt x="643" y="383"/>
                    <a:pt x="647" y="383"/>
                    <a:pt x="649" y="387"/>
                  </a:cubicBezTo>
                  <a:cubicBezTo>
                    <a:pt x="652" y="392"/>
                    <a:pt x="653" y="389"/>
                    <a:pt x="658" y="387"/>
                  </a:cubicBezTo>
                  <a:cubicBezTo>
                    <a:pt x="663" y="385"/>
                    <a:pt x="666" y="382"/>
                    <a:pt x="669" y="379"/>
                  </a:cubicBezTo>
                  <a:cubicBezTo>
                    <a:pt x="671" y="376"/>
                    <a:pt x="672" y="380"/>
                    <a:pt x="675" y="375"/>
                  </a:cubicBezTo>
                  <a:cubicBezTo>
                    <a:pt x="678" y="370"/>
                    <a:pt x="674" y="366"/>
                    <a:pt x="670" y="363"/>
                  </a:cubicBezTo>
                  <a:cubicBezTo>
                    <a:pt x="666" y="360"/>
                    <a:pt x="670" y="357"/>
                    <a:pt x="666" y="355"/>
                  </a:cubicBezTo>
                  <a:cubicBezTo>
                    <a:pt x="662" y="353"/>
                    <a:pt x="661" y="349"/>
                    <a:pt x="666" y="350"/>
                  </a:cubicBezTo>
                  <a:cubicBezTo>
                    <a:pt x="671" y="351"/>
                    <a:pt x="675" y="349"/>
                    <a:pt x="677" y="346"/>
                  </a:cubicBezTo>
                  <a:cubicBezTo>
                    <a:pt x="680" y="342"/>
                    <a:pt x="670" y="342"/>
                    <a:pt x="674" y="339"/>
                  </a:cubicBezTo>
                  <a:cubicBezTo>
                    <a:pt x="679" y="337"/>
                    <a:pt x="675" y="334"/>
                    <a:pt x="671" y="334"/>
                  </a:cubicBezTo>
                  <a:cubicBezTo>
                    <a:pt x="666" y="334"/>
                    <a:pt x="662" y="332"/>
                    <a:pt x="662" y="328"/>
                  </a:cubicBezTo>
                  <a:cubicBezTo>
                    <a:pt x="662" y="324"/>
                    <a:pt x="654" y="327"/>
                    <a:pt x="649" y="325"/>
                  </a:cubicBezTo>
                  <a:cubicBezTo>
                    <a:pt x="645" y="322"/>
                    <a:pt x="634" y="323"/>
                    <a:pt x="632" y="323"/>
                  </a:cubicBezTo>
                  <a:cubicBezTo>
                    <a:pt x="629" y="323"/>
                    <a:pt x="629" y="334"/>
                    <a:pt x="633" y="334"/>
                  </a:cubicBezTo>
                  <a:cubicBezTo>
                    <a:pt x="636" y="334"/>
                    <a:pt x="639" y="338"/>
                    <a:pt x="636" y="339"/>
                  </a:cubicBezTo>
                  <a:cubicBezTo>
                    <a:pt x="633" y="341"/>
                    <a:pt x="637" y="345"/>
                    <a:pt x="634" y="344"/>
                  </a:cubicBezTo>
                  <a:cubicBezTo>
                    <a:pt x="632" y="344"/>
                    <a:pt x="628" y="343"/>
                    <a:pt x="627" y="349"/>
                  </a:cubicBezTo>
                  <a:cubicBezTo>
                    <a:pt x="626" y="356"/>
                    <a:pt x="626" y="358"/>
                    <a:pt x="621" y="361"/>
                  </a:cubicBezTo>
                  <a:cubicBezTo>
                    <a:pt x="617" y="363"/>
                    <a:pt x="620" y="353"/>
                    <a:pt x="616" y="354"/>
                  </a:cubicBezTo>
                  <a:cubicBezTo>
                    <a:pt x="612" y="354"/>
                    <a:pt x="612" y="362"/>
                    <a:pt x="615" y="362"/>
                  </a:cubicBezTo>
                  <a:cubicBezTo>
                    <a:pt x="618" y="363"/>
                    <a:pt x="618" y="366"/>
                    <a:pt x="619" y="369"/>
                  </a:cubicBezTo>
                  <a:cubicBezTo>
                    <a:pt x="620" y="373"/>
                    <a:pt x="614" y="370"/>
                    <a:pt x="611" y="375"/>
                  </a:cubicBezTo>
                  <a:cubicBezTo>
                    <a:pt x="609" y="379"/>
                    <a:pt x="608" y="373"/>
                    <a:pt x="605" y="370"/>
                  </a:cubicBezTo>
                  <a:cubicBezTo>
                    <a:pt x="601" y="367"/>
                    <a:pt x="597" y="362"/>
                    <a:pt x="597" y="358"/>
                  </a:cubicBezTo>
                  <a:cubicBezTo>
                    <a:pt x="598" y="355"/>
                    <a:pt x="599" y="354"/>
                    <a:pt x="602" y="353"/>
                  </a:cubicBezTo>
                  <a:cubicBezTo>
                    <a:pt x="605" y="353"/>
                    <a:pt x="602" y="350"/>
                    <a:pt x="602" y="346"/>
                  </a:cubicBezTo>
                  <a:cubicBezTo>
                    <a:pt x="602" y="341"/>
                    <a:pt x="598" y="343"/>
                    <a:pt x="594" y="338"/>
                  </a:cubicBezTo>
                  <a:cubicBezTo>
                    <a:pt x="590" y="333"/>
                    <a:pt x="586" y="333"/>
                    <a:pt x="584" y="335"/>
                  </a:cubicBezTo>
                  <a:cubicBezTo>
                    <a:pt x="582" y="338"/>
                    <a:pt x="583" y="342"/>
                    <a:pt x="580" y="343"/>
                  </a:cubicBezTo>
                  <a:cubicBezTo>
                    <a:pt x="576" y="345"/>
                    <a:pt x="578" y="352"/>
                    <a:pt x="575" y="352"/>
                  </a:cubicBezTo>
                  <a:cubicBezTo>
                    <a:pt x="572" y="353"/>
                    <a:pt x="573" y="340"/>
                    <a:pt x="571" y="339"/>
                  </a:cubicBezTo>
                  <a:cubicBezTo>
                    <a:pt x="568" y="338"/>
                    <a:pt x="569" y="335"/>
                    <a:pt x="572" y="334"/>
                  </a:cubicBezTo>
                  <a:cubicBezTo>
                    <a:pt x="576" y="334"/>
                    <a:pt x="578" y="330"/>
                    <a:pt x="575" y="330"/>
                  </a:cubicBezTo>
                  <a:cubicBezTo>
                    <a:pt x="572" y="330"/>
                    <a:pt x="566" y="326"/>
                    <a:pt x="564" y="325"/>
                  </a:cubicBezTo>
                  <a:cubicBezTo>
                    <a:pt x="562" y="324"/>
                    <a:pt x="558" y="329"/>
                    <a:pt x="555" y="327"/>
                  </a:cubicBezTo>
                  <a:cubicBezTo>
                    <a:pt x="553" y="325"/>
                    <a:pt x="556" y="320"/>
                    <a:pt x="556" y="318"/>
                  </a:cubicBezTo>
                  <a:cubicBezTo>
                    <a:pt x="556" y="315"/>
                    <a:pt x="560" y="319"/>
                    <a:pt x="562" y="315"/>
                  </a:cubicBezTo>
                  <a:cubicBezTo>
                    <a:pt x="565" y="312"/>
                    <a:pt x="555" y="312"/>
                    <a:pt x="555" y="308"/>
                  </a:cubicBezTo>
                  <a:cubicBezTo>
                    <a:pt x="555" y="304"/>
                    <a:pt x="548" y="303"/>
                    <a:pt x="545" y="302"/>
                  </a:cubicBezTo>
                  <a:cubicBezTo>
                    <a:pt x="543" y="301"/>
                    <a:pt x="547" y="295"/>
                    <a:pt x="546" y="292"/>
                  </a:cubicBezTo>
                  <a:cubicBezTo>
                    <a:pt x="545" y="290"/>
                    <a:pt x="535" y="281"/>
                    <a:pt x="531" y="282"/>
                  </a:cubicBezTo>
                  <a:cubicBezTo>
                    <a:pt x="527" y="283"/>
                    <a:pt x="526" y="277"/>
                    <a:pt x="529" y="277"/>
                  </a:cubicBezTo>
                  <a:cubicBezTo>
                    <a:pt x="531" y="277"/>
                    <a:pt x="533" y="276"/>
                    <a:pt x="537" y="271"/>
                  </a:cubicBezTo>
                  <a:cubicBezTo>
                    <a:pt x="541" y="266"/>
                    <a:pt x="542" y="265"/>
                    <a:pt x="539" y="264"/>
                  </a:cubicBezTo>
                  <a:cubicBezTo>
                    <a:pt x="536" y="263"/>
                    <a:pt x="534" y="260"/>
                    <a:pt x="539" y="260"/>
                  </a:cubicBezTo>
                  <a:cubicBezTo>
                    <a:pt x="545" y="260"/>
                    <a:pt x="554" y="264"/>
                    <a:pt x="557" y="262"/>
                  </a:cubicBezTo>
                  <a:cubicBezTo>
                    <a:pt x="560" y="259"/>
                    <a:pt x="569" y="245"/>
                    <a:pt x="573" y="239"/>
                  </a:cubicBezTo>
                  <a:cubicBezTo>
                    <a:pt x="577" y="234"/>
                    <a:pt x="570" y="234"/>
                    <a:pt x="561" y="234"/>
                  </a:cubicBezTo>
                  <a:cubicBezTo>
                    <a:pt x="552" y="235"/>
                    <a:pt x="550" y="231"/>
                    <a:pt x="543" y="230"/>
                  </a:cubicBezTo>
                  <a:cubicBezTo>
                    <a:pt x="535" y="230"/>
                    <a:pt x="521" y="232"/>
                    <a:pt x="519" y="234"/>
                  </a:cubicBezTo>
                  <a:cubicBezTo>
                    <a:pt x="517" y="236"/>
                    <a:pt x="523" y="238"/>
                    <a:pt x="522" y="241"/>
                  </a:cubicBezTo>
                  <a:cubicBezTo>
                    <a:pt x="522" y="243"/>
                    <a:pt x="517" y="239"/>
                    <a:pt x="515" y="240"/>
                  </a:cubicBezTo>
                  <a:cubicBezTo>
                    <a:pt x="513" y="241"/>
                    <a:pt x="516" y="244"/>
                    <a:pt x="515" y="253"/>
                  </a:cubicBezTo>
                  <a:cubicBezTo>
                    <a:pt x="514" y="262"/>
                    <a:pt x="517" y="262"/>
                    <a:pt x="519" y="266"/>
                  </a:cubicBezTo>
                  <a:cubicBezTo>
                    <a:pt x="522" y="269"/>
                    <a:pt x="521" y="273"/>
                    <a:pt x="521" y="279"/>
                  </a:cubicBezTo>
                  <a:cubicBezTo>
                    <a:pt x="521" y="284"/>
                    <a:pt x="516" y="284"/>
                    <a:pt x="514" y="285"/>
                  </a:cubicBezTo>
                  <a:cubicBezTo>
                    <a:pt x="513" y="286"/>
                    <a:pt x="519" y="288"/>
                    <a:pt x="518" y="292"/>
                  </a:cubicBezTo>
                  <a:cubicBezTo>
                    <a:pt x="517" y="295"/>
                    <a:pt x="512" y="290"/>
                    <a:pt x="509" y="291"/>
                  </a:cubicBezTo>
                  <a:cubicBezTo>
                    <a:pt x="506" y="292"/>
                    <a:pt x="503" y="300"/>
                    <a:pt x="506" y="303"/>
                  </a:cubicBezTo>
                  <a:cubicBezTo>
                    <a:pt x="510" y="306"/>
                    <a:pt x="511" y="305"/>
                    <a:pt x="508" y="309"/>
                  </a:cubicBezTo>
                  <a:cubicBezTo>
                    <a:pt x="506" y="312"/>
                    <a:pt x="503" y="317"/>
                    <a:pt x="509" y="321"/>
                  </a:cubicBezTo>
                  <a:cubicBezTo>
                    <a:pt x="515" y="326"/>
                    <a:pt x="526" y="326"/>
                    <a:pt x="532" y="329"/>
                  </a:cubicBezTo>
                  <a:cubicBezTo>
                    <a:pt x="538" y="333"/>
                    <a:pt x="529" y="331"/>
                    <a:pt x="532" y="335"/>
                  </a:cubicBezTo>
                  <a:cubicBezTo>
                    <a:pt x="534" y="339"/>
                    <a:pt x="528" y="341"/>
                    <a:pt x="528" y="344"/>
                  </a:cubicBezTo>
                  <a:cubicBezTo>
                    <a:pt x="528" y="347"/>
                    <a:pt x="531" y="346"/>
                    <a:pt x="534" y="340"/>
                  </a:cubicBezTo>
                  <a:cubicBezTo>
                    <a:pt x="537" y="335"/>
                    <a:pt x="539" y="342"/>
                    <a:pt x="539" y="346"/>
                  </a:cubicBezTo>
                  <a:cubicBezTo>
                    <a:pt x="538" y="351"/>
                    <a:pt x="534" y="348"/>
                    <a:pt x="531" y="353"/>
                  </a:cubicBezTo>
                  <a:cubicBezTo>
                    <a:pt x="528" y="358"/>
                    <a:pt x="525" y="359"/>
                    <a:pt x="520" y="358"/>
                  </a:cubicBezTo>
                  <a:cubicBezTo>
                    <a:pt x="515" y="357"/>
                    <a:pt x="518" y="364"/>
                    <a:pt x="520" y="369"/>
                  </a:cubicBezTo>
                  <a:cubicBezTo>
                    <a:pt x="522" y="373"/>
                    <a:pt x="519" y="374"/>
                    <a:pt x="514" y="373"/>
                  </a:cubicBezTo>
                  <a:cubicBezTo>
                    <a:pt x="508" y="371"/>
                    <a:pt x="505" y="368"/>
                    <a:pt x="508" y="364"/>
                  </a:cubicBezTo>
                  <a:cubicBezTo>
                    <a:pt x="511" y="359"/>
                    <a:pt x="513" y="354"/>
                    <a:pt x="509" y="355"/>
                  </a:cubicBezTo>
                  <a:cubicBezTo>
                    <a:pt x="506" y="355"/>
                    <a:pt x="499" y="355"/>
                    <a:pt x="496" y="351"/>
                  </a:cubicBezTo>
                  <a:cubicBezTo>
                    <a:pt x="494" y="348"/>
                    <a:pt x="498" y="349"/>
                    <a:pt x="505" y="350"/>
                  </a:cubicBezTo>
                  <a:cubicBezTo>
                    <a:pt x="511" y="351"/>
                    <a:pt x="506" y="345"/>
                    <a:pt x="511" y="345"/>
                  </a:cubicBezTo>
                  <a:cubicBezTo>
                    <a:pt x="516" y="345"/>
                    <a:pt x="519" y="348"/>
                    <a:pt x="524" y="344"/>
                  </a:cubicBezTo>
                  <a:cubicBezTo>
                    <a:pt x="528" y="341"/>
                    <a:pt x="521" y="333"/>
                    <a:pt x="517" y="335"/>
                  </a:cubicBezTo>
                  <a:cubicBezTo>
                    <a:pt x="514" y="336"/>
                    <a:pt x="508" y="337"/>
                    <a:pt x="508" y="334"/>
                  </a:cubicBezTo>
                  <a:cubicBezTo>
                    <a:pt x="508" y="330"/>
                    <a:pt x="514" y="333"/>
                    <a:pt x="518" y="332"/>
                  </a:cubicBezTo>
                  <a:cubicBezTo>
                    <a:pt x="521" y="331"/>
                    <a:pt x="516" y="327"/>
                    <a:pt x="511" y="328"/>
                  </a:cubicBezTo>
                  <a:cubicBezTo>
                    <a:pt x="506" y="329"/>
                    <a:pt x="502" y="330"/>
                    <a:pt x="498" y="325"/>
                  </a:cubicBezTo>
                  <a:cubicBezTo>
                    <a:pt x="494" y="321"/>
                    <a:pt x="487" y="319"/>
                    <a:pt x="485" y="328"/>
                  </a:cubicBezTo>
                  <a:cubicBezTo>
                    <a:pt x="484" y="338"/>
                    <a:pt x="477" y="333"/>
                    <a:pt x="474" y="336"/>
                  </a:cubicBezTo>
                  <a:cubicBezTo>
                    <a:pt x="471" y="339"/>
                    <a:pt x="477" y="342"/>
                    <a:pt x="484" y="342"/>
                  </a:cubicBezTo>
                  <a:cubicBezTo>
                    <a:pt x="491" y="342"/>
                    <a:pt x="496" y="348"/>
                    <a:pt x="492" y="348"/>
                  </a:cubicBezTo>
                  <a:cubicBezTo>
                    <a:pt x="489" y="348"/>
                    <a:pt x="491" y="353"/>
                    <a:pt x="487" y="351"/>
                  </a:cubicBezTo>
                  <a:cubicBezTo>
                    <a:pt x="484" y="350"/>
                    <a:pt x="480" y="351"/>
                    <a:pt x="483" y="354"/>
                  </a:cubicBezTo>
                  <a:cubicBezTo>
                    <a:pt x="485" y="357"/>
                    <a:pt x="482" y="359"/>
                    <a:pt x="482" y="362"/>
                  </a:cubicBezTo>
                  <a:cubicBezTo>
                    <a:pt x="482" y="365"/>
                    <a:pt x="477" y="362"/>
                    <a:pt x="471" y="361"/>
                  </a:cubicBezTo>
                  <a:cubicBezTo>
                    <a:pt x="466" y="361"/>
                    <a:pt x="456" y="363"/>
                    <a:pt x="449" y="364"/>
                  </a:cubicBezTo>
                  <a:cubicBezTo>
                    <a:pt x="442" y="366"/>
                    <a:pt x="435" y="363"/>
                    <a:pt x="432" y="360"/>
                  </a:cubicBezTo>
                  <a:cubicBezTo>
                    <a:pt x="429" y="357"/>
                    <a:pt x="425" y="357"/>
                    <a:pt x="420" y="357"/>
                  </a:cubicBezTo>
                  <a:cubicBezTo>
                    <a:pt x="415" y="357"/>
                    <a:pt x="416" y="352"/>
                    <a:pt x="410" y="352"/>
                  </a:cubicBezTo>
                  <a:cubicBezTo>
                    <a:pt x="403" y="352"/>
                    <a:pt x="405" y="346"/>
                    <a:pt x="404" y="343"/>
                  </a:cubicBezTo>
                  <a:cubicBezTo>
                    <a:pt x="403" y="340"/>
                    <a:pt x="390" y="341"/>
                    <a:pt x="385" y="344"/>
                  </a:cubicBezTo>
                  <a:cubicBezTo>
                    <a:pt x="381" y="347"/>
                    <a:pt x="371" y="346"/>
                    <a:pt x="369" y="351"/>
                  </a:cubicBezTo>
                  <a:cubicBezTo>
                    <a:pt x="366" y="357"/>
                    <a:pt x="371" y="356"/>
                    <a:pt x="374" y="356"/>
                  </a:cubicBezTo>
                  <a:cubicBezTo>
                    <a:pt x="378" y="356"/>
                    <a:pt x="377" y="351"/>
                    <a:pt x="384" y="352"/>
                  </a:cubicBezTo>
                  <a:cubicBezTo>
                    <a:pt x="391" y="353"/>
                    <a:pt x="396" y="345"/>
                    <a:pt x="399" y="348"/>
                  </a:cubicBezTo>
                  <a:cubicBezTo>
                    <a:pt x="402" y="351"/>
                    <a:pt x="387" y="357"/>
                    <a:pt x="381" y="358"/>
                  </a:cubicBezTo>
                  <a:cubicBezTo>
                    <a:pt x="374" y="359"/>
                    <a:pt x="376" y="364"/>
                    <a:pt x="382" y="373"/>
                  </a:cubicBezTo>
                  <a:cubicBezTo>
                    <a:pt x="388" y="383"/>
                    <a:pt x="379" y="377"/>
                    <a:pt x="379" y="382"/>
                  </a:cubicBezTo>
                  <a:cubicBezTo>
                    <a:pt x="379" y="386"/>
                    <a:pt x="368" y="380"/>
                    <a:pt x="372" y="379"/>
                  </a:cubicBezTo>
                  <a:cubicBezTo>
                    <a:pt x="377" y="377"/>
                    <a:pt x="375" y="373"/>
                    <a:pt x="371" y="370"/>
                  </a:cubicBezTo>
                  <a:cubicBezTo>
                    <a:pt x="367" y="367"/>
                    <a:pt x="365" y="370"/>
                    <a:pt x="365" y="366"/>
                  </a:cubicBezTo>
                  <a:cubicBezTo>
                    <a:pt x="366" y="363"/>
                    <a:pt x="361" y="367"/>
                    <a:pt x="358" y="364"/>
                  </a:cubicBezTo>
                  <a:cubicBezTo>
                    <a:pt x="354" y="361"/>
                    <a:pt x="353" y="359"/>
                    <a:pt x="348" y="361"/>
                  </a:cubicBezTo>
                  <a:cubicBezTo>
                    <a:pt x="343" y="364"/>
                    <a:pt x="338" y="363"/>
                    <a:pt x="327" y="365"/>
                  </a:cubicBezTo>
                  <a:cubicBezTo>
                    <a:pt x="317" y="367"/>
                    <a:pt x="297" y="366"/>
                    <a:pt x="294" y="363"/>
                  </a:cubicBezTo>
                  <a:cubicBezTo>
                    <a:pt x="290" y="359"/>
                    <a:pt x="303" y="353"/>
                    <a:pt x="307" y="354"/>
                  </a:cubicBezTo>
                  <a:cubicBezTo>
                    <a:pt x="310" y="355"/>
                    <a:pt x="308" y="350"/>
                    <a:pt x="302" y="345"/>
                  </a:cubicBezTo>
                  <a:cubicBezTo>
                    <a:pt x="297" y="341"/>
                    <a:pt x="284" y="338"/>
                    <a:pt x="284" y="341"/>
                  </a:cubicBezTo>
                  <a:cubicBezTo>
                    <a:pt x="284" y="344"/>
                    <a:pt x="277" y="341"/>
                    <a:pt x="268" y="339"/>
                  </a:cubicBezTo>
                  <a:cubicBezTo>
                    <a:pt x="258" y="338"/>
                    <a:pt x="257" y="334"/>
                    <a:pt x="251" y="334"/>
                  </a:cubicBezTo>
                  <a:cubicBezTo>
                    <a:pt x="245" y="334"/>
                    <a:pt x="236" y="332"/>
                    <a:pt x="229" y="327"/>
                  </a:cubicBezTo>
                  <a:cubicBezTo>
                    <a:pt x="222" y="321"/>
                    <a:pt x="206" y="323"/>
                    <a:pt x="204" y="328"/>
                  </a:cubicBezTo>
                  <a:cubicBezTo>
                    <a:pt x="202" y="333"/>
                    <a:pt x="196" y="332"/>
                    <a:pt x="191" y="332"/>
                  </a:cubicBezTo>
                  <a:cubicBezTo>
                    <a:pt x="185" y="332"/>
                    <a:pt x="193" y="326"/>
                    <a:pt x="191" y="325"/>
                  </a:cubicBezTo>
                  <a:cubicBezTo>
                    <a:pt x="188" y="324"/>
                    <a:pt x="191" y="317"/>
                    <a:pt x="187" y="316"/>
                  </a:cubicBezTo>
                  <a:cubicBezTo>
                    <a:pt x="183" y="316"/>
                    <a:pt x="180" y="333"/>
                    <a:pt x="172" y="332"/>
                  </a:cubicBezTo>
                  <a:cubicBezTo>
                    <a:pt x="165" y="332"/>
                    <a:pt x="161" y="314"/>
                    <a:pt x="155" y="310"/>
                  </a:cubicBezTo>
                  <a:cubicBezTo>
                    <a:pt x="149" y="305"/>
                    <a:pt x="143" y="305"/>
                    <a:pt x="148" y="312"/>
                  </a:cubicBezTo>
                  <a:cubicBezTo>
                    <a:pt x="154" y="319"/>
                    <a:pt x="144" y="314"/>
                    <a:pt x="144" y="318"/>
                  </a:cubicBezTo>
                  <a:cubicBezTo>
                    <a:pt x="145" y="323"/>
                    <a:pt x="136" y="328"/>
                    <a:pt x="136" y="326"/>
                  </a:cubicBezTo>
                  <a:cubicBezTo>
                    <a:pt x="136" y="323"/>
                    <a:pt x="131" y="320"/>
                    <a:pt x="125" y="327"/>
                  </a:cubicBezTo>
                  <a:cubicBezTo>
                    <a:pt x="119" y="334"/>
                    <a:pt x="115" y="333"/>
                    <a:pt x="114" y="331"/>
                  </a:cubicBezTo>
                  <a:cubicBezTo>
                    <a:pt x="114" y="328"/>
                    <a:pt x="96" y="337"/>
                    <a:pt x="97" y="340"/>
                  </a:cubicBezTo>
                  <a:cubicBezTo>
                    <a:pt x="98" y="343"/>
                    <a:pt x="94" y="346"/>
                    <a:pt x="89" y="345"/>
                  </a:cubicBezTo>
                  <a:cubicBezTo>
                    <a:pt x="85" y="345"/>
                    <a:pt x="88" y="341"/>
                    <a:pt x="92" y="339"/>
                  </a:cubicBezTo>
                  <a:cubicBezTo>
                    <a:pt x="96" y="337"/>
                    <a:pt x="108" y="328"/>
                    <a:pt x="114" y="327"/>
                  </a:cubicBezTo>
                  <a:cubicBezTo>
                    <a:pt x="120" y="326"/>
                    <a:pt x="131" y="321"/>
                    <a:pt x="132" y="318"/>
                  </a:cubicBezTo>
                  <a:cubicBezTo>
                    <a:pt x="132" y="315"/>
                    <a:pt x="126" y="318"/>
                    <a:pt x="122" y="317"/>
                  </a:cubicBezTo>
                  <a:cubicBezTo>
                    <a:pt x="118" y="316"/>
                    <a:pt x="111" y="321"/>
                    <a:pt x="104" y="324"/>
                  </a:cubicBezTo>
                  <a:cubicBezTo>
                    <a:pt x="97" y="327"/>
                    <a:pt x="90" y="326"/>
                    <a:pt x="92" y="330"/>
                  </a:cubicBezTo>
                  <a:cubicBezTo>
                    <a:pt x="94" y="334"/>
                    <a:pt x="85" y="329"/>
                    <a:pt x="84" y="332"/>
                  </a:cubicBezTo>
                  <a:cubicBezTo>
                    <a:pt x="82" y="335"/>
                    <a:pt x="79" y="332"/>
                    <a:pt x="81" y="330"/>
                  </a:cubicBezTo>
                  <a:cubicBezTo>
                    <a:pt x="84" y="329"/>
                    <a:pt x="75" y="326"/>
                    <a:pt x="75" y="328"/>
                  </a:cubicBezTo>
                  <a:cubicBezTo>
                    <a:pt x="75" y="329"/>
                    <a:pt x="74" y="332"/>
                    <a:pt x="68" y="332"/>
                  </a:cubicBezTo>
                  <a:cubicBezTo>
                    <a:pt x="62" y="332"/>
                    <a:pt x="56" y="336"/>
                    <a:pt x="60" y="339"/>
                  </a:cubicBezTo>
                  <a:cubicBezTo>
                    <a:pt x="64" y="342"/>
                    <a:pt x="66" y="343"/>
                    <a:pt x="64" y="345"/>
                  </a:cubicBezTo>
                  <a:cubicBezTo>
                    <a:pt x="62" y="347"/>
                    <a:pt x="56" y="340"/>
                    <a:pt x="47" y="341"/>
                  </a:cubicBezTo>
                  <a:cubicBezTo>
                    <a:pt x="38" y="342"/>
                    <a:pt x="21" y="331"/>
                    <a:pt x="21" y="329"/>
                  </a:cubicBezTo>
                  <a:cubicBezTo>
                    <a:pt x="21" y="326"/>
                    <a:pt x="9" y="328"/>
                    <a:pt x="0" y="327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00"/>
                    <a:pt x="4" y="503"/>
                    <a:pt x="6" y="501"/>
                  </a:cubicBezTo>
                  <a:cubicBezTo>
                    <a:pt x="8" y="499"/>
                    <a:pt x="11" y="502"/>
                    <a:pt x="16" y="499"/>
                  </a:cubicBezTo>
                  <a:cubicBezTo>
                    <a:pt x="22" y="496"/>
                    <a:pt x="24" y="502"/>
                    <a:pt x="24" y="505"/>
                  </a:cubicBezTo>
                  <a:cubicBezTo>
                    <a:pt x="24" y="507"/>
                    <a:pt x="32" y="512"/>
                    <a:pt x="35" y="516"/>
                  </a:cubicBezTo>
                  <a:cubicBezTo>
                    <a:pt x="39" y="520"/>
                    <a:pt x="40" y="524"/>
                    <a:pt x="44" y="522"/>
                  </a:cubicBezTo>
                  <a:cubicBezTo>
                    <a:pt x="48" y="519"/>
                    <a:pt x="54" y="518"/>
                    <a:pt x="54" y="514"/>
                  </a:cubicBezTo>
                  <a:cubicBezTo>
                    <a:pt x="54" y="509"/>
                    <a:pt x="70" y="509"/>
                    <a:pt x="70" y="514"/>
                  </a:cubicBezTo>
                  <a:cubicBezTo>
                    <a:pt x="70" y="520"/>
                    <a:pt x="85" y="527"/>
                    <a:pt x="94" y="542"/>
                  </a:cubicBezTo>
                  <a:cubicBezTo>
                    <a:pt x="103" y="557"/>
                    <a:pt x="101" y="561"/>
                    <a:pt x="114" y="566"/>
                  </a:cubicBezTo>
                  <a:cubicBezTo>
                    <a:pt x="127" y="571"/>
                    <a:pt x="126" y="573"/>
                    <a:pt x="125" y="578"/>
                  </a:cubicBezTo>
                  <a:cubicBezTo>
                    <a:pt x="123" y="582"/>
                    <a:pt x="132" y="584"/>
                    <a:pt x="127" y="588"/>
                  </a:cubicBezTo>
                  <a:cubicBezTo>
                    <a:pt x="125" y="589"/>
                    <a:pt x="122" y="591"/>
                    <a:pt x="119" y="593"/>
                  </a:cubicBezTo>
                  <a:cubicBezTo>
                    <a:pt x="120" y="595"/>
                    <a:pt x="122" y="597"/>
                    <a:pt x="124" y="599"/>
                  </a:cubicBezTo>
                  <a:cubicBezTo>
                    <a:pt x="127" y="602"/>
                    <a:pt x="119" y="602"/>
                    <a:pt x="121" y="604"/>
                  </a:cubicBezTo>
                  <a:cubicBezTo>
                    <a:pt x="124" y="606"/>
                    <a:pt x="121" y="610"/>
                    <a:pt x="123" y="612"/>
                  </a:cubicBezTo>
                  <a:cubicBezTo>
                    <a:pt x="126" y="615"/>
                    <a:pt x="130" y="614"/>
                    <a:pt x="133" y="612"/>
                  </a:cubicBezTo>
                  <a:cubicBezTo>
                    <a:pt x="136" y="610"/>
                    <a:pt x="138" y="615"/>
                    <a:pt x="135" y="618"/>
                  </a:cubicBezTo>
                  <a:cubicBezTo>
                    <a:pt x="133" y="622"/>
                    <a:pt x="138" y="625"/>
                    <a:pt x="140" y="622"/>
                  </a:cubicBezTo>
                  <a:cubicBezTo>
                    <a:pt x="142" y="619"/>
                    <a:pt x="147" y="627"/>
                    <a:pt x="149" y="628"/>
                  </a:cubicBezTo>
                  <a:cubicBezTo>
                    <a:pt x="152" y="629"/>
                    <a:pt x="154" y="633"/>
                    <a:pt x="150" y="633"/>
                  </a:cubicBezTo>
                  <a:cubicBezTo>
                    <a:pt x="146" y="633"/>
                    <a:pt x="147" y="639"/>
                    <a:pt x="150" y="640"/>
                  </a:cubicBezTo>
                  <a:cubicBezTo>
                    <a:pt x="152" y="640"/>
                    <a:pt x="152" y="643"/>
                    <a:pt x="152" y="646"/>
                  </a:cubicBezTo>
                  <a:cubicBezTo>
                    <a:pt x="152" y="648"/>
                    <a:pt x="161" y="651"/>
                    <a:pt x="164" y="650"/>
                  </a:cubicBezTo>
                  <a:cubicBezTo>
                    <a:pt x="167" y="649"/>
                    <a:pt x="170" y="652"/>
                    <a:pt x="172" y="655"/>
                  </a:cubicBezTo>
                  <a:cubicBezTo>
                    <a:pt x="173" y="658"/>
                    <a:pt x="179" y="660"/>
                    <a:pt x="182" y="658"/>
                  </a:cubicBezTo>
                  <a:cubicBezTo>
                    <a:pt x="184" y="656"/>
                    <a:pt x="185" y="661"/>
                    <a:pt x="186" y="665"/>
                  </a:cubicBezTo>
                  <a:cubicBezTo>
                    <a:pt x="186" y="668"/>
                    <a:pt x="191" y="666"/>
                    <a:pt x="194" y="666"/>
                  </a:cubicBezTo>
                  <a:cubicBezTo>
                    <a:pt x="197" y="666"/>
                    <a:pt x="199" y="670"/>
                    <a:pt x="201" y="669"/>
                  </a:cubicBezTo>
                  <a:cubicBezTo>
                    <a:pt x="206" y="667"/>
                    <a:pt x="207" y="675"/>
                    <a:pt x="210" y="680"/>
                  </a:cubicBezTo>
                  <a:cubicBezTo>
                    <a:pt x="520" y="678"/>
                    <a:pt x="520" y="678"/>
                    <a:pt x="520" y="678"/>
                  </a:cubicBezTo>
                  <a:cubicBezTo>
                    <a:pt x="520" y="678"/>
                    <a:pt x="521" y="670"/>
                    <a:pt x="524" y="673"/>
                  </a:cubicBezTo>
                  <a:cubicBezTo>
                    <a:pt x="528" y="676"/>
                    <a:pt x="525" y="680"/>
                    <a:pt x="529" y="682"/>
                  </a:cubicBezTo>
                  <a:cubicBezTo>
                    <a:pt x="533" y="683"/>
                    <a:pt x="536" y="686"/>
                    <a:pt x="539" y="685"/>
                  </a:cubicBezTo>
                  <a:cubicBezTo>
                    <a:pt x="541" y="684"/>
                    <a:pt x="545" y="681"/>
                    <a:pt x="549" y="685"/>
                  </a:cubicBezTo>
                  <a:cubicBezTo>
                    <a:pt x="553" y="690"/>
                    <a:pt x="556" y="686"/>
                    <a:pt x="558" y="689"/>
                  </a:cubicBezTo>
                  <a:cubicBezTo>
                    <a:pt x="561" y="692"/>
                    <a:pt x="565" y="694"/>
                    <a:pt x="568" y="691"/>
                  </a:cubicBezTo>
                  <a:cubicBezTo>
                    <a:pt x="570" y="688"/>
                    <a:pt x="580" y="691"/>
                    <a:pt x="584" y="693"/>
                  </a:cubicBezTo>
                  <a:cubicBezTo>
                    <a:pt x="590" y="688"/>
                    <a:pt x="594" y="679"/>
                    <a:pt x="599" y="679"/>
                  </a:cubicBezTo>
                  <a:cubicBezTo>
                    <a:pt x="605" y="679"/>
                    <a:pt x="622" y="681"/>
                    <a:pt x="623" y="689"/>
                  </a:cubicBezTo>
                  <a:cubicBezTo>
                    <a:pt x="624" y="698"/>
                    <a:pt x="634" y="690"/>
                    <a:pt x="635" y="698"/>
                  </a:cubicBezTo>
                  <a:cubicBezTo>
                    <a:pt x="636" y="704"/>
                    <a:pt x="642" y="710"/>
                    <a:pt x="641" y="713"/>
                  </a:cubicBezTo>
                  <a:cubicBezTo>
                    <a:pt x="643" y="714"/>
                    <a:pt x="645" y="716"/>
                    <a:pt x="648" y="718"/>
                  </a:cubicBezTo>
                  <a:cubicBezTo>
                    <a:pt x="651" y="717"/>
                    <a:pt x="659" y="718"/>
                    <a:pt x="665" y="720"/>
                  </a:cubicBezTo>
                  <a:cubicBezTo>
                    <a:pt x="672" y="723"/>
                    <a:pt x="682" y="717"/>
                    <a:pt x="686" y="726"/>
                  </a:cubicBezTo>
                  <a:cubicBezTo>
                    <a:pt x="689" y="734"/>
                    <a:pt x="697" y="740"/>
                    <a:pt x="690" y="741"/>
                  </a:cubicBezTo>
                  <a:cubicBezTo>
                    <a:pt x="683" y="742"/>
                    <a:pt x="675" y="733"/>
                    <a:pt x="675" y="738"/>
                  </a:cubicBezTo>
                  <a:cubicBezTo>
                    <a:pt x="676" y="743"/>
                    <a:pt x="672" y="740"/>
                    <a:pt x="672" y="748"/>
                  </a:cubicBezTo>
                  <a:cubicBezTo>
                    <a:pt x="672" y="755"/>
                    <a:pt x="667" y="766"/>
                    <a:pt x="664" y="765"/>
                  </a:cubicBezTo>
                  <a:cubicBezTo>
                    <a:pt x="664" y="765"/>
                    <a:pt x="664" y="765"/>
                    <a:pt x="664" y="765"/>
                  </a:cubicBezTo>
                  <a:cubicBezTo>
                    <a:pt x="663" y="768"/>
                    <a:pt x="663" y="771"/>
                    <a:pt x="665" y="774"/>
                  </a:cubicBezTo>
                  <a:cubicBezTo>
                    <a:pt x="669" y="771"/>
                    <a:pt x="675" y="766"/>
                    <a:pt x="679" y="767"/>
                  </a:cubicBezTo>
                  <a:cubicBezTo>
                    <a:pt x="687" y="767"/>
                    <a:pt x="689" y="772"/>
                    <a:pt x="694" y="768"/>
                  </a:cubicBezTo>
                  <a:cubicBezTo>
                    <a:pt x="699" y="765"/>
                    <a:pt x="700" y="763"/>
                    <a:pt x="701" y="766"/>
                  </a:cubicBezTo>
                  <a:cubicBezTo>
                    <a:pt x="701" y="766"/>
                    <a:pt x="701" y="766"/>
                    <a:pt x="701" y="767"/>
                  </a:cubicBezTo>
                  <a:cubicBezTo>
                    <a:pt x="703" y="766"/>
                    <a:pt x="704" y="765"/>
                    <a:pt x="704" y="764"/>
                  </a:cubicBezTo>
                  <a:cubicBezTo>
                    <a:pt x="704" y="763"/>
                    <a:pt x="704" y="761"/>
                    <a:pt x="703" y="759"/>
                  </a:cubicBezTo>
                  <a:cubicBezTo>
                    <a:pt x="698" y="760"/>
                    <a:pt x="697" y="760"/>
                    <a:pt x="695" y="757"/>
                  </a:cubicBezTo>
                  <a:cubicBezTo>
                    <a:pt x="693" y="752"/>
                    <a:pt x="710" y="747"/>
                    <a:pt x="718" y="748"/>
                  </a:cubicBezTo>
                  <a:cubicBezTo>
                    <a:pt x="726" y="749"/>
                    <a:pt x="731" y="744"/>
                    <a:pt x="734" y="747"/>
                  </a:cubicBezTo>
                  <a:cubicBezTo>
                    <a:pt x="739" y="743"/>
                    <a:pt x="747" y="736"/>
                    <a:pt x="749" y="736"/>
                  </a:cubicBezTo>
                  <a:cubicBezTo>
                    <a:pt x="752" y="736"/>
                    <a:pt x="788" y="735"/>
                    <a:pt x="788" y="735"/>
                  </a:cubicBezTo>
                  <a:cubicBezTo>
                    <a:pt x="788" y="735"/>
                    <a:pt x="800" y="728"/>
                    <a:pt x="802" y="721"/>
                  </a:cubicBezTo>
                  <a:cubicBezTo>
                    <a:pt x="803" y="714"/>
                    <a:pt x="811" y="697"/>
                    <a:pt x="816" y="701"/>
                  </a:cubicBezTo>
                  <a:cubicBezTo>
                    <a:pt x="821" y="704"/>
                    <a:pt x="831" y="702"/>
                    <a:pt x="831" y="705"/>
                  </a:cubicBezTo>
                  <a:cubicBezTo>
                    <a:pt x="831" y="708"/>
                    <a:pt x="828" y="719"/>
                    <a:pt x="841" y="736"/>
                  </a:cubicBezTo>
                  <a:cubicBezTo>
                    <a:pt x="845" y="733"/>
                    <a:pt x="850" y="731"/>
                    <a:pt x="852" y="731"/>
                  </a:cubicBezTo>
                  <a:cubicBezTo>
                    <a:pt x="857" y="732"/>
                    <a:pt x="864" y="726"/>
                    <a:pt x="866" y="722"/>
                  </a:cubicBezTo>
                  <a:cubicBezTo>
                    <a:pt x="868" y="718"/>
                    <a:pt x="870" y="725"/>
                    <a:pt x="866" y="727"/>
                  </a:cubicBezTo>
                  <a:cubicBezTo>
                    <a:pt x="862" y="728"/>
                    <a:pt x="870" y="731"/>
                    <a:pt x="877" y="731"/>
                  </a:cubicBezTo>
                  <a:cubicBezTo>
                    <a:pt x="884" y="730"/>
                    <a:pt x="873" y="733"/>
                    <a:pt x="868" y="733"/>
                  </a:cubicBezTo>
                  <a:cubicBezTo>
                    <a:pt x="863" y="733"/>
                    <a:pt x="861" y="733"/>
                    <a:pt x="854" y="740"/>
                  </a:cubicBezTo>
                  <a:cubicBezTo>
                    <a:pt x="847" y="747"/>
                    <a:pt x="848" y="749"/>
                    <a:pt x="852" y="753"/>
                  </a:cubicBezTo>
                  <a:cubicBezTo>
                    <a:pt x="856" y="756"/>
                    <a:pt x="862" y="755"/>
                    <a:pt x="867" y="750"/>
                  </a:cubicBezTo>
                  <a:cubicBezTo>
                    <a:pt x="873" y="745"/>
                    <a:pt x="872" y="741"/>
                    <a:pt x="878" y="741"/>
                  </a:cubicBezTo>
                  <a:cubicBezTo>
                    <a:pt x="883" y="741"/>
                    <a:pt x="898" y="736"/>
                    <a:pt x="904" y="734"/>
                  </a:cubicBezTo>
                  <a:cubicBezTo>
                    <a:pt x="910" y="732"/>
                    <a:pt x="906" y="731"/>
                    <a:pt x="906" y="728"/>
                  </a:cubicBezTo>
                  <a:cubicBezTo>
                    <a:pt x="906" y="725"/>
                    <a:pt x="917" y="725"/>
                    <a:pt x="921" y="723"/>
                  </a:cubicBezTo>
                  <a:cubicBezTo>
                    <a:pt x="925" y="720"/>
                    <a:pt x="920" y="718"/>
                    <a:pt x="917" y="718"/>
                  </a:cubicBezTo>
                  <a:close/>
                  <a:moveTo>
                    <a:pt x="266" y="394"/>
                  </a:moveTo>
                  <a:cubicBezTo>
                    <a:pt x="260" y="402"/>
                    <a:pt x="257" y="403"/>
                    <a:pt x="251" y="402"/>
                  </a:cubicBezTo>
                  <a:cubicBezTo>
                    <a:pt x="244" y="401"/>
                    <a:pt x="240" y="404"/>
                    <a:pt x="243" y="407"/>
                  </a:cubicBezTo>
                  <a:cubicBezTo>
                    <a:pt x="246" y="409"/>
                    <a:pt x="247" y="411"/>
                    <a:pt x="240" y="413"/>
                  </a:cubicBezTo>
                  <a:cubicBezTo>
                    <a:pt x="233" y="414"/>
                    <a:pt x="228" y="420"/>
                    <a:pt x="225" y="419"/>
                  </a:cubicBezTo>
                  <a:cubicBezTo>
                    <a:pt x="223" y="418"/>
                    <a:pt x="237" y="408"/>
                    <a:pt x="234" y="405"/>
                  </a:cubicBezTo>
                  <a:cubicBezTo>
                    <a:pt x="230" y="402"/>
                    <a:pt x="220" y="410"/>
                    <a:pt x="220" y="413"/>
                  </a:cubicBezTo>
                  <a:cubicBezTo>
                    <a:pt x="220" y="417"/>
                    <a:pt x="214" y="417"/>
                    <a:pt x="210" y="417"/>
                  </a:cubicBezTo>
                  <a:cubicBezTo>
                    <a:pt x="206" y="416"/>
                    <a:pt x="201" y="413"/>
                    <a:pt x="205" y="412"/>
                  </a:cubicBezTo>
                  <a:cubicBezTo>
                    <a:pt x="209" y="412"/>
                    <a:pt x="206" y="408"/>
                    <a:pt x="211" y="406"/>
                  </a:cubicBezTo>
                  <a:cubicBezTo>
                    <a:pt x="217" y="404"/>
                    <a:pt x="210" y="401"/>
                    <a:pt x="212" y="399"/>
                  </a:cubicBezTo>
                  <a:cubicBezTo>
                    <a:pt x="214" y="397"/>
                    <a:pt x="224" y="401"/>
                    <a:pt x="224" y="397"/>
                  </a:cubicBezTo>
                  <a:cubicBezTo>
                    <a:pt x="225" y="393"/>
                    <a:pt x="214" y="390"/>
                    <a:pt x="210" y="392"/>
                  </a:cubicBezTo>
                  <a:cubicBezTo>
                    <a:pt x="207" y="394"/>
                    <a:pt x="198" y="400"/>
                    <a:pt x="188" y="396"/>
                  </a:cubicBezTo>
                  <a:cubicBezTo>
                    <a:pt x="185" y="394"/>
                    <a:pt x="213" y="391"/>
                    <a:pt x="218" y="387"/>
                  </a:cubicBezTo>
                  <a:cubicBezTo>
                    <a:pt x="223" y="382"/>
                    <a:pt x="244" y="377"/>
                    <a:pt x="246" y="381"/>
                  </a:cubicBezTo>
                  <a:cubicBezTo>
                    <a:pt x="248" y="385"/>
                    <a:pt x="235" y="388"/>
                    <a:pt x="241" y="392"/>
                  </a:cubicBezTo>
                  <a:cubicBezTo>
                    <a:pt x="247" y="395"/>
                    <a:pt x="258" y="393"/>
                    <a:pt x="260" y="389"/>
                  </a:cubicBezTo>
                  <a:cubicBezTo>
                    <a:pt x="262" y="385"/>
                    <a:pt x="273" y="386"/>
                    <a:pt x="266" y="394"/>
                  </a:cubicBezTo>
                  <a:close/>
                  <a:moveTo>
                    <a:pt x="329" y="474"/>
                  </a:moveTo>
                  <a:cubicBezTo>
                    <a:pt x="322" y="481"/>
                    <a:pt x="322" y="479"/>
                    <a:pt x="315" y="480"/>
                  </a:cubicBezTo>
                  <a:cubicBezTo>
                    <a:pt x="309" y="482"/>
                    <a:pt x="314" y="488"/>
                    <a:pt x="306" y="489"/>
                  </a:cubicBezTo>
                  <a:cubicBezTo>
                    <a:pt x="298" y="490"/>
                    <a:pt x="278" y="490"/>
                    <a:pt x="275" y="486"/>
                  </a:cubicBezTo>
                  <a:cubicBezTo>
                    <a:pt x="274" y="484"/>
                    <a:pt x="286" y="485"/>
                    <a:pt x="287" y="482"/>
                  </a:cubicBezTo>
                  <a:cubicBezTo>
                    <a:pt x="288" y="479"/>
                    <a:pt x="291" y="473"/>
                    <a:pt x="296" y="473"/>
                  </a:cubicBezTo>
                  <a:cubicBezTo>
                    <a:pt x="301" y="473"/>
                    <a:pt x="300" y="467"/>
                    <a:pt x="292" y="463"/>
                  </a:cubicBezTo>
                  <a:cubicBezTo>
                    <a:pt x="284" y="459"/>
                    <a:pt x="304" y="456"/>
                    <a:pt x="308" y="463"/>
                  </a:cubicBezTo>
                  <a:cubicBezTo>
                    <a:pt x="313" y="469"/>
                    <a:pt x="321" y="473"/>
                    <a:pt x="326" y="469"/>
                  </a:cubicBezTo>
                  <a:cubicBezTo>
                    <a:pt x="330" y="464"/>
                    <a:pt x="356" y="452"/>
                    <a:pt x="356" y="458"/>
                  </a:cubicBezTo>
                  <a:cubicBezTo>
                    <a:pt x="356" y="464"/>
                    <a:pt x="337" y="468"/>
                    <a:pt x="329" y="474"/>
                  </a:cubicBezTo>
                  <a:close/>
                  <a:moveTo>
                    <a:pt x="503" y="656"/>
                  </a:moveTo>
                  <a:cubicBezTo>
                    <a:pt x="498" y="657"/>
                    <a:pt x="504" y="642"/>
                    <a:pt x="494" y="636"/>
                  </a:cubicBezTo>
                  <a:cubicBezTo>
                    <a:pt x="482" y="630"/>
                    <a:pt x="477" y="618"/>
                    <a:pt x="477" y="611"/>
                  </a:cubicBezTo>
                  <a:cubicBezTo>
                    <a:pt x="477" y="605"/>
                    <a:pt x="487" y="602"/>
                    <a:pt x="491" y="607"/>
                  </a:cubicBezTo>
                  <a:cubicBezTo>
                    <a:pt x="495" y="612"/>
                    <a:pt x="501" y="632"/>
                    <a:pt x="504" y="639"/>
                  </a:cubicBezTo>
                  <a:cubicBezTo>
                    <a:pt x="508" y="645"/>
                    <a:pt x="508" y="656"/>
                    <a:pt x="503" y="65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0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949960" y="1910764"/>
              <a:ext cx="2617474" cy="1607253"/>
            </a:xfrm>
            <a:custGeom>
              <a:avLst/>
              <a:gdLst/>
              <a:ahLst/>
              <a:cxnLst>
                <a:cxn ang="0">
                  <a:pos x="350" y="230"/>
                </a:cxn>
                <a:cxn ang="0">
                  <a:pos x="306" y="35"/>
                </a:cxn>
                <a:cxn ang="0">
                  <a:pos x="185" y="21"/>
                </a:cxn>
                <a:cxn ang="0">
                  <a:pos x="135" y="10"/>
                </a:cxn>
                <a:cxn ang="0">
                  <a:pos x="93" y="21"/>
                </a:cxn>
                <a:cxn ang="0">
                  <a:pos x="19" y="59"/>
                </a:cxn>
                <a:cxn ang="0">
                  <a:pos x="71" y="103"/>
                </a:cxn>
                <a:cxn ang="0">
                  <a:pos x="17" y="106"/>
                </a:cxn>
                <a:cxn ang="0">
                  <a:pos x="59" y="136"/>
                </a:cxn>
                <a:cxn ang="0">
                  <a:pos x="43" y="158"/>
                </a:cxn>
                <a:cxn ang="0">
                  <a:pos x="45" y="219"/>
                </a:cxn>
                <a:cxn ang="0">
                  <a:pos x="96" y="236"/>
                </a:cxn>
                <a:cxn ang="0">
                  <a:pos x="102" y="269"/>
                </a:cxn>
                <a:cxn ang="0">
                  <a:pos x="84" y="287"/>
                </a:cxn>
                <a:cxn ang="0">
                  <a:pos x="147" y="250"/>
                </a:cxn>
                <a:cxn ang="0">
                  <a:pos x="173" y="213"/>
                </a:cxn>
                <a:cxn ang="0">
                  <a:pos x="191" y="201"/>
                </a:cxn>
                <a:cxn ang="0">
                  <a:pos x="226" y="215"/>
                </a:cxn>
                <a:cxn ang="0">
                  <a:pos x="248" y="202"/>
                </a:cxn>
                <a:cxn ang="0">
                  <a:pos x="276" y="213"/>
                </a:cxn>
                <a:cxn ang="0">
                  <a:pos x="340" y="232"/>
                </a:cxn>
                <a:cxn ang="0">
                  <a:pos x="375" y="248"/>
                </a:cxn>
                <a:cxn ang="0">
                  <a:pos x="376" y="261"/>
                </a:cxn>
                <a:cxn ang="0">
                  <a:pos x="389" y="263"/>
                </a:cxn>
                <a:cxn ang="0">
                  <a:pos x="401" y="274"/>
                </a:cxn>
                <a:cxn ang="0">
                  <a:pos x="396" y="300"/>
                </a:cxn>
                <a:cxn ang="0">
                  <a:pos x="421" y="299"/>
                </a:cxn>
                <a:cxn ang="0">
                  <a:pos x="15" y="313"/>
                </a:cxn>
                <a:cxn ang="0">
                  <a:pos x="178" y="240"/>
                </a:cxn>
                <a:cxn ang="0">
                  <a:pos x="177" y="256"/>
                </a:cxn>
                <a:cxn ang="0">
                  <a:pos x="25" y="219"/>
                </a:cxn>
                <a:cxn ang="0">
                  <a:pos x="1094" y="443"/>
                </a:cxn>
                <a:cxn ang="0">
                  <a:pos x="1010" y="472"/>
                </a:cxn>
                <a:cxn ang="0">
                  <a:pos x="970" y="473"/>
                </a:cxn>
                <a:cxn ang="0">
                  <a:pos x="926" y="471"/>
                </a:cxn>
                <a:cxn ang="0">
                  <a:pos x="954" y="426"/>
                </a:cxn>
                <a:cxn ang="0">
                  <a:pos x="902" y="410"/>
                </a:cxn>
                <a:cxn ang="0">
                  <a:pos x="864" y="397"/>
                </a:cxn>
                <a:cxn ang="0">
                  <a:pos x="516" y="388"/>
                </a:cxn>
                <a:cxn ang="0">
                  <a:pos x="510" y="395"/>
                </a:cxn>
                <a:cxn ang="0">
                  <a:pos x="501" y="436"/>
                </a:cxn>
                <a:cxn ang="0">
                  <a:pos x="513" y="539"/>
                </a:cxn>
                <a:cxn ang="0">
                  <a:pos x="557" y="590"/>
                </a:cxn>
                <a:cxn ang="0">
                  <a:pos x="647" y="625"/>
                </a:cxn>
                <a:cxn ang="0">
                  <a:pos x="724" y="647"/>
                </a:cxn>
                <a:cxn ang="0">
                  <a:pos x="783" y="685"/>
                </a:cxn>
                <a:cxn ang="0">
                  <a:pos x="818" y="658"/>
                </a:cxn>
                <a:cxn ang="0">
                  <a:pos x="862" y="644"/>
                </a:cxn>
                <a:cxn ang="0">
                  <a:pos x="889" y="641"/>
                </a:cxn>
                <a:cxn ang="0">
                  <a:pos x="944" y="645"/>
                </a:cxn>
                <a:cxn ang="0">
                  <a:pos x="983" y="699"/>
                </a:cxn>
                <a:cxn ang="0">
                  <a:pos x="994" y="608"/>
                </a:cxn>
                <a:cxn ang="0">
                  <a:pos x="1036" y="571"/>
                </a:cxn>
                <a:cxn ang="0">
                  <a:pos x="1032" y="539"/>
                </a:cxn>
                <a:cxn ang="0">
                  <a:pos x="1049" y="541"/>
                </a:cxn>
                <a:cxn ang="0">
                  <a:pos x="1088" y="499"/>
                </a:cxn>
                <a:cxn ang="0">
                  <a:pos x="1102" y="475"/>
                </a:cxn>
                <a:cxn ang="0">
                  <a:pos x="1137" y="413"/>
                </a:cxn>
              </a:cxnLst>
              <a:rect l="0" t="0" r="r" b="b"/>
              <a:pathLst>
                <a:path w="1147" h="705">
                  <a:moveTo>
                    <a:pt x="431" y="286"/>
                  </a:moveTo>
                  <a:cubicBezTo>
                    <a:pt x="432" y="281"/>
                    <a:pt x="433" y="279"/>
                    <a:pt x="420" y="274"/>
                  </a:cubicBezTo>
                  <a:cubicBezTo>
                    <a:pt x="407" y="269"/>
                    <a:pt x="409" y="265"/>
                    <a:pt x="400" y="250"/>
                  </a:cubicBezTo>
                  <a:cubicBezTo>
                    <a:pt x="391" y="235"/>
                    <a:pt x="376" y="228"/>
                    <a:pt x="376" y="222"/>
                  </a:cubicBezTo>
                  <a:cubicBezTo>
                    <a:pt x="376" y="217"/>
                    <a:pt x="360" y="217"/>
                    <a:pt x="360" y="222"/>
                  </a:cubicBezTo>
                  <a:cubicBezTo>
                    <a:pt x="360" y="226"/>
                    <a:pt x="354" y="227"/>
                    <a:pt x="350" y="230"/>
                  </a:cubicBezTo>
                  <a:cubicBezTo>
                    <a:pt x="346" y="232"/>
                    <a:pt x="345" y="228"/>
                    <a:pt x="341" y="224"/>
                  </a:cubicBezTo>
                  <a:cubicBezTo>
                    <a:pt x="338" y="220"/>
                    <a:pt x="330" y="215"/>
                    <a:pt x="330" y="213"/>
                  </a:cubicBezTo>
                  <a:cubicBezTo>
                    <a:pt x="330" y="210"/>
                    <a:pt x="328" y="204"/>
                    <a:pt x="322" y="207"/>
                  </a:cubicBezTo>
                  <a:cubicBezTo>
                    <a:pt x="317" y="210"/>
                    <a:pt x="314" y="207"/>
                    <a:pt x="312" y="209"/>
                  </a:cubicBezTo>
                  <a:cubicBezTo>
                    <a:pt x="310" y="211"/>
                    <a:pt x="306" y="208"/>
                    <a:pt x="306" y="208"/>
                  </a:cubicBezTo>
                  <a:cubicBezTo>
                    <a:pt x="306" y="35"/>
                    <a:pt x="306" y="35"/>
                    <a:pt x="306" y="35"/>
                  </a:cubicBezTo>
                  <a:cubicBezTo>
                    <a:pt x="304" y="35"/>
                    <a:pt x="302" y="34"/>
                    <a:pt x="301" y="34"/>
                  </a:cubicBezTo>
                  <a:cubicBezTo>
                    <a:pt x="294" y="31"/>
                    <a:pt x="283" y="26"/>
                    <a:pt x="277" y="27"/>
                  </a:cubicBezTo>
                  <a:cubicBezTo>
                    <a:pt x="271" y="29"/>
                    <a:pt x="260" y="30"/>
                    <a:pt x="256" y="28"/>
                  </a:cubicBezTo>
                  <a:cubicBezTo>
                    <a:pt x="252" y="26"/>
                    <a:pt x="246" y="24"/>
                    <a:pt x="238" y="26"/>
                  </a:cubicBezTo>
                  <a:cubicBezTo>
                    <a:pt x="230" y="27"/>
                    <a:pt x="225" y="21"/>
                    <a:pt x="214" y="19"/>
                  </a:cubicBezTo>
                  <a:cubicBezTo>
                    <a:pt x="204" y="16"/>
                    <a:pt x="189" y="19"/>
                    <a:pt x="185" y="21"/>
                  </a:cubicBezTo>
                  <a:cubicBezTo>
                    <a:pt x="182" y="22"/>
                    <a:pt x="183" y="17"/>
                    <a:pt x="178" y="17"/>
                  </a:cubicBezTo>
                  <a:cubicBezTo>
                    <a:pt x="174" y="18"/>
                    <a:pt x="177" y="15"/>
                    <a:pt x="175" y="12"/>
                  </a:cubicBezTo>
                  <a:cubicBezTo>
                    <a:pt x="172" y="8"/>
                    <a:pt x="160" y="11"/>
                    <a:pt x="155" y="12"/>
                  </a:cubicBezTo>
                  <a:cubicBezTo>
                    <a:pt x="151" y="12"/>
                    <a:pt x="149" y="10"/>
                    <a:pt x="150" y="7"/>
                  </a:cubicBezTo>
                  <a:cubicBezTo>
                    <a:pt x="150" y="5"/>
                    <a:pt x="146" y="6"/>
                    <a:pt x="144" y="9"/>
                  </a:cubicBezTo>
                  <a:cubicBezTo>
                    <a:pt x="142" y="12"/>
                    <a:pt x="137" y="12"/>
                    <a:pt x="135" y="10"/>
                  </a:cubicBezTo>
                  <a:cubicBezTo>
                    <a:pt x="133" y="8"/>
                    <a:pt x="139" y="8"/>
                    <a:pt x="140" y="5"/>
                  </a:cubicBezTo>
                  <a:cubicBezTo>
                    <a:pt x="140" y="3"/>
                    <a:pt x="133" y="2"/>
                    <a:pt x="131" y="1"/>
                  </a:cubicBezTo>
                  <a:cubicBezTo>
                    <a:pt x="128" y="0"/>
                    <a:pt x="124" y="4"/>
                    <a:pt x="119" y="8"/>
                  </a:cubicBezTo>
                  <a:cubicBezTo>
                    <a:pt x="114" y="13"/>
                    <a:pt x="106" y="13"/>
                    <a:pt x="101" y="12"/>
                  </a:cubicBezTo>
                  <a:cubicBezTo>
                    <a:pt x="96" y="12"/>
                    <a:pt x="90" y="13"/>
                    <a:pt x="91" y="15"/>
                  </a:cubicBezTo>
                  <a:cubicBezTo>
                    <a:pt x="91" y="18"/>
                    <a:pt x="97" y="18"/>
                    <a:pt x="93" y="21"/>
                  </a:cubicBezTo>
                  <a:cubicBezTo>
                    <a:pt x="90" y="25"/>
                    <a:pt x="88" y="17"/>
                    <a:pt x="85" y="20"/>
                  </a:cubicBezTo>
                  <a:cubicBezTo>
                    <a:pt x="81" y="24"/>
                    <a:pt x="71" y="24"/>
                    <a:pt x="68" y="23"/>
                  </a:cubicBezTo>
                  <a:cubicBezTo>
                    <a:pt x="66" y="23"/>
                    <a:pt x="58" y="32"/>
                    <a:pt x="55" y="34"/>
                  </a:cubicBezTo>
                  <a:cubicBezTo>
                    <a:pt x="53" y="37"/>
                    <a:pt x="57" y="39"/>
                    <a:pt x="50" y="46"/>
                  </a:cubicBezTo>
                  <a:cubicBezTo>
                    <a:pt x="44" y="54"/>
                    <a:pt x="26" y="52"/>
                    <a:pt x="22" y="52"/>
                  </a:cubicBezTo>
                  <a:cubicBezTo>
                    <a:pt x="18" y="52"/>
                    <a:pt x="21" y="56"/>
                    <a:pt x="19" y="59"/>
                  </a:cubicBezTo>
                  <a:cubicBezTo>
                    <a:pt x="17" y="62"/>
                    <a:pt x="21" y="64"/>
                    <a:pt x="31" y="67"/>
                  </a:cubicBezTo>
                  <a:cubicBezTo>
                    <a:pt x="42" y="70"/>
                    <a:pt x="49" y="83"/>
                    <a:pt x="50" y="87"/>
                  </a:cubicBezTo>
                  <a:cubicBezTo>
                    <a:pt x="51" y="90"/>
                    <a:pt x="64" y="86"/>
                    <a:pt x="69" y="87"/>
                  </a:cubicBezTo>
                  <a:cubicBezTo>
                    <a:pt x="74" y="88"/>
                    <a:pt x="68" y="95"/>
                    <a:pt x="73" y="97"/>
                  </a:cubicBezTo>
                  <a:cubicBezTo>
                    <a:pt x="77" y="99"/>
                    <a:pt x="83" y="96"/>
                    <a:pt x="85" y="99"/>
                  </a:cubicBezTo>
                  <a:cubicBezTo>
                    <a:pt x="86" y="103"/>
                    <a:pt x="76" y="99"/>
                    <a:pt x="71" y="103"/>
                  </a:cubicBezTo>
                  <a:cubicBezTo>
                    <a:pt x="66" y="107"/>
                    <a:pt x="64" y="109"/>
                    <a:pt x="62" y="106"/>
                  </a:cubicBezTo>
                  <a:cubicBezTo>
                    <a:pt x="60" y="103"/>
                    <a:pt x="51" y="105"/>
                    <a:pt x="47" y="105"/>
                  </a:cubicBezTo>
                  <a:cubicBezTo>
                    <a:pt x="43" y="106"/>
                    <a:pt x="47" y="100"/>
                    <a:pt x="47" y="98"/>
                  </a:cubicBezTo>
                  <a:cubicBezTo>
                    <a:pt x="47" y="95"/>
                    <a:pt x="41" y="93"/>
                    <a:pt x="33" y="98"/>
                  </a:cubicBezTo>
                  <a:cubicBezTo>
                    <a:pt x="25" y="103"/>
                    <a:pt x="28" y="101"/>
                    <a:pt x="27" y="105"/>
                  </a:cubicBezTo>
                  <a:cubicBezTo>
                    <a:pt x="26" y="109"/>
                    <a:pt x="22" y="103"/>
                    <a:pt x="17" y="106"/>
                  </a:cubicBezTo>
                  <a:cubicBezTo>
                    <a:pt x="12" y="109"/>
                    <a:pt x="3" y="111"/>
                    <a:pt x="2" y="115"/>
                  </a:cubicBezTo>
                  <a:cubicBezTo>
                    <a:pt x="0" y="118"/>
                    <a:pt x="13" y="120"/>
                    <a:pt x="18" y="121"/>
                  </a:cubicBezTo>
                  <a:cubicBezTo>
                    <a:pt x="23" y="122"/>
                    <a:pt x="12" y="125"/>
                    <a:pt x="16" y="127"/>
                  </a:cubicBezTo>
                  <a:cubicBezTo>
                    <a:pt x="20" y="128"/>
                    <a:pt x="18" y="132"/>
                    <a:pt x="25" y="135"/>
                  </a:cubicBezTo>
                  <a:cubicBezTo>
                    <a:pt x="31" y="138"/>
                    <a:pt x="45" y="135"/>
                    <a:pt x="49" y="135"/>
                  </a:cubicBezTo>
                  <a:cubicBezTo>
                    <a:pt x="52" y="135"/>
                    <a:pt x="56" y="139"/>
                    <a:pt x="59" y="136"/>
                  </a:cubicBezTo>
                  <a:cubicBezTo>
                    <a:pt x="62" y="133"/>
                    <a:pt x="73" y="124"/>
                    <a:pt x="79" y="129"/>
                  </a:cubicBezTo>
                  <a:cubicBezTo>
                    <a:pt x="85" y="134"/>
                    <a:pt x="73" y="134"/>
                    <a:pt x="76" y="137"/>
                  </a:cubicBezTo>
                  <a:cubicBezTo>
                    <a:pt x="79" y="140"/>
                    <a:pt x="82" y="148"/>
                    <a:pt x="77" y="152"/>
                  </a:cubicBezTo>
                  <a:cubicBezTo>
                    <a:pt x="71" y="156"/>
                    <a:pt x="66" y="153"/>
                    <a:pt x="63" y="153"/>
                  </a:cubicBezTo>
                  <a:cubicBezTo>
                    <a:pt x="60" y="153"/>
                    <a:pt x="62" y="158"/>
                    <a:pt x="57" y="162"/>
                  </a:cubicBezTo>
                  <a:cubicBezTo>
                    <a:pt x="52" y="166"/>
                    <a:pt x="49" y="158"/>
                    <a:pt x="43" y="158"/>
                  </a:cubicBezTo>
                  <a:cubicBezTo>
                    <a:pt x="37" y="158"/>
                    <a:pt x="38" y="166"/>
                    <a:pt x="38" y="170"/>
                  </a:cubicBezTo>
                  <a:cubicBezTo>
                    <a:pt x="39" y="173"/>
                    <a:pt x="29" y="169"/>
                    <a:pt x="27" y="178"/>
                  </a:cubicBezTo>
                  <a:cubicBezTo>
                    <a:pt x="25" y="187"/>
                    <a:pt x="15" y="179"/>
                    <a:pt x="22" y="188"/>
                  </a:cubicBezTo>
                  <a:cubicBezTo>
                    <a:pt x="28" y="197"/>
                    <a:pt x="27" y="191"/>
                    <a:pt x="32" y="195"/>
                  </a:cubicBezTo>
                  <a:cubicBezTo>
                    <a:pt x="37" y="198"/>
                    <a:pt x="26" y="204"/>
                    <a:pt x="31" y="205"/>
                  </a:cubicBezTo>
                  <a:cubicBezTo>
                    <a:pt x="36" y="206"/>
                    <a:pt x="42" y="215"/>
                    <a:pt x="45" y="219"/>
                  </a:cubicBezTo>
                  <a:cubicBezTo>
                    <a:pt x="49" y="222"/>
                    <a:pt x="53" y="217"/>
                    <a:pt x="59" y="217"/>
                  </a:cubicBezTo>
                  <a:cubicBezTo>
                    <a:pt x="64" y="216"/>
                    <a:pt x="61" y="209"/>
                    <a:pt x="64" y="212"/>
                  </a:cubicBezTo>
                  <a:cubicBezTo>
                    <a:pt x="67" y="215"/>
                    <a:pt x="72" y="223"/>
                    <a:pt x="69" y="225"/>
                  </a:cubicBezTo>
                  <a:cubicBezTo>
                    <a:pt x="66" y="227"/>
                    <a:pt x="68" y="233"/>
                    <a:pt x="68" y="236"/>
                  </a:cubicBezTo>
                  <a:cubicBezTo>
                    <a:pt x="67" y="239"/>
                    <a:pt x="79" y="238"/>
                    <a:pt x="80" y="234"/>
                  </a:cubicBezTo>
                  <a:cubicBezTo>
                    <a:pt x="81" y="231"/>
                    <a:pt x="90" y="230"/>
                    <a:pt x="96" y="236"/>
                  </a:cubicBezTo>
                  <a:cubicBezTo>
                    <a:pt x="101" y="241"/>
                    <a:pt x="103" y="242"/>
                    <a:pt x="103" y="238"/>
                  </a:cubicBezTo>
                  <a:cubicBezTo>
                    <a:pt x="103" y="233"/>
                    <a:pt x="107" y="228"/>
                    <a:pt x="107" y="232"/>
                  </a:cubicBezTo>
                  <a:cubicBezTo>
                    <a:pt x="108" y="236"/>
                    <a:pt x="112" y="237"/>
                    <a:pt x="120" y="233"/>
                  </a:cubicBezTo>
                  <a:cubicBezTo>
                    <a:pt x="127" y="230"/>
                    <a:pt x="124" y="234"/>
                    <a:pt x="120" y="239"/>
                  </a:cubicBezTo>
                  <a:cubicBezTo>
                    <a:pt x="114" y="245"/>
                    <a:pt x="120" y="256"/>
                    <a:pt x="116" y="257"/>
                  </a:cubicBezTo>
                  <a:cubicBezTo>
                    <a:pt x="112" y="258"/>
                    <a:pt x="109" y="268"/>
                    <a:pt x="102" y="269"/>
                  </a:cubicBezTo>
                  <a:cubicBezTo>
                    <a:pt x="96" y="269"/>
                    <a:pt x="85" y="282"/>
                    <a:pt x="83" y="284"/>
                  </a:cubicBezTo>
                  <a:cubicBezTo>
                    <a:pt x="82" y="286"/>
                    <a:pt x="68" y="280"/>
                    <a:pt x="66" y="285"/>
                  </a:cubicBezTo>
                  <a:cubicBezTo>
                    <a:pt x="64" y="291"/>
                    <a:pt x="55" y="295"/>
                    <a:pt x="57" y="298"/>
                  </a:cubicBezTo>
                  <a:cubicBezTo>
                    <a:pt x="59" y="299"/>
                    <a:pt x="70" y="293"/>
                    <a:pt x="71" y="290"/>
                  </a:cubicBezTo>
                  <a:cubicBezTo>
                    <a:pt x="71" y="287"/>
                    <a:pt x="73" y="288"/>
                    <a:pt x="75" y="290"/>
                  </a:cubicBezTo>
                  <a:cubicBezTo>
                    <a:pt x="77" y="292"/>
                    <a:pt x="82" y="289"/>
                    <a:pt x="84" y="287"/>
                  </a:cubicBezTo>
                  <a:cubicBezTo>
                    <a:pt x="86" y="285"/>
                    <a:pt x="90" y="286"/>
                    <a:pt x="92" y="286"/>
                  </a:cubicBezTo>
                  <a:cubicBezTo>
                    <a:pt x="95" y="286"/>
                    <a:pt x="96" y="283"/>
                    <a:pt x="102" y="282"/>
                  </a:cubicBezTo>
                  <a:cubicBezTo>
                    <a:pt x="109" y="281"/>
                    <a:pt x="108" y="279"/>
                    <a:pt x="109" y="275"/>
                  </a:cubicBezTo>
                  <a:cubicBezTo>
                    <a:pt x="111" y="272"/>
                    <a:pt x="127" y="264"/>
                    <a:pt x="130" y="264"/>
                  </a:cubicBezTo>
                  <a:cubicBezTo>
                    <a:pt x="133" y="263"/>
                    <a:pt x="131" y="258"/>
                    <a:pt x="134" y="258"/>
                  </a:cubicBezTo>
                  <a:cubicBezTo>
                    <a:pt x="137" y="257"/>
                    <a:pt x="142" y="253"/>
                    <a:pt x="147" y="250"/>
                  </a:cubicBezTo>
                  <a:cubicBezTo>
                    <a:pt x="151" y="246"/>
                    <a:pt x="152" y="248"/>
                    <a:pt x="155" y="247"/>
                  </a:cubicBezTo>
                  <a:cubicBezTo>
                    <a:pt x="158" y="245"/>
                    <a:pt x="156" y="239"/>
                    <a:pt x="159" y="238"/>
                  </a:cubicBezTo>
                  <a:cubicBezTo>
                    <a:pt x="162" y="238"/>
                    <a:pt x="165" y="235"/>
                    <a:pt x="165" y="233"/>
                  </a:cubicBezTo>
                  <a:cubicBezTo>
                    <a:pt x="165" y="230"/>
                    <a:pt x="157" y="230"/>
                    <a:pt x="156" y="228"/>
                  </a:cubicBezTo>
                  <a:cubicBezTo>
                    <a:pt x="155" y="226"/>
                    <a:pt x="162" y="220"/>
                    <a:pt x="165" y="220"/>
                  </a:cubicBezTo>
                  <a:cubicBezTo>
                    <a:pt x="168" y="220"/>
                    <a:pt x="172" y="217"/>
                    <a:pt x="173" y="213"/>
                  </a:cubicBezTo>
                  <a:cubicBezTo>
                    <a:pt x="173" y="209"/>
                    <a:pt x="177" y="209"/>
                    <a:pt x="180" y="205"/>
                  </a:cubicBezTo>
                  <a:cubicBezTo>
                    <a:pt x="183" y="202"/>
                    <a:pt x="183" y="199"/>
                    <a:pt x="186" y="198"/>
                  </a:cubicBezTo>
                  <a:cubicBezTo>
                    <a:pt x="189" y="198"/>
                    <a:pt x="192" y="194"/>
                    <a:pt x="196" y="192"/>
                  </a:cubicBezTo>
                  <a:cubicBezTo>
                    <a:pt x="199" y="190"/>
                    <a:pt x="196" y="194"/>
                    <a:pt x="202" y="194"/>
                  </a:cubicBezTo>
                  <a:cubicBezTo>
                    <a:pt x="209" y="195"/>
                    <a:pt x="208" y="201"/>
                    <a:pt x="203" y="199"/>
                  </a:cubicBezTo>
                  <a:cubicBezTo>
                    <a:pt x="198" y="196"/>
                    <a:pt x="195" y="197"/>
                    <a:pt x="191" y="201"/>
                  </a:cubicBezTo>
                  <a:cubicBezTo>
                    <a:pt x="186" y="205"/>
                    <a:pt x="190" y="206"/>
                    <a:pt x="186" y="211"/>
                  </a:cubicBezTo>
                  <a:cubicBezTo>
                    <a:pt x="183" y="216"/>
                    <a:pt x="183" y="219"/>
                    <a:pt x="187" y="219"/>
                  </a:cubicBezTo>
                  <a:cubicBezTo>
                    <a:pt x="192" y="220"/>
                    <a:pt x="187" y="223"/>
                    <a:pt x="183" y="224"/>
                  </a:cubicBezTo>
                  <a:cubicBezTo>
                    <a:pt x="179" y="226"/>
                    <a:pt x="182" y="228"/>
                    <a:pt x="188" y="228"/>
                  </a:cubicBezTo>
                  <a:cubicBezTo>
                    <a:pt x="193" y="228"/>
                    <a:pt x="202" y="220"/>
                    <a:pt x="210" y="216"/>
                  </a:cubicBezTo>
                  <a:cubicBezTo>
                    <a:pt x="218" y="212"/>
                    <a:pt x="224" y="216"/>
                    <a:pt x="226" y="215"/>
                  </a:cubicBezTo>
                  <a:cubicBezTo>
                    <a:pt x="228" y="214"/>
                    <a:pt x="224" y="211"/>
                    <a:pt x="226" y="209"/>
                  </a:cubicBezTo>
                  <a:cubicBezTo>
                    <a:pt x="229" y="208"/>
                    <a:pt x="223" y="207"/>
                    <a:pt x="221" y="203"/>
                  </a:cubicBezTo>
                  <a:cubicBezTo>
                    <a:pt x="220" y="198"/>
                    <a:pt x="224" y="201"/>
                    <a:pt x="225" y="197"/>
                  </a:cubicBezTo>
                  <a:cubicBezTo>
                    <a:pt x="226" y="193"/>
                    <a:pt x="229" y="195"/>
                    <a:pt x="231" y="197"/>
                  </a:cubicBezTo>
                  <a:cubicBezTo>
                    <a:pt x="234" y="198"/>
                    <a:pt x="237" y="195"/>
                    <a:pt x="240" y="200"/>
                  </a:cubicBezTo>
                  <a:cubicBezTo>
                    <a:pt x="242" y="204"/>
                    <a:pt x="244" y="198"/>
                    <a:pt x="248" y="202"/>
                  </a:cubicBezTo>
                  <a:cubicBezTo>
                    <a:pt x="252" y="205"/>
                    <a:pt x="248" y="204"/>
                    <a:pt x="243" y="205"/>
                  </a:cubicBezTo>
                  <a:cubicBezTo>
                    <a:pt x="239" y="206"/>
                    <a:pt x="241" y="212"/>
                    <a:pt x="245" y="209"/>
                  </a:cubicBezTo>
                  <a:cubicBezTo>
                    <a:pt x="248" y="207"/>
                    <a:pt x="251" y="205"/>
                    <a:pt x="254" y="208"/>
                  </a:cubicBezTo>
                  <a:cubicBezTo>
                    <a:pt x="257" y="210"/>
                    <a:pt x="258" y="209"/>
                    <a:pt x="260" y="207"/>
                  </a:cubicBezTo>
                  <a:cubicBezTo>
                    <a:pt x="263" y="204"/>
                    <a:pt x="263" y="207"/>
                    <a:pt x="263" y="209"/>
                  </a:cubicBezTo>
                  <a:cubicBezTo>
                    <a:pt x="263" y="211"/>
                    <a:pt x="268" y="212"/>
                    <a:pt x="276" y="213"/>
                  </a:cubicBezTo>
                  <a:cubicBezTo>
                    <a:pt x="283" y="214"/>
                    <a:pt x="297" y="212"/>
                    <a:pt x="300" y="212"/>
                  </a:cubicBezTo>
                  <a:cubicBezTo>
                    <a:pt x="304" y="212"/>
                    <a:pt x="302" y="217"/>
                    <a:pt x="310" y="219"/>
                  </a:cubicBezTo>
                  <a:cubicBezTo>
                    <a:pt x="318" y="220"/>
                    <a:pt x="320" y="211"/>
                    <a:pt x="324" y="214"/>
                  </a:cubicBezTo>
                  <a:cubicBezTo>
                    <a:pt x="328" y="218"/>
                    <a:pt x="324" y="219"/>
                    <a:pt x="322" y="221"/>
                  </a:cubicBezTo>
                  <a:cubicBezTo>
                    <a:pt x="319" y="224"/>
                    <a:pt x="324" y="224"/>
                    <a:pt x="327" y="225"/>
                  </a:cubicBezTo>
                  <a:cubicBezTo>
                    <a:pt x="330" y="227"/>
                    <a:pt x="337" y="229"/>
                    <a:pt x="340" y="232"/>
                  </a:cubicBezTo>
                  <a:cubicBezTo>
                    <a:pt x="344" y="235"/>
                    <a:pt x="346" y="239"/>
                    <a:pt x="354" y="243"/>
                  </a:cubicBezTo>
                  <a:cubicBezTo>
                    <a:pt x="362" y="247"/>
                    <a:pt x="354" y="233"/>
                    <a:pt x="360" y="237"/>
                  </a:cubicBezTo>
                  <a:cubicBezTo>
                    <a:pt x="366" y="242"/>
                    <a:pt x="364" y="237"/>
                    <a:pt x="369" y="242"/>
                  </a:cubicBezTo>
                  <a:cubicBezTo>
                    <a:pt x="374" y="246"/>
                    <a:pt x="372" y="240"/>
                    <a:pt x="370" y="232"/>
                  </a:cubicBezTo>
                  <a:cubicBezTo>
                    <a:pt x="368" y="225"/>
                    <a:pt x="372" y="230"/>
                    <a:pt x="375" y="233"/>
                  </a:cubicBezTo>
                  <a:cubicBezTo>
                    <a:pt x="377" y="237"/>
                    <a:pt x="377" y="244"/>
                    <a:pt x="375" y="248"/>
                  </a:cubicBezTo>
                  <a:cubicBezTo>
                    <a:pt x="374" y="253"/>
                    <a:pt x="366" y="249"/>
                    <a:pt x="367" y="246"/>
                  </a:cubicBezTo>
                  <a:cubicBezTo>
                    <a:pt x="368" y="244"/>
                    <a:pt x="360" y="245"/>
                    <a:pt x="359" y="248"/>
                  </a:cubicBezTo>
                  <a:cubicBezTo>
                    <a:pt x="359" y="252"/>
                    <a:pt x="365" y="259"/>
                    <a:pt x="369" y="259"/>
                  </a:cubicBezTo>
                  <a:cubicBezTo>
                    <a:pt x="373" y="260"/>
                    <a:pt x="370" y="266"/>
                    <a:pt x="372" y="267"/>
                  </a:cubicBezTo>
                  <a:cubicBezTo>
                    <a:pt x="376" y="268"/>
                    <a:pt x="375" y="275"/>
                    <a:pt x="377" y="274"/>
                  </a:cubicBezTo>
                  <a:cubicBezTo>
                    <a:pt x="379" y="273"/>
                    <a:pt x="379" y="265"/>
                    <a:pt x="376" y="261"/>
                  </a:cubicBezTo>
                  <a:cubicBezTo>
                    <a:pt x="374" y="258"/>
                    <a:pt x="375" y="253"/>
                    <a:pt x="378" y="254"/>
                  </a:cubicBezTo>
                  <a:cubicBezTo>
                    <a:pt x="381" y="255"/>
                    <a:pt x="378" y="260"/>
                    <a:pt x="380" y="262"/>
                  </a:cubicBezTo>
                  <a:cubicBezTo>
                    <a:pt x="381" y="264"/>
                    <a:pt x="383" y="260"/>
                    <a:pt x="386" y="258"/>
                  </a:cubicBezTo>
                  <a:cubicBezTo>
                    <a:pt x="390" y="256"/>
                    <a:pt x="385" y="250"/>
                    <a:pt x="386" y="247"/>
                  </a:cubicBezTo>
                  <a:cubicBezTo>
                    <a:pt x="387" y="244"/>
                    <a:pt x="391" y="250"/>
                    <a:pt x="393" y="255"/>
                  </a:cubicBezTo>
                  <a:cubicBezTo>
                    <a:pt x="394" y="260"/>
                    <a:pt x="389" y="260"/>
                    <a:pt x="389" y="263"/>
                  </a:cubicBezTo>
                  <a:cubicBezTo>
                    <a:pt x="389" y="266"/>
                    <a:pt x="384" y="264"/>
                    <a:pt x="383" y="266"/>
                  </a:cubicBezTo>
                  <a:cubicBezTo>
                    <a:pt x="381" y="267"/>
                    <a:pt x="382" y="277"/>
                    <a:pt x="384" y="278"/>
                  </a:cubicBezTo>
                  <a:cubicBezTo>
                    <a:pt x="386" y="278"/>
                    <a:pt x="387" y="269"/>
                    <a:pt x="389" y="274"/>
                  </a:cubicBezTo>
                  <a:cubicBezTo>
                    <a:pt x="390" y="278"/>
                    <a:pt x="395" y="268"/>
                    <a:pt x="396" y="272"/>
                  </a:cubicBezTo>
                  <a:cubicBezTo>
                    <a:pt x="397" y="276"/>
                    <a:pt x="403" y="281"/>
                    <a:pt x="405" y="280"/>
                  </a:cubicBezTo>
                  <a:cubicBezTo>
                    <a:pt x="408" y="279"/>
                    <a:pt x="404" y="274"/>
                    <a:pt x="401" y="274"/>
                  </a:cubicBezTo>
                  <a:cubicBezTo>
                    <a:pt x="397" y="274"/>
                    <a:pt x="398" y="268"/>
                    <a:pt x="401" y="268"/>
                  </a:cubicBezTo>
                  <a:cubicBezTo>
                    <a:pt x="404" y="268"/>
                    <a:pt x="410" y="276"/>
                    <a:pt x="410" y="279"/>
                  </a:cubicBezTo>
                  <a:cubicBezTo>
                    <a:pt x="410" y="282"/>
                    <a:pt x="407" y="282"/>
                    <a:pt x="404" y="285"/>
                  </a:cubicBezTo>
                  <a:cubicBezTo>
                    <a:pt x="401" y="288"/>
                    <a:pt x="398" y="280"/>
                    <a:pt x="394" y="280"/>
                  </a:cubicBezTo>
                  <a:cubicBezTo>
                    <a:pt x="391" y="280"/>
                    <a:pt x="394" y="285"/>
                    <a:pt x="396" y="289"/>
                  </a:cubicBezTo>
                  <a:cubicBezTo>
                    <a:pt x="397" y="292"/>
                    <a:pt x="392" y="297"/>
                    <a:pt x="396" y="300"/>
                  </a:cubicBezTo>
                  <a:cubicBezTo>
                    <a:pt x="400" y="303"/>
                    <a:pt x="399" y="298"/>
                    <a:pt x="400" y="296"/>
                  </a:cubicBezTo>
                  <a:cubicBezTo>
                    <a:pt x="401" y="294"/>
                    <a:pt x="404" y="297"/>
                    <a:pt x="406" y="298"/>
                  </a:cubicBezTo>
                  <a:cubicBezTo>
                    <a:pt x="408" y="300"/>
                    <a:pt x="409" y="294"/>
                    <a:pt x="409" y="292"/>
                  </a:cubicBezTo>
                  <a:cubicBezTo>
                    <a:pt x="409" y="290"/>
                    <a:pt x="412" y="291"/>
                    <a:pt x="414" y="294"/>
                  </a:cubicBezTo>
                  <a:cubicBezTo>
                    <a:pt x="416" y="297"/>
                    <a:pt x="417" y="291"/>
                    <a:pt x="420" y="291"/>
                  </a:cubicBezTo>
                  <a:cubicBezTo>
                    <a:pt x="423" y="292"/>
                    <a:pt x="421" y="297"/>
                    <a:pt x="421" y="299"/>
                  </a:cubicBezTo>
                  <a:cubicBezTo>
                    <a:pt x="421" y="302"/>
                    <a:pt x="426" y="297"/>
                    <a:pt x="425" y="300"/>
                  </a:cubicBezTo>
                  <a:cubicBezTo>
                    <a:pt x="425" y="300"/>
                    <a:pt x="425" y="301"/>
                    <a:pt x="425" y="301"/>
                  </a:cubicBezTo>
                  <a:cubicBezTo>
                    <a:pt x="428" y="299"/>
                    <a:pt x="431" y="297"/>
                    <a:pt x="433" y="296"/>
                  </a:cubicBezTo>
                  <a:cubicBezTo>
                    <a:pt x="438" y="292"/>
                    <a:pt x="429" y="290"/>
                    <a:pt x="431" y="286"/>
                  </a:cubicBezTo>
                  <a:close/>
                  <a:moveTo>
                    <a:pt x="9" y="321"/>
                  </a:moveTo>
                  <a:cubicBezTo>
                    <a:pt x="15" y="319"/>
                    <a:pt x="17" y="316"/>
                    <a:pt x="15" y="313"/>
                  </a:cubicBezTo>
                  <a:cubicBezTo>
                    <a:pt x="12" y="310"/>
                    <a:pt x="4" y="323"/>
                    <a:pt x="9" y="321"/>
                  </a:cubicBezTo>
                  <a:close/>
                  <a:moveTo>
                    <a:pt x="51" y="299"/>
                  </a:moveTo>
                  <a:cubicBezTo>
                    <a:pt x="46" y="297"/>
                    <a:pt x="31" y="305"/>
                    <a:pt x="36" y="306"/>
                  </a:cubicBezTo>
                  <a:cubicBezTo>
                    <a:pt x="40" y="307"/>
                    <a:pt x="41" y="303"/>
                    <a:pt x="45" y="303"/>
                  </a:cubicBezTo>
                  <a:cubicBezTo>
                    <a:pt x="49" y="303"/>
                    <a:pt x="57" y="301"/>
                    <a:pt x="51" y="299"/>
                  </a:cubicBezTo>
                  <a:close/>
                  <a:moveTo>
                    <a:pt x="178" y="240"/>
                  </a:moveTo>
                  <a:cubicBezTo>
                    <a:pt x="178" y="237"/>
                    <a:pt x="174" y="237"/>
                    <a:pt x="169" y="243"/>
                  </a:cubicBezTo>
                  <a:cubicBezTo>
                    <a:pt x="164" y="249"/>
                    <a:pt x="160" y="252"/>
                    <a:pt x="159" y="255"/>
                  </a:cubicBezTo>
                  <a:cubicBezTo>
                    <a:pt x="159" y="257"/>
                    <a:pt x="153" y="254"/>
                    <a:pt x="151" y="258"/>
                  </a:cubicBezTo>
                  <a:cubicBezTo>
                    <a:pt x="149" y="261"/>
                    <a:pt x="152" y="269"/>
                    <a:pt x="156" y="266"/>
                  </a:cubicBezTo>
                  <a:cubicBezTo>
                    <a:pt x="159" y="264"/>
                    <a:pt x="160" y="266"/>
                    <a:pt x="162" y="266"/>
                  </a:cubicBezTo>
                  <a:cubicBezTo>
                    <a:pt x="164" y="266"/>
                    <a:pt x="174" y="259"/>
                    <a:pt x="177" y="256"/>
                  </a:cubicBezTo>
                  <a:cubicBezTo>
                    <a:pt x="179" y="252"/>
                    <a:pt x="173" y="251"/>
                    <a:pt x="172" y="249"/>
                  </a:cubicBezTo>
                  <a:cubicBezTo>
                    <a:pt x="172" y="247"/>
                    <a:pt x="178" y="247"/>
                    <a:pt x="180" y="245"/>
                  </a:cubicBezTo>
                  <a:cubicBezTo>
                    <a:pt x="183" y="244"/>
                    <a:pt x="178" y="243"/>
                    <a:pt x="178" y="240"/>
                  </a:cubicBezTo>
                  <a:close/>
                  <a:moveTo>
                    <a:pt x="19" y="210"/>
                  </a:moveTo>
                  <a:cubicBezTo>
                    <a:pt x="18" y="206"/>
                    <a:pt x="8" y="210"/>
                    <a:pt x="9" y="214"/>
                  </a:cubicBezTo>
                  <a:cubicBezTo>
                    <a:pt x="10" y="218"/>
                    <a:pt x="20" y="220"/>
                    <a:pt x="25" y="219"/>
                  </a:cubicBezTo>
                  <a:cubicBezTo>
                    <a:pt x="28" y="217"/>
                    <a:pt x="30" y="213"/>
                    <a:pt x="27" y="211"/>
                  </a:cubicBezTo>
                  <a:cubicBezTo>
                    <a:pt x="24" y="208"/>
                    <a:pt x="19" y="214"/>
                    <a:pt x="19" y="210"/>
                  </a:cubicBezTo>
                  <a:close/>
                  <a:moveTo>
                    <a:pt x="1137" y="413"/>
                  </a:moveTo>
                  <a:cubicBezTo>
                    <a:pt x="1137" y="410"/>
                    <a:pt x="1127" y="412"/>
                    <a:pt x="1122" y="409"/>
                  </a:cubicBezTo>
                  <a:cubicBezTo>
                    <a:pt x="1117" y="405"/>
                    <a:pt x="1109" y="422"/>
                    <a:pt x="1108" y="429"/>
                  </a:cubicBezTo>
                  <a:cubicBezTo>
                    <a:pt x="1106" y="436"/>
                    <a:pt x="1094" y="443"/>
                    <a:pt x="1094" y="443"/>
                  </a:cubicBezTo>
                  <a:cubicBezTo>
                    <a:pt x="1094" y="443"/>
                    <a:pt x="1058" y="444"/>
                    <a:pt x="1055" y="444"/>
                  </a:cubicBezTo>
                  <a:cubicBezTo>
                    <a:pt x="1053" y="444"/>
                    <a:pt x="1045" y="451"/>
                    <a:pt x="1040" y="455"/>
                  </a:cubicBezTo>
                  <a:cubicBezTo>
                    <a:pt x="1040" y="455"/>
                    <a:pt x="1040" y="455"/>
                    <a:pt x="1040" y="456"/>
                  </a:cubicBezTo>
                  <a:cubicBezTo>
                    <a:pt x="1044" y="462"/>
                    <a:pt x="1031" y="466"/>
                    <a:pt x="1018" y="467"/>
                  </a:cubicBezTo>
                  <a:cubicBezTo>
                    <a:pt x="1015" y="467"/>
                    <a:pt x="1012" y="467"/>
                    <a:pt x="1009" y="467"/>
                  </a:cubicBezTo>
                  <a:cubicBezTo>
                    <a:pt x="1010" y="469"/>
                    <a:pt x="1010" y="471"/>
                    <a:pt x="1010" y="472"/>
                  </a:cubicBezTo>
                  <a:cubicBezTo>
                    <a:pt x="1010" y="473"/>
                    <a:pt x="1009" y="474"/>
                    <a:pt x="1007" y="475"/>
                  </a:cubicBezTo>
                  <a:cubicBezTo>
                    <a:pt x="1005" y="479"/>
                    <a:pt x="989" y="486"/>
                    <a:pt x="981" y="491"/>
                  </a:cubicBezTo>
                  <a:cubicBezTo>
                    <a:pt x="971" y="496"/>
                    <a:pt x="958" y="493"/>
                    <a:pt x="958" y="486"/>
                  </a:cubicBezTo>
                  <a:cubicBezTo>
                    <a:pt x="958" y="478"/>
                    <a:pt x="965" y="480"/>
                    <a:pt x="967" y="483"/>
                  </a:cubicBezTo>
                  <a:cubicBezTo>
                    <a:pt x="967" y="484"/>
                    <a:pt x="969" y="483"/>
                    <a:pt x="971" y="482"/>
                  </a:cubicBezTo>
                  <a:cubicBezTo>
                    <a:pt x="969" y="479"/>
                    <a:pt x="969" y="476"/>
                    <a:pt x="970" y="473"/>
                  </a:cubicBezTo>
                  <a:cubicBezTo>
                    <a:pt x="967" y="472"/>
                    <a:pt x="971" y="460"/>
                    <a:pt x="965" y="459"/>
                  </a:cubicBezTo>
                  <a:cubicBezTo>
                    <a:pt x="959" y="457"/>
                    <a:pt x="952" y="467"/>
                    <a:pt x="953" y="461"/>
                  </a:cubicBezTo>
                  <a:cubicBezTo>
                    <a:pt x="954" y="454"/>
                    <a:pt x="963" y="449"/>
                    <a:pt x="958" y="440"/>
                  </a:cubicBezTo>
                  <a:cubicBezTo>
                    <a:pt x="952" y="432"/>
                    <a:pt x="942" y="432"/>
                    <a:pt x="940" y="438"/>
                  </a:cubicBezTo>
                  <a:cubicBezTo>
                    <a:pt x="938" y="445"/>
                    <a:pt x="931" y="442"/>
                    <a:pt x="929" y="447"/>
                  </a:cubicBezTo>
                  <a:cubicBezTo>
                    <a:pt x="926" y="452"/>
                    <a:pt x="924" y="463"/>
                    <a:pt x="926" y="471"/>
                  </a:cubicBezTo>
                  <a:cubicBezTo>
                    <a:pt x="928" y="479"/>
                    <a:pt x="925" y="483"/>
                    <a:pt x="918" y="487"/>
                  </a:cubicBezTo>
                  <a:cubicBezTo>
                    <a:pt x="910" y="492"/>
                    <a:pt x="906" y="480"/>
                    <a:pt x="909" y="466"/>
                  </a:cubicBezTo>
                  <a:cubicBezTo>
                    <a:pt x="911" y="456"/>
                    <a:pt x="917" y="446"/>
                    <a:pt x="912" y="446"/>
                  </a:cubicBezTo>
                  <a:cubicBezTo>
                    <a:pt x="907" y="446"/>
                    <a:pt x="918" y="434"/>
                    <a:pt x="929" y="432"/>
                  </a:cubicBezTo>
                  <a:cubicBezTo>
                    <a:pt x="939" y="429"/>
                    <a:pt x="952" y="430"/>
                    <a:pt x="952" y="427"/>
                  </a:cubicBezTo>
                  <a:cubicBezTo>
                    <a:pt x="952" y="426"/>
                    <a:pt x="953" y="426"/>
                    <a:pt x="954" y="426"/>
                  </a:cubicBezTo>
                  <a:cubicBezTo>
                    <a:pt x="951" y="424"/>
                    <a:pt x="949" y="422"/>
                    <a:pt x="947" y="421"/>
                  </a:cubicBezTo>
                  <a:cubicBezTo>
                    <a:pt x="947" y="422"/>
                    <a:pt x="947" y="422"/>
                    <a:pt x="946" y="423"/>
                  </a:cubicBezTo>
                  <a:cubicBezTo>
                    <a:pt x="942" y="426"/>
                    <a:pt x="943" y="419"/>
                    <a:pt x="935" y="419"/>
                  </a:cubicBezTo>
                  <a:cubicBezTo>
                    <a:pt x="928" y="419"/>
                    <a:pt x="920" y="426"/>
                    <a:pt x="914" y="423"/>
                  </a:cubicBezTo>
                  <a:cubicBezTo>
                    <a:pt x="908" y="420"/>
                    <a:pt x="911" y="416"/>
                    <a:pt x="906" y="416"/>
                  </a:cubicBezTo>
                  <a:cubicBezTo>
                    <a:pt x="900" y="416"/>
                    <a:pt x="910" y="405"/>
                    <a:pt x="902" y="410"/>
                  </a:cubicBezTo>
                  <a:cubicBezTo>
                    <a:pt x="894" y="414"/>
                    <a:pt x="882" y="425"/>
                    <a:pt x="876" y="420"/>
                  </a:cubicBezTo>
                  <a:cubicBezTo>
                    <a:pt x="871" y="415"/>
                    <a:pt x="866" y="422"/>
                    <a:pt x="862" y="418"/>
                  </a:cubicBezTo>
                  <a:cubicBezTo>
                    <a:pt x="858" y="414"/>
                    <a:pt x="876" y="403"/>
                    <a:pt x="884" y="403"/>
                  </a:cubicBezTo>
                  <a:cubicBezTo>
                    <a:pt x="886" y="403"/>
                    <a:pt x="888" y="402"/>
                    <a:pt x="890" y="401"/>
                  </a:cubicBezTo>
                  <a:cubicBezTo>
                    <a:pt x="886" y="399"/>
                    <a:pt x="876" y="396"/>
                    <a:pt x="874" y="399"/>
                  </a:cubicBezTo>
                  <a:cubicBezTo>
                    <a:pt x="871" y="402"/>
                    <a:pt x="867" y="400"/>
                    <a:pt x="864" y="397"/>
                  </a:cubicBezTo>
                  <a:cubicBezTo>
                    <a:pt x="862" y="394"/>
                    <a:pt x="859" y="398"/>
                    <a:pt x="855" y="393"/>
                  </a:cubicBezTo>
                  <a:cubicBezTo>
                    <a:pt x="851" y="389"/>
                    <a:pt x="847" y="392"/>
                    <a:pt x="845" y="393"/>
                  </a:cubicBezTo>
                  <a:cubicBezTo>
                    <a:pt x="842" y="394"/>
                    <a:pt x="839" y="391"/>
                    <a:pt x="835" y="390"/>
                  </a:cubicBezTo>
                  <a:cubicBezTo>
                    <a:pt x="831" y="388"/>
                    <a:pt x="834" y="384"/>
                    <a:pt x="830" y="381"/>
                  </a:cubicBezTo>
                  <a:cubicBezTo>
                    <a:pt x="827" y="378"/>
                    <a:pt x="826" y="386"/>
                    <a:pt x="826" y="386"/>
                  </a:cubicBezTo>
                  <a:cubicBezTo>
                    <a:pt x="516" y="388"/>
                    <a:pt x="516" y="388"/>
                    <a:pt x="516" y="388"/>
                  </a:cubicBezTo>
                  <a:cubicBezTo>
                    <a:pt x="516" y="388"/>
                    <a:pt x="516" y="389"/>
                    <a:pt x="517" y="389"/>
                  </a:cubicBezTo>
                  <a:cubicBezTo>
                    <a:pt x="521" y="393"/>
                    <a:pt x="518" y="396"/>
                    <a:pt x="519" y="401"/>
                  </a:cubicBezTo>
                  <a:cubicBezTo>
                    <a:pt x="520" y="406"/>
                    <a:pt x="519" y="412"/>
                    <a:pt x="515" y="412"/>
                  </a:cubicBezTo>
                  <a:cubicBezTo>
                    <a:pt x="512" y="412"/>
                    <a:pt x="511" y="408"/>
                    <a:pt x="514" y="407"/>
                  </a:cubicBezTo>
                  <a:cubicBezTo>
                    <a:pt x="517" y="405"/>
                    <a:pt x="515" y="400"/>
                    <a:pt x="512" y="400"/>
                  </a:cubicBezTo>
                  <a:cubicBezTo>
                    <a:pt x="511" y="400"/>
                    <a:pt x="510" y="398"/>
                    <a:pt x="510" y="395"/>
                  </a:cubicBezTo>
                  <a:cubicBezTo>
                    <a:pt x="505" y="397"/>
                    <a:pt x="499" y="396"/>
                    <a:pt x="492" y="395"/>
                  </a:cubicBezTo>
                  <a:cubicBezTo>
                    <a:pt x="492" y="396"/>
                    <a:pt x="493" y="396"/>
                    <a:pt x="493" y="396"/>
                  </a:cubicBezTo>
                  <a:cubicBezTo>
                    <a:pt x="493" y="399"/>
                    <a:pt x="494" y="406"/>
                    <a:pt x="498" y="411"/>
                  </a:cubicBezTo>
                  <a:cubicBezTo>
                    <a:pt x="502" y="417"/>
                    <a:pt x="500" y="420"/>
                    <a:pt x="503" y="422"/>
                  </a:cubicBezTo>
                  <a:cubicBezTo>
                    <a:pt x="507" y="424"/>
                    <a:pt x="507" y="426"/>
                    <a:pt x="503" y="426"/>
                  </a:cubicBezTo>
                  <a:cubicBezTo>
                    <a:pt x="500" y="425"/>
                    <a:pt x="502" y="428"/>
                    <a:pt x="501" y="436"/>
                  </a:cubicBezTo>
                  <a:cubicBezTo>
                    <a:pt x="500" y="443"/>
                    <a:pt x="500" y="459"/>
                    <a:pt x="499" y="464"/>
                  </a:cubicBezTo>
                  <a:cubicBezTo>
                    <a:pt x="499" y="468"/>
                    <a:pt x="493" y="476"/>
                    <a:pt x="496" y="481"/>
                  </a:cubicBezTo>
                  <a:cubicBezTo>
                    <a:pt x="500" y="486"/>
                    <a:pt x="502" y="493"/>
                    <a:pt x="500" y="499"/>
                  </a:cubicBezTo>
                  <a:cubicBezTo>
                    <a:pt x="498" y="506"/>
                    <a:pt x="499" y="509"/>
                    <a:pt x="501" y="514"/>
                  </a:cubicBezTo>
                  <a:cubicBezTo>
                    <a:pt x="504" y="519"/>
                    <a:pt x="502" y="527"/>
                    <a:pt x="505" y="529"/>
                  </a:cubicBezTo>
                  <a:cubicBezTo>
                    <a:pt x="508" y="531"/>
                    <a:pt x="511" y="534"/>
                    <a:pt x="513" y="539"/>
                  </a:cubicBezTo>
                  <a:cubicBezTo>
                    <a:pt x="516" y="543"/>
                    <a:pt x="519" y="540"/>
                    <a:pt x="519" y="545"/>
                  </a:cubicBezTo>
                  <a:cubicBezTo>
                    <a:pt x="520" y="549"/>
                    <a:pt x="520" y="550"/>
                    <a:pt x="524" y="552"/>
                  </a:cubicBezTo>
                  <a:cubicBezTo>
                    <a:pt x="528" y="554"/>
                    <a:pt x="525" y="558"/>
                    <a:pt x="525" y="561"/>
                  </a:cubicBezTo>
                  <a:cubicBezTo>
                    <a:pt x="525" y="563"/>
                    <a:pt x="530" y="568"/>
                    <a:pt x="537" y="573"/>
                  </a:cubicBezTo>
                  <a:cubicBezTo>
                    <a:pt x="543" y="579"/>
                    <a:pt x="538" y="584"/>
                    <a:pt x="543" y="584"/>
                  </a:cubicBezTo>
                  <a:cubicBezTo>
                    <a:pt x="547" y="584"/>
                    <a:pt x="552" y="587"/>
                    <a:pt x="557" y="590"/>
                  </a:cubicBezTo>
                  <a:cubicBezTo>
                    <a:pt x="561" y="593"/>
                    <a:pt x="563" y="591"/>
                    <a:pt x="566" y="592"/>
                  </a:cubicBezTo>
                  <a:cubicBezTo>
                    <a:pt x="569" y="592"/>
                    <a:pt x="575" y="599"/>
                    <a:pt x="577" y="604"/>
                  </a:cubicBezTo>
                  <a:cubicBezTo>
                    <a:pt x="577" y="606"/>
                    <a:pt x="578" y="609"/>
                    <a:pt x="579" y="611"/>
                  </a:cubicBezTo>
                  <a:cubicBezTo>
                    <a:pt x="605" y="608"/>
                    <a:pt x="605" y="608"/>
                    <a:pt x="605" y="608"/>
                  </a:cubicBezTo>
                  <a:cubicBezTo>
                    <a:pt x="605" y="608"/>
                    <a:pt x="613" y="613"/>
                    <a:pt x="618" y="614"/>
                  </a:cubicBezTo>
                  <a:cubicBezTo>
                    <a:pt x="622" y="615"/>
                    <a:pt x="647" y="625"/>
                    <a:pt x="647" y="625"/>
                  </a:cubicBezTo>
                  <a:cubicBezTo>
                    <a:pt x="679" y="624"/>
                    <a:pt x="679" y="624"/>
                    <a:pt x="679" y="624"/>
                  </a:cubicBezTo>
                  <a:cubicBezTo>
                    <a:pt x="683" y="619"/>
                    <a:pt x="683" y="619"/>
                    <a:pt x="683" y="619"/>
                  </a:cubicBezTo>
                  <a:cubicBezTo>
                    <a:pt x="700" y="619"/>
                    <a:pt x="700" y="619"/>
                    <a:pt x="700" y="619"/>
                  </a:cubicBezTo>
                  <a:cubicBezTo>
                    <a:pt x="700" y="619"/>
                    <a:pt x="711" y="630"/>
                    <a:pt x="713" y="631"/>
                  </a:cubicBezTo>
                  <a:cubicBezTo>
                    <a:pt x="715" y="632"/>
                    <a:pt x="720" y="637"/>
                    <a:pt x="720" y="640"/>
                  </a:cubicBezTo>
                  <a:cubicBezTo>
                    <a:pt x="720" y="643"/>
                    <a:pt x="722" y="646"/>
                    <a:pt x="724" y="647"/>
                  </a:cubicBezTo>
                  <a:cubicBezTo>
                    <a:pt x="727" y="648"/>
                    <a:pt x="736" y="654"/>
                    <a:pt x="737" y="654"/>
                  </a:cubicBezTo>
                  <a:cubicBezTo>
                    <a:pt x="739" y="653"/>
                    <a:pt x="741" y="643"/>
                    <a:pt x="746" y="643"/>
                  </a:cubicBezTo>
                  <a:cubicBezTo>
                    <a:pt x="751" y="644"/>
                    <a:pt x="764" y="647"/>
                    <a:pt x="766" y="655"/>
                  </a:cubicBezTo>
                  <a:cubicBezTo>
                    <a:pt x="768" y="662"/>
                    <a:pt x="775" y="668"/>
                    <a:pt x="777" y="670"/>
                  </a:cubicBezTo>
                  <a:cubicBezTo>
                    <a:pt x="779" y="672"/>
                    <a:pt x="778" y="676"/>
                    <a:pt x="779" y="679"/>
                  </a:cubicBezTo>
                  <a:cubicBezTo>
                    <a:pt x="781" y="681"/>
                    <a:pt x="781" y="685"/>
                    <a:pt x="783" y="685"/>
                  </a:cubicBezTo>
                  <a:cubicBezTo>
                    <a:pt x="785" y="685"/>
                    <a:pt x="794" y="691"/>
                    <a:pt x="798" y="691"/>
                  </a:cubicBezTo>
                  <a:cubicBezTo>
                    <a:pt x="800" y="691"/>
                    <a:pt x="801" y="692"/>
                    <a:pt x="803" y="693"/>
                  </a:cubicBezTo>
                  <a:cubicBezTo>
                    <a:pt x="804" y="684"/>
                    <a:pt x="794" y="682"/>
                    <a:pt x="800" y="678"/>
                  </a:cubicBezTo>
                  <a:cubicBezTo>
                    <a:pt x="806" y="674"/>
                    <a:pt x="800" y="670"/>
                    <a:pt x="803" y="668"/>
                  </a:cubicBezTo>
                  <a:cubicBezTo>
                    <a:pt x="806" y="666"/>
                    <a:pt x="811" y="664"/>
                    <a:pt x="811" y="661"/>
                  </a:cubicBezTo>
                  <a:cubicBezTo>
                    <a:pt x="811" y="658"/>
                    <a:pt x="814" y="658"/>
                    <a:pt x="818" y="658"/>
                  </a:cubicBezTo>
                  <a:cubicBezTo>
                    <a:pt x="822" y="659"/>
                    <a:pt x="829" y="652"/>
                    <a:pt x="829" y="649"/>
                  </a:cubicBezTo>
                  <a:cubicBezTo>
                    <a:pt x="828" y="646"/>
                    <a:pt x="829" y="646"/>
                    <a:pt x="834" y="647"/>
                  </a:cubicBezTo>
                  <a:cubicBezTo>
                    <a:pt x="839" y="648"/>
                    <a:pt x="838" y="641"/>
                    <a:pt x="841" y="642"/>
                  </a:cubicBezTo>
                  <a:cubicBezTo>
                    <a:pt x="844" y="643"/>
                    <a:pt x="847" y="645"/>
                    <a:pt x="847" y="643"/>
                  </a:cubicBezTo>
                  <a:cubicBezTo>
                    <a:pt x="847" y="640"/>
                    <a:pt x="850" y="641"/>
                    <a:pt x="852" y="644"/>
                  </a:cubicBezTo>
                  <a:cubicBezTo>
                    <a:pt x="855" y="647"/>
                    <a:pt x="861" y="648"/>
                    <a:pt x="862" y="644"/>
                  </a:cubicBezTo>
                  <a:cubicBezTo>
                    <a:pt x="862" y="641"/>
                    <a:pt x="866" y="644"/>
                    <a:pt x="869" y="648"/>
                  </a:cubicBezTo>
                  <a:cubicBezTo>
                    <a:pt x="872" y="651"/>
                    <a:pt x="874" y="650"/>
                    <a:pt x="879" y="650"/>
                  </a:cubicBezTo>
                  <a:cubicBezTo>
                    <a:pt x="883" y="651"/>
                    <a:pt x="883" y="649"/>
                    <a:pt x="884" y="646"/>
                  </a:cubicBezTo>
                  <a:cubicBezTo>
                    <a:pt x="884" y="643"/>
                    <a:pt x="889" y="653"/>
                    <a:pt x="894" y="653"/>
                  </a:cubicBezTo>
                  <a:cubicBezTo>
                    <a:pt x="898" y="654"/>
                    <a:pt x="895" y="650"/>
                    <a:pt x="891" y="648"/>
                  </a:cubicBezTo>
                  <a:cubicBezTo>
                    <a:pt x="888" y="645"/>
                    <a:pt x="892" y="644"/>
                    <a:pt x="889" y="641"/>
                  </a:cubicBezTo>
                  <a:cubicBezTo>
                    <a:pt x="886" y="639"/>
                    <a:pt x="893" y="636"/>
                    <a:pt x="899" y="636"/>
                  </a:cubicBezTo>
                  <a:cubicBezTo>
                    <a:pt x="905" y="637"/>
                    <a:pt x="904" y="638"/>
                    <a:pt x="907" y="635"/>
                  </a:cubicBezTo>
                  <a:cubicBezTo>
                    <a:pt x="909" y="631"/>
                    <a:pt x="911" y="635"/>
                    <a:pt x="911" y="638"/>
                  </a:cubicBezTo>
                  <a:cubicBezTo>
                    <a:pt x="911" y="641"/>
                    <a:pt x="921" y="636"/>
                    <a:pt x="926" y="636"/>
                  </a:cubicBezTo>
                  <a:cubicBezTo>
                    <a:pt x="931" y="636"/>
                    <a:pt x="936" y="640"/>
                    <a:pt x="937" y="643"/>
                  </a:cubicBezTo>
                  <a:cubicBezTo>
                    <a:pt x="937" y="646"/>
                    <a:pt x="941" y="648"/>
                    <a:pt x="944" y="645"/>
                  </a:cubicBezTo>
                  <a:cubicBezTo>
                    <a:pt x="948" y="641"/>
                    <a:pt x="951" y="638"/>
                    <a:pt x="955" y="641"/>
                  </a:cubicBezTo>
                  <a:cubicBezTo>
                    <a:pt x="958" y="645"/>
                    <a:pt x="962" y="649"/>
                    <a:pt x="966" y="654"/>
                  </a:cubicBezTo>
                  <a:cubicBezTo>
                    <a:pt x="970" y="658"/>
                    <a:pt x="964" y="663"/>
                    <a:pt x="966" y="666"/>
                  </a:cubicBezTo>
                  <a:cubicBezTo>
                    <a:pt x="969" y="670"/>
                    <a:pt x="966" y="674"/>
                    <a:pt x="971" y="678"/>
                  </a:cubicBezTo>
                  <a:cubicBezTo>
                    <a:pt x="976" y="681"/>
                    <a:pt x="972" y="688"/>
                    <a:pt x="976" y="689"/>
                  </a:cubicBezTo>
                  <a:cubicBezTo>
                    <a:pt x="980" y="690"/>
                    <a:pt x="983" y="697"/>
                    <a:pt x="983" y="699"/>
                  </a:cubicBezTo>
                  <a:cubicBezTo>
                    <a:pt x="984" y="702"/>
                    <a:pt x="991" y="705"/>
                    <a:pt x="992" y="701"/>
                  </a:cubicBezTo>
                  <a:cubicBezTo>
                    <a:pt x="992" y="696"/>
                    <a:pt x="996" y="691"/>
                    <a:pt x="997" y="687"/>
                  </a:cubicBezTo>
                  <a:cubicBezTo>
                    <a:pt x="997" y="683"/>
                    <a:pt x="994" y="669"/>
                    <a:pt x="991" y="665"/>
                  </a:cubicBezTo>
                  <a:cubicBezTo>
                    <a:pt x="987" y="660"/>
                    <a:pt x="991" y="659"/>
                    <a:pt x="987" y="654"/>
                  </a:cubicBezTo>
                  <a:cubicBezTo>
                    <a:pt x="983" y="649"/>
                    <a:pt x="981" y="639"/>
                    <a:pt x="981" y="632"/>
                  </a:cubicBezTo>
                  <a:cubicBezTo>
                    <a:pt x="981" y="624"/>
                    <a:pt x="990" y="612"/>
                    <a:pt x="994" y="608"/>
                  </a:cubicBezTo>
                  <a:cubicBezTo>
                    <a:pt x="999" y="605"/>
                    <a:pt x="1003" y="607"/>
                    <a:pt x="1004" y="603"/>
                  </a:cubicBezTo>
                  <a:cubicBezTo>
                    <a:pt x="1005" y="599"/>
                    <a:pt x="1011" y="594"/>
                    <a:pt x="1014" y="594"/>
                  </a:cubicBezTo>
                  <a:cubicBezTo>
                    <a:pt x="1017" y="594"/>
                    <a:pt x="1020" y="594"/>
                    <a:pt x="1020" y="591"/>
                  </a:cubicBezTo>
                  <a:cubicBezTo>
                    <a:pt x="1021" y="588"/>
                    <a:pt x="1026" y="584"/>
                    <a:pt x="1032" y="583"/>
                  </a:cubicBezTo>
                  <a:cubicBezTo>
                    <a:pt x="1039" y="582"/>
                    <a:pt x="1035" y="578"/>
                    <a:pt x="1033" y="575"/>
                  </a:cubicBezTo>
                  <a:cubicBezTo>
                    <a:pt x="1032" y="572"/>
                    <a:pt x="1035" y="569"/>
                    <a:pt x="1036" y="571"/>
                  </a:cubicBezTo>
                  <a:cubicBezTo>
                    <a:pt x="1037" y="573"/>
                    <a:pt x="1041" y="574"/>
                    <a:pt x="1044" y="572"/>
                  </a:cubicBezTo>
                  <a:cubicBezTo>
                    <a:pt x="1046" y="570"/>
                    <a:pt x="1052" y="565"/>
                    <a:pt x="1047" y="565"/>
                  </a:cubicBezTo>
                  <a:cubicBezTo>
                    <a:pt x="1041" y="565"/>
                    <a:pt x="1040" y="563"/>
                    <a:pt x="1043" y="561"/>
                  </a:cubicBezTo>
                  <a:cubicBezTo>
                    <a:pt x="1046" y="560"/>
                    <a:pt x="1044" y="554"/>
                    <a:pt x="1039" y="554"/>
                  </a:cubicBezTo>
                  <a:cubicBezTo>
                    <a:pt x="1035" y="553"/>
                    <a:pt x="1036" y="551"/>
                    <a:pt x="1039" y="548"/>
                  </a:cubicBezTo>
                  <a:cubicBezTo>
                    <a:pt x="1042" y="545"/>
                    <a:pt x="1035" y="541"/>
                    <a:pt x="1032" y="539"/>
                  </a:cubicBezTo>
                  <a:cubicBezTo>
                    <a:pt x="1028" y="536"/>
                    <a:pt x="1034" y="535"/>
                    <a:pt x="1036" y="535"/>
                  </a:cubicBezTo>
                  <a:cubicBezTo>
                    <a:pt x="1039" y="534"/>
                    <a:pt x="1037" y="523"/>
                    <a:pt x="1038" y="520"/>
                  </a:cubicBezTo>
                  <a:cubicBezTo>
                    <a:pt x="1039" y="517"/>
                    <a:pt x="1043" y="517"/>
                    <a:pt x="1042" y="520"/>
                  </a:cubicBezTo>
                  <a:cubicBezTo>
                    <a:pt x="1040" y="523"/>
                    <a:pt x="1037" y="527"/>
                    <a:pt x="1041" y="531"/>
                  </a:cubicBezTo>
                  <a:cubicBezTo>
                    <a:pt x="1044" y="535"/>
                    <a:pt x="1045" y="539"/>
                    <a:pt x="1044" y="544"/>
                  </a:cubicBezTo>
                  <a:cubicBezTo>
                    <a:pt x="1042" y="550"/>
                    <a:pt x="1045" y="549"/>
                    <a:pt x="1049" y="541"/>
                  </a:cubicBezTo>
                  <a:cubicBezTo>
                    <a:pt x="1052" y="534"/>
                    <a:pt x="1053" y="527"/>
                    <a:pt x="1050" y="526"/>
                  </a:cubicBezTo>
                  <a:cubicBezTo>
                    <a:pt x="1048" y="526"/>
                    <a:pt x="1048" y="518"/>
                    <a:pt x="1051" y="522"/>
                  </a:cubicBezTo>
                  <a:cubicBezTo>
                    <a:pt x="1054" y="525"/>
                    <a:pt x="1055" y="526"/>
                    <a:pt x="1059" y="521"/>
                  </a:cubicBezTo>
                  <a:cubicBezTo>
                    <a:pt x="1063" y="517"/>
                    <a:pt x="1068" y="509"/>
                    <a:pt x="1065" y="507"/>
                  </a:cubicBezTo>
                  <a:cubicBezTo>
                    <a:pt x="1062" y="505"/>
                    <a:pt x="1066" y="504"/>
                    <a:pt x="1071" y="504"/>
                  </a:cubicBezTo>
                  <a:cubicBezTo>
                    <a:pt x="1076" y="504"/>
                    <a:pt x="1087" y="501"/>
                    <a:pt x="1088" y="499"/>
                  </a:cubicBezTo>
                  <a:cubicBezTo>
                    <a:pt x="1090" y="494"/>
                    <a:pt x="1070" y="502"/>
                    <a:pt x="1070" y="499"/>
                  </a:cubicBezTo>
                  <a:cubicBezTo>
                    <a:pt x="1070" y="496"/>
                    <a:pt x="1083" y="493"/>
                    <a:pt x="1089" y="493"/>
                  </a:cubicBezTo>
                  <a:cubicBezTo>
                    <a:pt x="1094" y="493"/>
                    <a:pt x="1092" y="485"/>
                    <a:pt x="1094" y="488"/>
                  </a:cubicBezTo>
                  <a:cubicBezTo>
                    <a:pt x="1097" y="492"/>
                    <a:pt x="1100" y="491"/>
                    <a:pt x="1104" y="489"/>
                  </a:cubicBezTo>
                  <a:cubicBezTo>
                    <a:pt x="1107" y="487"/>
                    <a:pt x="1104" y="481"/>
                    <a:pt x="1101" y="480"/>
                  </a:cubicBezTo>
                  <a:cubicBezTo>
                    <a:pt x="1097" y="479"/>
                    <a:pt x="1103" y="477"/>
                    <a:pt x="1102" y="475"/>
                  </a:cubicBezTo>
                  <a:cubicBezTo>
                    <a:pt x="1101" y="472"/>
                    <a:pt x="1105" y="463"/>
                    <a:pt x="1109" y="462"/>
                  </a:cubicBezTo>
                  <a:cubicBezTo>
                    <a:pt x="1114" y="461"/>
                    <a:pt x="1112" y="458"/>
                    <a:pt x="1116" y="458"/>
                  </a:cubicBezTo>
                  <a:cubicBezTo>
                    <a:pt x="1120" y="458"/>
                    <a:pt x="1121" y="454"/>
                    <a:pt x="1124" y="450"/>
                  </a:cubicBezTo>
                  <a:cubicBezTo>
                    <a:pt x="1128" y="447"/>
                    <a:pt x="1133" y="456"/>
                    <a:pt x="1138" y="451"/>
                  </a:cubicBezTo>
                  <a:cubicBezTo>
                    <a:pt x="1140" y="448"/>
                    <a:pt x="1143" y="446"/>
                    <a:pt x="1147" y="444"/>
                  </a:cubicBezTo>
                  <a:cubicBezTo>
                    <a:pt x="1134" y="427"/>
                    <a:pt x="1137" y="416"/>
                    <a:pt x="1137" y="41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1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062862" y="2962681"/>
              <a:ext cx="329790" cy="235023"/>
            </a:xfrm>
            <a:custGeom>
              <a:avLst/>
              <a:gdLst/>
              <a:ahLst/>
              <a:cxnLst>
                <a:cxn ang="0">
                  <a:pos x="143" y="18"/>
                </a:cxn>
                <a:cxn ang="0">
                  <a:pos x="132" y="18"/>
                </a:cxn>
                <a:cxn ang="0">
                  <a:pos x="118" y="15"/>
                </a:cxn>
                <a:cxn ang="0">
                  <a:pos x="113" y="13"/>
                </a:cxn>
                <a:cxn ang="0">
                  <a:pos x="104" y="14"/>
                </a:cxn>
                <a:cxn ang="0">
                  <a:pos x="93" y="9"/>
                </a:cxn>
                <a:cxn ang="0">
                  <a:pos x="87" y="6"/>
                </a:cxn>
                <a:cxn ang="0">
                  <a:pos x="67" y="4"/>
                </a:cxn>
                <a:cxn ang="0">
                  <a:pos x="30" y="3"/>
                </a:cxn>
                <a:cxn ang="0">
                  <a:pos x="16" y="0"/>
                </a:cxn>
                <a:cxn ang="0">
                  <a:pos x="7" y="6"/>
                </a:cxn>
                <a:cxn ang="0">
                  <a:pos x="5" y="14"/>
                </a:cxn>
                <a:cxn ang="0">
                  <a:pos x="7" y="25"/>
                </a:cxn>
                <a:cxn ang="0">
                  <a:pos x="10" y="23"/>
                </a:cxn>
                <a:cxn ang="0">
                  <a:pos x="14" y="24"/>
                </a:cxn>
                <a:cxn ang="0">
                  <a:pos x="21" y="25"/>
                </a:cxn>
                <a:cxn ang="0">
                  <a:pos x="25" y="25"/>
                </a:cxn>
                <a:cxn ang="0">
                  <a:pos x="32" y="27"/>
                </a:cxn>
                <a:cxn ang="0">
                  <a:pos x="35" y="31"/>
                </a:cxn>
                <a:cxn ang="0">
                  <a:pos x="27" y="38"/>
                </a:cxn>
                <a:cxn ang="0">
                  <a:pos x="28" y="48"/>
                </a:cxn>
                <a:cxn ang="0">
                  <a:pos x="26" y="56"/>
                </a:cxn>
                <a:cxn ang="0">
                  <a:pos x="23" y="60"/>
                </a:cxn>
                <a:cxn ang="0">
                  <a:pos x="27" y="66"/>
                </a:cxn>
                <a:cxn ang="0">
                  <a:pos x="24" y="73"/>
                </a:cxn>
                <a:cxn ang="0">
                  <a:pos x="26" y="78"/>
                </a:cxn>
                <a:cxn ang="0">
                  <a:pos x="22" y="85"/>
                </a:cxn>
                <a:cxn ang="0">
                  <a:pos x="23" y="89"/>
                </a:cxn>
                <a:cxn ang="0">
                  <a:pos x="29" y="89"/>
                </a:cxn>
                <a:cxn ang="0">
                  <a:pos x="43" y="102"/>
                </a:cxn>
                <a:cxn ang="0">
                  <a:pos x="46" y="99"/>
                </a:cxn>
                <a:cxn ang="0">
                  <a:pos x="52" y="98"/>
                </a:cxn>
                <a:cxn ang="0">
                  <a:pos x="63" y="94"/>
                </a:cxn>
                <a:cxn ang="0">
                  <a:pos x="77" y="94"/>
                </a:cxn>
                <a:cxn ang="0">
                  <a:pos x="85" y="90"/>
                </a:cxn>
                <a:cxn ang="0">
                  <a:pos x="94" y="84"/>
                </a:cxn>
                <a:cxn ang="0">
                  <a:pos x="98" y="76"/>
                </a:cxn>
                <a:cxn ang="0">
                  <a:pos x="106" y="67"/>
                </a:cxn>
                <a:cxn ang="0">
                  <a:pos x="107" y="51"/>
                </a:cxn>
                <a:cxn ang="0">
                  <a:pos x="116" y="40"/>
                </a:cxn>
                <a:cxn ang="0">
                  <a:pos x="126" y="34"/>
                </a:cxn>
                <a:cxn ang="0">
                  <a:pos x="139" y="28"/>
                </a:cxn>
                <a:cxn ang="0">
                  <a:pos x="143" y="18"/>
                </a:cxn>
                <a:cxn ang="0">
                  <a:pos x="144" y="55"/>
                </a:cxn>
                <a:cxn ang="0">
                  <a:pos x="134" y="58"/>
                </a:cxn>
                <a:cxn ang="0">
                  <a:pos x="144" y="55"/>
                </a:cxn>
              </a:cxnLst>
              <a:rect l="0" t="0" r="r" b="b"/>
              <a:pathLst>
                <a:path w="145" h="103">
                  <a:moveTo>
                    <a:pt x="143" y="18"/>
                  </a:moveTo>
                  <a:cubicBezTo>
                    <a:pt x="139" y="18"/>
                    <a:pt x="135" y="18"/>
                    <a:pt x="132" y="18"/>
                  </a:cubicBezTo>
                  <a:cubicBezTo>
                    <a:pt x="128" y="17"/>
                    <a:pt x="120" y="17"/>
                    <a:pt x="118" y="15"/>
                  </a:cubicBezTo>
                  <a:cubicBezTo>
                    <a:pt x="116" y="12"/>
                    <a:pt x="113" y="11"/>
                    <a:pt x="113" y="13"/>
                  </a:cubicBezTo>
                  <a:cubicBezTo>
                    <a:pt x="113" y="16"/>
                    <a:pt x="107" y="16"/>
                    <a:pt x="104" y="14"/>
                  </a:cubicBezTo>
                  <a:cubicBezTo>
                    <a:pt x="101" y="12"/>
                    <a:pt x="96" y="10"/>
                    <a:pt x="93" y="9"/>
                  </a:cubicBezTo>
                  <a:cubicBezTo>
                    <a:pt x="92" y="8"/>
                    <a:pt x="89" y="7"/>
                    <a:pt x="87" y="6"/>
                  </a:cubicBezTo>
                  <a:cubicBezTo>
                    <a:pt x="83" y="6"/>
                    <a:pt x="74" y="3"/>
                    <a:pt x="67" y="4"/>
                  </a:cubicBezTo>
                  <a:cubicBezTo>
                    <a:pt x="60" y="4"/>
                    <a:pt x="39" y="3"/>
                    <a:pt x="30" y="3"/>
                  </a:cubicBezTo>
                  <a:cubicBezTo>
                    <a:pt x="22" y="4"/>
                    <a:pt x="21" y="0"/>
                    <a:pt x="16" y="0"/>
                  </a:cubicBezTo>
                  <a:cubicBezTo>
                    <a:pt x="12" y="0"/>
                    <a:pt x="14" y="5"/>
                    <a:pt x="7" y="6"/>
                  </a:cubicBezTo>
                  <a:cubicBezTo>
                    <a:pt x="0" y="6"/>
                    <a:pt x="0" y="10"/>
                    <a:pt x="5" y="14"/>
                  </a:cubicBezTo>
                  <a:cubicBezTo>
                    <a:pt x="7" y="16"/>
                    <a:pt x="7" y="20"/>
                    <a:pt x="7" y="25"/>
                  </a:cubicBezTo>
                  <a:cubicBezTo>
                    <a:pt x="8" y="25"/>
                    <a:pt x="9" y="24"/>
                    <a:pt x="10" y="23"/>
                  </a:cubicBezTo>
                  <a:cubicBezTo>
                    <a:pt x="12" y="21"/>
                    <a:pt x="14" y="21"/>
                    <a:pt x="14" y="24"/>
                  </a:cubicBezTo>
                  <a:cubicBezTo>
                    <a:pt x="14" y="26"/>
                    <a:pt x="18" y="25"/>
                    <a:pt x="21" y="25"/>
                  </a:cubicBezTo>
                  <a:cubicBezTo>
                    <a:pt x="23" y="25"/>
                    <a:pt x="22" y="27"/>
                    <a:pt x="25" y="25"/>
                  </a:cubicBezTo>
                  <a:cubicBezTo>
                    <a:pt x="28" y="23"/>
                    <a:pt x="32" y="24"/>
                    <a:pt x="32" y="27"/>
                  </a:cubicBezTo>
                  <a:cubicBezTo>
                    <a:pt x="32" y="29"/>
                    <a:pt x="38" y="28"/>
                    <a:pt x="35" y="31"/>
                  </a:cubicBezTo>
                  <a:cubicBezTo>
                    <a:pt x="31" y="34"/>
                    <a:pt x="27" y="35"/>
                    <a:pt x="27" y="38"/>
                  </a:cubicBezTo>
                  <a:cubicBezTo>
                    <a:pt x="27" y="40"/>
                    <a:pt x="31" y="45"/>
                    <a:pt x="28" y="48"/>
                  </a:cubicBezTo>
                  <a:cubicBezTo>
                    <a:pt x="25" y="51"/>
                    <a:pt x="29" y="56"/>
                    <a:pt x="26" y="56"/>
                  </a:cubicBezTo>
                  <a:cubicBezTo>
                    <a:pt x="23" y="56"/>
                    <a:pt x="20" y="57"/>
                    <a:pt x="23" y="60"/>
                  </a:cubicBezTo>
                  <a:cubicBezTo>
                    <a:pt x="27" y="64"/>
                    <a:pt x="29" y="66"/>
                    <a:pt x="27" y="66"/>
                  </a:cubicBezTo>
                  <a:cubicBezTo>
                    <a:pt x="24" y="66"/>
                    <a:pt x="23" y="71"/>
                    <a:pt x="24" y="73"/>
                  </a:cubicBezTo>
                  <a:cubicBezTo>
                    <a:pt x="25" y="74"/>
                    <a:pt x="31" y="77"/>
                    <a:pt x="26" y="78"/>
                  </a:cubicBezTo>
                  <a:cubicBezTo>
                    <a:pt x="22" y="79"/>
                    <a:pt x="22" y="83"/>
                    <a:pt x="22" y="85"/>
                  </a:cubicBezTo>
                  <a:cubicBezTo>
                    <a:pt x="22" y="86"/>
                    <a:pt x="22" y="87"/>
                    <a:pt x="23" y="89"/>
                  </a:cubicBezTo>
                  <a:cubicBezTo>
                    <a:pt x="25" y="88"/>
                    <a:pt x="27" y="88"/>
                    <a:pt x="29" y="89"/>
                  </a:cubicBezTo>
                  <a:cubicBezTo>
                    <a:pt x="34" y="91"/>
                    <a:pt x="37" y="103"/>
                    <a:pt x="43" y="102"/>
                  </a:cubicBezTo>
                  <a:cubicBezTo>
                    <a:pt x="46" y="102"/>
                    <a:pt x="44" y="100"/>
                    <a:pt x="46" y="99"/>
                  </a:cubicBezTo>
                  <a:cubicBezTo>
                    <a:pt x="47" y="97"/>
                    <a:pt x="50" y="98"/>
                    <a:pt x="52" y="98"/>
                  </a:cubicBezTo>
                  <a:cubicBezTo>
                    <a:pt x="55" y="98"/>
                    <a:pt x="56" y="94"/>
                    <a:pt x="63" y="94"/>
                  </a:cubicBezTo>
                  <a:cubicBezTo>
                    <a:pt x="69" y="94"/>
                    <a:pt x="73" y="94"/>
                    <a:pt x="77" y="94"/>
                  </a:cubicBezTo>
                  <a:cubicBezTo>
                    <a:pt x="81" y="94"/>
                    <a:pt x="84" y="93"/>
                    <a:pt x="85" y="90"/>
                  </a:cubicBezTo>
                  <a:cubicBezTo>
                    <a:pt x="86" y="87"/>
                    <a:pt x="89" y="84"/>
                    <a:pt x="94" y="84"/>
                  </a:cubicBezTo>
                  <a:cubicBezTo>
                    <a:pt x="98" y="83"/>
                    <a:pt x="98" y="78"/>
                    <a:pt x="98" y="76"/>
                  </a:cubicBezTo>
                  <a:cubicBezTo>
                    <a:pt x="98" y="73"/>
                    <a:pt x="106" y="69"/>
                    <a:pt x="106" y="67"/>
                  </a:cubicBezTo>
                  <a:cubicBezTo>
                    <a:pt x="107" y="65"/>
                    <a:pt x="102" y="57"/>
                    <a:pt x="107" y="51"/>
                  </a:cubicBezTo>
                  <a:cubicBezTo>
                    <a:pt x="111" y="44"/>
                    <a:pt x="116" y="43"/>
                    <a:pt x="116" y="40"/>
                  </a:cubicBezTo>
                  <a:cubicBezTo>
                    <a:pt x="116" y="36"/>
                    <a:pt x="121" y="35"/>
                    <a:pt x="126" y="34"/>
                  </a:cubicBezTo>
                  <a:cubicBezTo>
                    <a:pt x="132" y="33"/>
                    <a:pt x="134" y="30"/>
                    <a:pt x="139" y="28"/>
                  </a:cubicBezTo>
                  <a:cubicBezTo>
                    <a:pt x="143" y="26"/>
                    <a:pt x="144" y="23"/>
                    <a:pt x="143" y="18"/>
                  </a:cubicBezTo>
                  <a:close/>
                  <a:moveTo>
                    <a:pt x="144" y="55"/>
                  </a:moveTo>
                  <a:cubicBezTo>
                    <a:pt x="143" y="49"/>
                    <a:pt x="132" y="56"/>
                    <a:pt x="134" y="58"/>
                  </a:cubicBezTo>
                  <a:cubicBezTo>
                    <a:pt x="139" y="61"/>
                    <a:pt x="145" y="60"/>
                    <a:pt x="144" y="5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2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815316" y="3023332"/>
              <a:ext cx="163000" cy="202803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65" y="2"/>
                </a:cxn>
                <a:cxn ang="0">
                  <a:pos x="61" y="5"/>
                </a:cxn>
                <a:cxn ang="0">
                  <a:pos x="49" y="3"/>
                </a:cxn>
                <a:cxn ang="0">
                  <a:pos x="34" y="3"/>
                </a:cxn>
                <a:cxn ang="0">
                  <a:pos x="33" y="3"/>
                </a:cxn>
                <a:cxn ang="0">
                  <a:pos x="23" y="8"/>
                </a:cxn>
                <a:cxn ang="0">
                  <a:pos x="18" y="11"/>
                </a:cxn>
                <a:cxn ang="0">
                  <a:pos x="10" y="12"/>
                </a:cxn>
                <a:cxn ang="0">
                  <a:pos x="6" y="19"/>
                </a:cxn>
                <a:cxn ang="0">
                  <a:pos x="3" y="23"/>
                </a:cxn>
                <a:cxn ang="0">
                  <a:pos x="0" y="29"/>
                </a:cxn>
                <a:cxn ang="0">
                  <a:pos x="0" y="29"/>
                </a:cxn>
                <a:cxn ang="0">
                  <a:pos x="6" y="39"/>
                </a:cxn>
                <a:cxn ang="0">
                  <a:pos x="14" y="42"/>
                </a:cxn>
                <a:cxn ang="0">
                  <a:pos x="25" y="45"/>
                </a:cxn>
                <a:cxn ang="0">
                  <a:pos x="13" y="46"/>
                </a:cxn>
                <a:cxn ang="0">
                  <a:pos x="15" y="56"/>
                </a:cxn>
                <a:cxn ang="0">
                  <a:pos x="21" y="64"/>
                </a:cxn>
                <a:cxn ang="0">
                  <a:pos x="31" y="69"/>
                </a:cxn>
                <a:cxn ang="0">
                  <a:pos x="29" y="57"/>
                </a:cxn>
                <a:cxn ang="0">
                  <a:pos x="37" y="57"/>
                </a:cxn>
                <a:cxn ang="0">
                  <a:pos x="32" y="53"/>
                </a:cxn>
                <a:cxn ang="0">
                  <a:pos x="36" y="50"/>
                </a:cxn>
                <a:cxn ang="0">
                  <a:pos x="44" y="49"/>
                </a:cxn>
                <a:cxn ang="0">
                  <a:pos x="40" y="40"/>
                </a:cxn>
                <a:cxn ang="0">
                  <a:pos x="31" y="41"/>
                </a:cxn>
                <a:cxn ang="0">
                  <a:pos x="35" y="35"/>
                </a:cxn>
                <a:cxn ang="0">
                  <a:pos x="26" y="22"/>
                </a:cxn>
                <a:cxn ang="0">
                  <a:pos x="31" y="19"/>
                </a:cxn>
                <a:cxn ang="0">
                  <a:pos x="40" y="20"/>
                </a:cxn>
                <a:cxn ang="0">
                  <a:pos x="43" y="12"/>
                </a:cxn>
                <a:cxn ang="0">
                  <a:pos x="49" y="14"/>
                </a:cxn>
                <a:cxn ang="0">
                  <a:pos x="58" y="10"/>
                </a:cxn>
                <a:cxn ang="0">
                  <a:pos x="65" y="13"/>
                </a:cxn>
                <a:cxn ang="0">
                  <a:pos x="68" y="9"/>
                </a:cxn>
                <a:cxn ang="0">
                  <a:pos x="71" y="4"/>
                </a:cxn>
                <a:cxn ang="0">
                  <a:pos x="70" y="0"/>
                </a:cxn>
                <a:cxn ang="0">
                  <a:pos x="61" y="84"/>
                </a:cxn>
                <a:cxn ang="0">
                  <a:pos x="43" y="82"/>
                </a:cxn>
                <a:cxn ang="0">
                  <a:pos x="36" y="85"/>
                </a:cxn>
                <a:cxn ang="0">
                  <a:pos x="53" y="89"/>
                </a:cxn>
                <a:cxn ang="0">
                  <a:pos x="68" y="84"/>
                </a:cxn>
                <a:cxn ang="0">
                  <a:pos x="61" y="84"/>
                </a:cxn>
              </a:cxnLst>
              <a:rect l="0" t="0" r="r" b="b"/>
              <a:pathLst>
                <a:path w="71" h="89">
                  <a:moveTo>
                    <a:pt x="70" y="0"/>
                  </a:moveTo>
                  <a:cubicBezTo>
                    <a:pt x="68" y="0"/>
                    <a:pt x="64" y="1"/>
                    <a:pt x="65" y="2"/>
                  </a:cubicBezTo>
                  <a:cubicBezTo>
                    <a:pt x="66" y="4"/>
                    <a:pt x="63" y="5"/>
                    <a:pt x="61" y="5"/>
                  </a:cubicBezTo>
                  <a:cubicBezTo>
                    <a:pt x="61" y="5"/>
                    <a:pt x="51" y="4"/>
                    <a:pt x="49" y="3"/>
                  </a:cubicBezTo>
                  <a:cubicBezTo>
                    <a:pt x="47" y="2"/>
                    <a:pt x="38" y="2"/>
                    <a:pt x="34" y="3"/>
                  </a:cubicBezTo>
                  <a:cubicBezTo>
                    <a:pt x="34" y="3"/>
                    <a:pt x="33" y="3"/>
                    <a:pt x="33" y="3"/>
                  </a:cubicBezTo>
                  <a:cubicBezTo>
                    <a:pt x="32" y="5"/>
                    <a:pt x="24" y="9"/>
                    <a:pt x="23" y="8"/>
                  </a:cubicBezTo>
                  <a:cubicBezTo>
                    <a:pt x="21" y="7"/>
                    <a:pt x="21" y="11"/>
                    <a:pt x="18" y="11"/>
                  </a:cubicBezTo>
                  <a:cubicBezTo>
                    <a:pt x="15" y="12"/>
                    <a:pt x="10" y="11"/>
                    <a:pt x="10" y="12"/>
                  </a:cubicBezTo>
                  <a:cubicBezTo>
                    <a:pt x="10" y="14"/>
                    <a:pt x="8" y="17"/>
                    <a:pt x="6" y="19"/>
                  </a:cubicBezTo>
                  <a:cubicBezTo>
                    <a:pt x="4" y="21"/>
                    <a:pt x="6" y="23"/>
                    <a:pt x="3" y="23"/>
                  </a:cubicBezTo>
                  <a:cubicBezTo>
                    <a:pt x="1" y="23"/>
                    <a:pt x="1" y="26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31"/>
                    <a:pt x="7" y="35"/>
                    <a:pt x="6" y="39"/>
                  </a:cubicBezTo>
                  <a:cubicBezTo>
                    <a:pt x="6" y="43"/>
                    <a:pt x="12" y="45"/>
                    <a:pt x="14" y="42"/>
                  </a:cubicBezTo>
                  <a:cubicBezTo>
                    <a:pt x="17" y="39"/>
                    <a:pt x="25" y="43"/>
                    <a:pt x="25" y="45"/>
                  </a:cubicBezTo>
                  <a:cubicBezTo>
                    <a:pt x="25" y="47"/>
                    <a:pt x="17" y="43"/>
                    <a:pt x="13" y="46"/>
                  </a:cubicBezTo>
                  <a:cubicBezTo>
                    <a:pt x="8" y="50"/>
                    <a:pt x="16" y="53"/>
                    <a:pt x="15" y="56"/>
                  </a:cubicBezTo>
                  <a:cubicBezTo>
                    <a:pt x="14" y="59"/>
                    <a:pt x="17" y="64"/>
                    <a:pt x="21" y="64"/>
                  </a:cubicBezTo>
                  <a:cubicBezTo>
                    <a:pt x="25" y="64"/>
                    <a:pt x="29" y="70"/>
                    <a:pt x="31" y="69"/>
                  </a:cubicBezTo>
                  <a:cubicBezTo>
                    <a:pt x="34" y="68"/>
                    <a:pt x="28" y="59"/>
                    <a:pt x="29" y="57"/>
                  </a:cubicBezTo>
                  <a:cubicBezTo>
                    <a:pt x="30" y="56"/>
                    <a:pt x="35" y="60"/>
                    <a:pt x="37" y="57"/>
                  </a:cubicBezTo>
                  <a:cubicBezTo>
                    <a:pt x="39" y="54"/>
                    <a:pt x="35" y="52"/>
                    <a:pt x="32" y="53"/>
                  </a:cubicBezTo>
                  <a:cubicBezTo>
                    <a:pt x="28" y="53"/>
                    <a:pt x="32" y="48"/>
                    <a:pt x="36" y="50"/>
                  </a:cubicBezTo>
                  <a:cubicBezTo>
                    <a:pt x="40" y="53"/>
                    <a:pt x="42" y="50"/>
                    <a:pt x="44" y="49"/>
                  </a:cubicBezTo>
                  <a:cubicBezTo>
                    <a:pt x="46" y="49"/>
                    <a:pt x="47" y="42"/>
                    <a:pt x="40" y="40"/>
                  </a:cubicBezTo>
                  <a:cubicBezTo>
                    <a:pt x="34" y="39"/>
                    <a:pt x="35" y="45"/>
                    <a:pt x="31" y="41"/>
                  </a:cubicBezTo>
                  <a:cubicBezTo>
                    <a:pt x="27" y="36"/>
                    <a:pt x="35" y="38"/>
                    <a:pt x="35" y="35"/>
                  </a:cubicBezTo>
                  <a:cubicBezTo>
                    <a:pt x="35" y="31"/>
                    <a:pt x="29" y="26"/>
                    <a:pt x="26" y="22"/>
                  </a:cubicBezTo>
                  <a:cubicBezTo>
                    <a:pt x="23" y="18"/>
                    <a:pt x="30" y="16"/>
                    <a:pt x="31" y="19"/>
                  </a:cubicBezTo>
                  <a:cubicBezTo>
                    <a:pt x="33" y="22"/>
                    <a:pt x="38" y="21"/>
                    <a:pt x="40" y="20"/>
                  </a:cubicBezTo>
                  <a:cubicBezTo>
                    <a:pt x="43" y="19"/>
                    <a:pt x="37" y="14"/>
                    <a:pt x="43" y="12"/>
                  </a:cubicBezTo>
                  <a:cubicBezTo>
                    <a:pt x="48" y="10"/>
                    <a:pt x="48" y="13"/>
                    <a:pt x="49" y="14"/>
                  </a:cubicBezTo>
                  <a:cubicBezTo>
                    <a:pt x="51" y="14"/>
                    <a:pt x="53" y="10"/>
                    <a:pt x="58" y="10"/>
                  </a:cubicBezTo>
                  <a:cubicBezTo>
                    <a:pt x="61" y="10"/>
                    <a:pt x="63" y="11"/>
                    <a:pt x="65" y="13"/>
                  </a:cubicBezTo>
                  <a:cubicBezTo>
                    <a:pt x="67" y="12"/>
                    <a:pt x="68" y="11"/>
                    <a:pt x="68" y="9"/>
                  </a:cubicBezTo>
                  <a:cubicBezTo>
                    <a:pt x="68" y="8"/>
                    <a:pt x="71" y="7"/>
                    <a:pt x="71" y="4"/>
                  </a:cubicBezTo>
                  <a:cubicBezTo>
                    <a:pt x="71" y="3"/>
                    <a:pt x="71" y="1"/>
                    <a:pt x="70" y="0"/>
                  </a:cubicBezTo>
                  <a:close/>
                  <a:moveTo>
                    <a:pt x="61" y="84"/>
                  </a:moveTo>
                  <a:cubicBezTo>
                    <a:pt x="58" y="82"/>
                    <a:pt x="46" y="85"/>
                    <a:pt x="43" y="82"/>
                  </a:cubicBezTo>
                  <a:cubicBezTo>
                    <a:pt x="40" y="79"/>
                    <a:pt x="34" y="84"/>
                    <a:pt x="36" y="85"/>
                  </a:cubicBezTo>
                  <a:cubicBezTo>
                    <a:pt x="40" y="85"/>
                    <a:pt x="46" y="89"/>
                    <a:pt x="53" y="89"/>
                  </a:cubicBezTo>
                  <a:cubicBezTo>
                    <a:pt x="59" y="89"/>
                    <a:pt x="68" y="86"/>
                    <a:pt x="68" y="84"/>
                  </a:cubicBezTo>
                  <a:cubicBezTo>
                    <a:pt x="68" y="83"/>
                    <a:pt x="64" y="85"/>
                    <a:pt x="61" y="8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18571" y="3199600"/>
              <a:ext cx="66338" cy="41698"/>
            </a:xfrm>
            <a:custGeom>
              <a:avLst/>
              <a:gdLst/>
              <a:ahLst/>
              <a:cxnLst>
                <a:cxn ang="0">
                  <a:pos x="20" y="11"/>
                </a:cxn>
                <a:cxn ang="0">
                  <a:pos x="26" y="4"/>
                </a:cxn>
                <a:cxn ang="0">
                  <a:pos x="25" y="2"/>
                </a:cxn>
                <a:cxn ang="0">
                  <a:pos x="9" y="7"/>
                </a:cxn>
                <a:cxn ang="0">
                  <a:pos x="4" y="15"/>
                </a:cxn>
                <a:cxn ang="0">
                  <a:pos x="20" y="11"/>
                </a:cxn>
              </a:cxnLst>
              <a:rect l="0" t="0" r="r" b="b"/>
              <a:pathLst>
                <a:path w="29" h="18">
                  <a:moveTo>
                    <a:pt x="20" y="11"/>
                  </a:moveTo>
                  <a:cubicBezTo>
                    <a:pt x="19" y="10"/>
                    <a:pt x="22" y="6"/>
                    <a:pt x="26" y="4"/>
                  </a:cubicBezTo>
                  <a:cubicBezTo>
                    <a:pt x="29" y="3"/>
                    <a:pt x="28" y="0"/>
                    <a:pt x="25" y="2"/>
                  </a:cubicBezTo>
                  <a:cubicBezTo>
                    <a:pt x="23" y="4"/>
                    <a:pt x="17" y="7"/>
                    <a:pt x="9" y="7"/>
                  </a:cubicBezTo>
                  <a:cubicBezTo>
                    <a:pt x="2" y="7"/>
                    <a:pt x="0" y="12"/>
                    <a:pt x="4" y="15"/>
                  </a:cubicBezTo>
                  <a:cubicBezTo>
                    <a:pt x="10" y="18"/>
                    <a:pt x="20" y="13"/>
                    <a:pt x="20" y="1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678108" y="2124938"/>
              <a:ext cx="276721" cy="140256"/>
            </a:xfrm>
            <a:custGeom>
              <a:avLst/>
              <a:gdLst/>
              <a:ahLst/>
              <a:cxnLst>
                <a:cxn ang="0">
                  <a:pos x="102" y="44"/>
                </a:cxn>
                <a:cxn ang="0">
                  <a:pos x="111" y="36"/>
                </a:cxn>
                <a:cxn ang="0">
                  <a:pos x="120" y="28"/>
                </a:cxn>
                <a:cxn ang="0">
                  <a:pos x="114" y="19"/>
                </a:cxn>
                <a:cxn ang="0">
                  <a:pos x="108" y="13"/>
                </a:cxn>
                <a:cxn ang="0">
                  <a:pos x="106" y="6"/>
                </a:cxn>
                <a:cxn ang="0">
                  <a:pos x="98" y="7"/>
                </a:cxn>
                <a:cxn ang="0">
                  <a:pos x="87" y="2"/>
                </a:cxn>
                <a:cxn ang="0">
                  <a:pos x="86" y="8"/>
                </a:cxn>
                <a:cxn ang="0">
                  <a:pos x="79" y="9"/>
                </a:cxn>
                <a:cxn ang="0">
                  <a:pos x="75" y="9"/>
                </a:cxn>
                <a:cxn ang="0">
                  <a:pos x="68" y="10"/>
                </a:cxn>
                <a:cxn ang="0">
                  <a:pos x="62" y="8"/>
                </a:cxn>
                <a:cxn ang="0">
                  <a:pos x="55" y="13"/>
                </a:cxn>
                <a:cxn ang="0">
                  <a:pos x="50" y="11"/>
                </a:cxn>
                <a:cxn ang="0">
                  <a:pos x="45" y="14"/>
                </a:cxn>
                <a:cxn ang="0">
                  <a:pos x="44" y="20"/>
                </a:cxn>
                <a:cxn ang="0">
                  <a:pos x="36" y="23"/>
                </a:cxn>
                <a:cxn ang="0">
                  <a:pos x="33" y="14"/>
                </a:cxn>
                <a:cxn ang="0">
                  <a:pos x="16" y="3"/>
                </a:cxn>
                <a:cxn ang="0">
                  <a:pos x="18" y="9"/>
                </a:cxn>
                <a:cxn ang="0">
                  <a:pos x="14" y="9"/>
                </a:cxn>
                <a:cxn ang="0">
                  <a:pos x="6" y="11"/>
                </a:cxn>
                <a:cxn ang="0">
                  <a:pos x="1" y="19"/>
                </a:cxn>
                <a:cxn ang="0">
                  <a:pos x="12" y="22"/>
                </a:cxn>
                <a:cxn ang="0">
                  <a:pos x="25" y="22"/>
                </a:cxn>
                <a:cxn ang="0">
                  <a:pos x="23" y="27"/>
                </a:cxn>
                <a:cxn ang="0">
                  <a:pos x="17" y="30"/>
                </a:cxn>
                <a:cxn ang="0">
                  <a:pos x="4" y="34"/>
                </a:cxn>
                <a:cxn ang="0">
                  <a:pos x="21" y="34"/>
                </a:cxn>
                <a:cxn ang="0">
                  <a:pos x="25" y="38"/>
                </a:cxn>
                <a:cxn ang="0">
                  <a:pos x="28" y="42"/>
                </a:cxn>
                <a:cxn ang="0">
                  <a:pos x="24" y="47"/>
                </a:cxn>
                <a:cxn ang="0">
                  <a:pos x="19" y="51"/>
                </a:cxn>
                <a:cxn ang="0">
                  <a:pos x="33" y="50"/>
                </a:cxn>
                <a:cxn ang="0">
                  <a:pos x="53" y="59"/>
                </a:cxn>
                <a:cxn ang="0">
                  <a:pos x="73" y="54"/>
                </a:cxn>
                <a:cxn ang="0">
                  <a:pos x="87" y="49"/>
                </a:cxn>
                <a:cxn ang="0">
                  <a:pos x="102" y="44"/>
                </a:cxn>
              </a:cxnLst>
              <a:rect l="0" t="0" r="r" b="b"/>
              <a:pathLst>
                <a:path w="121" h="61">
                  <a:moveTo>
                    <a:pt x="102" y="44"/>
                  </a:moveTo>
                  <a:cubicBezTo>
                    <a:pt x="109" y="43"/>
                    <a:pt x="108" y="36"/>
                    <a:pt x="111" y="36"/>
                  </a:cubicBezTo>
                  <a:cubicBezTo>
                    <a:pt x="114" y="37"/>
                    <a:pt x="118" y="31"/>
                    <a:pt x="120" y="28"/>
                  </a:cubicBezTo>
                  <a:cubicBezTo>
                    <a:pt x="121" y="25"/>
                    <a:pt x="118" y="19"/>
                    <a:pt x="114" y="19"/>
                  </a:cubicBezTo>
                  <a:cubicBezTo>
                    <a:pt x="110" y="19"/>
                    <a:pt x="107" y="16"/>
                    <a:pt x="108" y="13"/>
                  </a:cubicBezTo>
                  <a:cubicBezTo>
                    <a:pt x="109" y="11"/>
                    <a:pt x="106" y="8"/>
                    <a:pt x="106" y="6"/>
                  </a:cubicBezTo>
                  <a:cubicBezTo>
                    <a:pt x="106" y="5"/>
                    <a:pt x="101" y="6"/>
                    <a:pt x="98" y="7"/>
                  </a:cubicBezTo>
                  <a:cubicBezTo>
                    <a:pt x="95" y="7"/>
                    <a:pt x="90" y="0"/>
                    <a:pt x="87" y="2"/>
                  </a:cubicBezTo>
                  <a:cubicBezTo>
                    <a:pt x="85" y="3"/>
                    <a:pt x="87" y="6"/>
                    <a:pt x="86" y="8"/>
                  </a:cubicBezTo>
                  <a:cubicBezTo>
                    <a:pt x="85" y="10"/>
                    <a:pt x="79" y="7"/>
                    <a:pt x="79" y="9"/>
                  </a:cubicBezTo>
                  <a:cubicBezTo>
                    <a:pt x="79" y="11"/>
                    <a:pt x="77" y="12"/>
                    <a:pt x="75" y="9"/>
                  </a:cubicBezTo>
                  <a:cubicBezTo>
                    <a:pt x="73" y="7"/>
                    <a:pt x="68" y="8"/>
                    <a:pt x="68" y="10"/>
                  </a:cubicBezTo>
                  <a:cubicBezTo>
                    <a:pt x="68" y="12"/>
                    <a:pt x="66" y="10"/>
                    <a:pt x="62" y="8"/>
                  </a:cubicBezTo>
                  <a:cubicBezTo>
                    <a:pt x="59" y="6"/>
                    <a:pt x="55" y="11"/>
                    <a:pt x="55" y="13"/>
                  </a:cubicBezTo>
                  <a:cubicBezTo>
                    <a:pt x="55" y="16"/>
                    <a:pt x="54" y="16"/>
                    <a:pt x="50" y="11"/>
                  </a:cubicBezTo>
                  <a:cubicBezTo>
                    <a:pt x="47" y="5"/>
                    <a:pt x="44" y="11"/>
                    <a:pt x="45" y="14"/>
                  </a:cubicBezTo>
                  <a:cubicBezTo>
                    <a:pt x="47" y="17"/>
                    <a:pt x="46" y="21"/>
                    <a:pt x="44" y="20"/>
                  </a:cubicBezTo>
                  <a:cubicBezTo>
                    <a:pt x="41" y="18"/>
                    <a:pt x="38" y="21"/>
                    <a:pt x="36" y="23"/>
                  </a:cubicBezTo>
                  <a:cubicBezTo>
                    <a:pt x="35" y="25"/>
                    <a:pt x="30" y="16"/>
                    <a:pt x="33" y="14"/>
                  </a:cubicBezTo>
                  <a:cubicBezTo>
                    <a:pt x="37" y="12"/>
                    <a:pt x="21" y="3"/>
                    <a:pt x="16" y="3"/>
                  </a:cubicBezTo>
                  <a:cubicBezTo>
                    <a:pt x="11" y="3"/>
                    <a:pt x="15" y="6"/>
                    <a:pt x="18" y="9"/>
                  </a:cubicBezTo>
                  <a:cubicBezTo>
                    <a:pt x="21" y="12"/>
                    <a:pt x="16" y="11"/>
                    <a:pt x="14" y="9"/>
                  </a:cubicBezTo>
                  <a:cubicBezTo>
                    <a:pt x="12" y="6"/>
                    <a:pt x="8" y="8"/>
                    <a:pt x="6" y="11"/>
                  </a:cubicBezTo>
                  <a:cubicBezTo>
                    <a:pt x="4" y="15"/>
                    <a:pt x="1" y="17"/>
                    <a:pt x="1" y="19"/>
                  </a:cubicBezTo>
                  <a:cubicBezTo>
                    <a:pt x="0" y="21"/>
                    <a:pt x="6" y="24"/>
                    <a:pt x="12" y="22"/>
                  </a:cubicBezTo>
                  <a:cubicBezTo>
                    <a:pt x="17" y="19"/>
                    <a:pt x="23" y="19"/>
                    <a:pt x="25" y="22"/>
                  </a:cubicBezTo>
                  <a:cubicBezTo>
                    <a:pt x="28" y="24"/>
                    <a:pt x="20" y="25"/>
                    <a:pt x="23" y="27"/>
                  </a:cubicBezTo>
                  <a:cubicBezTo>
                    <a:pt x="26" y="29"/>
                    <a:pt x="24" y="31"/>
                    <a:pt x="17" y="30"/>
                  </a:cubicBezTo>
                  <a:cubicBezTo>
                    <a:pt x="11" y="30"/>
                    <a:pt x="3" y="32"/>
                    <a:pt x="4" y="34"/>
                  </a:cubicBezTo>
                  <a:cubicBezTo>
                    <a:pt x="6" y="36"/>
                    <a:pt x="21" y="32"/>
                    <a:pt x="21" y="34"/>
                  </a:cubicBezTo>
                  <a:cubicBezTo>
                    <a:pt x="21" y="36"/>
                    <a:pt x="21" y="40"/>
                    <a:pt x="25" y="38"/>
                  </a:cubicBezTo>
                  <a:cubicBezTo>
                    <a:pt x="29" y="37"/>
                    <a:pt x="26" y="41"/>
                    <a:pt x="28" y="42"/>
                  </a:cubicBezTo>
                  <a:cubicBezTo>
                    <a:pt x="30" y="43"/>
                    <a:pt x="30" y="47"/>
                    <a:pt x="24" y="47"/>
                  </a:cubicBezTo>
                  <a:cubicBezTo>
                    <a:pt x="19" y="48"/>
                    <a:pt x="16" y="49"/>
                    <a:pt x="19" y="51"/>
                  </a:cubicBezTo>
                  <a:cubicBezTo>
                    <a:pt x="21" y="54"/>
                    <a:pt x="27" y="52"/>
                    <a:pt x="33" y="50"/>
                  </a:cubicBezTo>
                  <a:cubicBezTo>
                    <a:pt x="39" y="49"/>
                    <a:pt x="47" y="56"/>
                    <a:pt x="53" y="59"/>
                  </a:cubicBezTo>
                  <a:cubicBezTo>
                    <a:pt x="60" y="61"/>
                    <a:pt x="72" y="58"/>
                    <a:pt x="73" y="54"/>
                  </a:cubicBezTo>
                  <a:cubicBezTo>
                    <a:pt x="74" y="51"/>
                    <a:pt x="83" y="52"/>
                    <a:pt x="87" y="49"/>
                  </a:cubicBezTo>
                  <a:cubicBezTo>
                    <a:pt x="91" y="47"/>
                    <a:pt x="96" y="44"/>
                    <a:pt x="102" y="4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034433" y="2576030"/>
              <a:ext cx="117511" cy="128884"/>
            </a:xfrm>
            <a:custGeom>
              <a:avLst/>
              <a:gdLst/>
              <a:ahLst/>
              <a:cxnLst>
                <a:cxn ang="0">
                  <a:pos x="45" y="17"/>
                </a:cxn>
                <a:cxn ang="0">
                  <a:pos x="42" y="14"/>
                </a:cxn>
                <a:cxn ang="0">
                  <a:pos x="35" y="16"/>
                </a:cxn>
                <a:cxn ang="0">
                  <a:pos x="28" y="15"/>
                </a:cxn>
                <a:cxn ang="0">
                  <a:pos x="31" y="8"/>
                </a:cxn>
                <a:cxn ang="0">
                  <a:pos x="34" y="2"/>
                </a:cxn>
                <a:cxn ang="0">
                  <a:pos x="32" y="1"/>
                </a:cxn>
                <a:cxn ang="0">
                  <a:pos x="21" y="4"/>
                </a:cxn>
                <a:cxn ang="0">
                  <a:pos x="26" y="9"/>
                </a:cxn>
                <a:cxn ang="0">
                  <a:pos x="17" y="14"/>
                </a:cxn>
                <a:cxn ang="0">
                  <a:pos x="5" y="14"/>
                </a:cxn>
                <a:cxn ang="0">
                  <a:pos x="6" y="22"/>
                </a:cxn>
                <a:cxn ang="0">
                  <a:pos x="12" y="30"/>
                </a:cxn>
                <a:cxn ang="0">
                  <a:pos x="9" y="40"/>
                </a:cxn>
                <a:cxn ang="0">
                  <a:pos x="1" y="47"/>
                </a:cxn>
                <a:cxn ang="0">
                  <a:pos x="12" y="56"/>
                </a:cxn>
                <a:cxn ang="0">
                  <a:pos x="32" y="48"/>
                </a:cxn>
                <a:cxn ang="0">
                  <a:pos x="46" y="45"/>
                </a:cxn>
                <a:cxn ang="0">
                  <a:pos x="46" y="19"/>
                </a:cxn>
                <a:cxn ang="0">
                  <a:pos x="45" y="17"/>
                </a:cxn>
              </a:cxnLst>
              <a:rect l="0" t="0" r="r" b="b"/>
              <a:pathLst>
                <a:path w="51" h="56">
                  <a:moveTo>
                    <a:pt x="45" y="17"/>
                  </a:moveTo>
                  <a:cubicBezTo>
                    <a:pt x="44" y="16"/>
                    <a:pt x="43" y="15"/>
                    <a:pt x="42" y="14"/>
                  </a:cubicBezTo>
                  <a:cubicBezTo>
                    <a:pt x="37" y="9"/>
                    <a:pt x="36" y="13"/>
                    <a:pt x="35" y="16"/>
                  </a:cubicBezTo>
                  <a:cubicBezTo>
                    <a:pt x="35" y="19"/>
                    <a:pt x="31" y="15"/>
                    <a:pt x="28" y="15"/>
                  </a:cubicBezTo>
                  <a:cubicBezTo>
                    <a:pt x="25" y="14"/>
                    <a:pt x="29" y="9"/>
                    <a:pt x="31" y="8"/>
                  </a:cubicBezTo>
                  <a:cubicBezTo>
                    <a:pt x="32" y="7"/>
                    <a:pt x="33" y="5"/>
                    <a:pt x="34" y="2"/>
                  </a:cubicBezTo>
                  <a:cubicBezTo>
                    <a:pt x="33" y="2"/>
                    <a:pt x="33" y="2"/>
                    <a:pt x="32" y="1"/>
                  </a:cubicBezTo>
                  <a:cubicBezTo>
                    <a:pt x="28" y="0"/>
                    <a:pt x="21" y="0"/>
                    <a:pt x="21" y="4"/>
                  </a:cubicBezTo>
                  <a:cubicBezTo>
                    <a:pt x="21" y="8"/>
                    <a:pt x="26" y="6"/>
                    <a:pt x="26" y="9"/>
                  </a:cubicBezTo>
                  <a:cubicBezTo>
                    <a:pt x="26" y="12"/>
                    <a:pt x="21" y="11"/>
                    <a:pt x="17" y="14"/>
                  </a:cubicBezTo>
                  <a:cubicBezTo>
                    <a:pt x="13" y="16"/>
                    <a:pt x="9" y="12"/>
                    <a:pt x="5" y="14"/>
                  </a:cubicBezTo>
                  <a:cubicBezTo>
                    <a:pt x="1" y="16"/>
                    <a:pt x="9" y="18"/>
                    <a:pt x="6" y="22"/>
                  </a:cubicBezTo>
                  <a:cubicBezTo>
                    <a:pt x="3" y="27"/>
                    <a:pt x="7" y="26"/>
                    <a:pt x="12" y="30"/>
                  </a:cubicBezTo>
                  <a:cubicBezTo>
                    <a:pt x="17" y="34"/>
                    <a:pt x="9" y="35"/>
                    <a:pt x="9" y="40"/>
                  </a:cubicBezTo>
                  <a:cubicBezTo>
                    <a:pt x="9" y="44"/>
                    <a:pt x="2" y="44"/>
                    <a:pt x="1" y="47"/>
                  </a:cubicBezTo>
                  <a:cubicBezTo>
                    <a:pt x="0" y="50"/>
                    <a:pt x="6" y="56"/>
                    <a:pt x="12" y="56"/>
                  </a:cubicBezTo>
                  <a:cubicBezTo>
                    <a:pt x="16" y="56"/>
                    <a:pt x="26" y="54"/>
                    <a:pt x="32" y="48"/>
                  </a:cubicBezTo>
                  <a:cubicBezTo>
                    <a:pt x="37" y="43"/>
                    <a:pt x="40" y="48"/>
                    <a:pt x="46" y="45"/>
                  </a:cubicBezTo>
                  <a:cubicBezTo>
                    <a:pt x="51" y="43"/>
                    <a:pt x="48" y="23"/>
                    <a:pt x="46" y="19"/>
                  </a:cubicBezTo>
                  <a:cubicBezTo>
                    <a:pt x="45" y="18"/>
                    <a:pt x="45" y="18"/>
                    <a:pt x="45" y="1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6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091293" y="2363751"/>
              <a:ext cx="261558" cy="398023"/>
            </a:xfrm>
            <a:custGeom>
              <a:avLst/>
              <a:gdLst/>
              <a:ahLst/>
              <a:cxnLst>
                <a:cxn ang="0">
                  <a:pos x="9" y="95"/>
                </a:cxn>
                <a:cxn ang="0">
                  <a:pos x="3" y="108"/>
                </a:cxn>
                <a:cxn ang="0">
                  <a:pos x="17" y="107"/>
                </a:cxn>
                <a:cxn ang="0">
                  <a:pos x="29" y="105"/>
                </a:cxn>
                <a:cxn ang="0">
                  <a:pos x="114" y="134"/>
                </a:cxn>
                <a:cxn ang="0">
                  <a:pos x="97" y="127"/>
                </a:cxn>
                <a:cxn ang="0">
                  <a:pos x="93" y="115"/>
                </a:cxn>
                <a:cxn ang="0">
                  <a:pos x="77" y="88"/>
                </a:cxn>
                <a:cxn ang="0">
                  <a:pos x="59" y="80"/>
                </a:cxn>
                <a:cxn ang="0">
                  <a:pos x="72" y="53"/>
                </a:cxn>
                <a:cxn ang="0">
                  <a:pos x="47" y="49"/>
                </a:cxn>
                <a:cxn ang="0">
                  <a:pos x="57" y="33"/>
                </a:cxn>
                <a:cxn ang="0">
                  <a:pos x="40" y="37"/>
                </a:cxn>
                <a:cxn ang="0">
                  <a:pos x="28" y="54"/>
                </a:cxn>
                <a:cxn ang="0">
                  <a:pos x="18" y="55"/>
                </a:cxn>
                <a:cxn ang="0">
                  <a:pos x="22" y="70"/>
                </a:cxn>
                <a:cxn ang="0">
                  <a:pos x="19" y="83"/>
                </a:cxn>
                <a:cxn ang="0">
                  <a:pos x="32" y="87"/>
                </a:cxn>
                <a:cxn ang="0">
                  <a:pos x="39" y="86"/>
                </a:cxn>
                <a:cxn ang="0">
                  <a:pos x="51" y="96"/>
                </a:cxn>
                <a:cxn ang="0">
                  <a:pos x="56" y="106"/>
                </a:cxn>
                <a:cxn ang="0">
                  <a:pos x="58" y="121"/>
                </a:cxn>
                <a:cxn ang="0">
                  <a:pos x="43" y="123"/>
                </a:cxn>
                <a:cxn ang="0">
                  <a:pos x="46" y="134"/>
                </a:cxn>
                <a:cxn ang="0">
                  <a:pos x="40" y="147"/>
                </a:cxn>
                <a:cxn ang="0">
                  <a:pos x="58" y="150"/>
                </a:cxn>
                <a:cxn ang="0">
                  <a:pos x="47" y="154"/>
                </a:cxn>
                <a:cxn ang="0">
                  <a:pos x="41" y="167"/>
                </a:cxn>
                <a:cxn ang="0">
                  <a:pos x="54" y="164"/>
                </a:cxn>
                <a:cxn ang="0">
                  <a:pos x="71" y="160"/>
                </a:cxn>
                <a:cxn ang="0">
                  <a:pos x="93" y="160"/>
                </a:cxn>
                <a:cxn ang="0">
                  <a:pos x="104" y="151"/>
                </a:cxn>
                <a:cxn ang="0">
                  <a:pos x="114" y="134"/>
                </a:cxn>
                <a:cxn ang="0">
                  <a:pos x="21" y="40"/>
                </a:cxn>
                <a:cxn ang="0">
                  <a:pos x="78" y="14"/>
                </a:cxn>
                <a:cxn ang="0">
                  <a:pos x="78" y="14"/>
                </a:cxn>
              </a:cxnLst>
              <a:rect l="0" t="0" r="r" b="b"/>
              <a:pathLst>
                <a:path w="114" h="174">
                  <a:moveTo>
                    <a:pt x="23" y="92"/>
                  </a:moveTo>
                  <a:cubicBezTo>
                    <a:pt x="18" y="88"/>
                    <a:pt x="13" y="95"/>
                    <a:pt x="9" y="95"/>
                  </a:cubicBezTo>
                  <a:cubicBezTo>
                    <a:pt x="8" y="98"/>
                    <a:pt x="7" y="100"/>
                    <a:pt x="6" y="101"/>
                  </a:cubicBezTo>
                  <a:cubicBezTo>
                    <a:pt x="4" y="102"/>
                    <a:pt x="0" y="107"/>
                    <a:pt x="3" y="108"/>
                  </a:cubicBezTo>
                  <a:cubicBezTo>
                    <a:pt x="6" y="108"/>
                    <a:pt x="10" y="112"/>
                    <a:pt x="10" y="109"/>
                  </a:cubicBezTo>
                  <a:cubicBezTo>
                    <a:pt x="11" y="106"/>
                    <a:pt x="12" y="102"/>
                    <a:pt x="17" y="107"/>
                  </a:cubicBezTo>
                  <a:cubicBezTo>
                    <a:pt x="18" y="108"/>
                    <a:pt x="19" y="109"/>
                    <a:pt x="20" y="110"/>
                  </a:cubicBezTo>
                  <a:cubicBezTo>
                    <a:pt x="21" y="108"/>
                    <a:pt x="26" y="108"/>
                    <a:pt x="29" y="105"/>
                  </a:cubicBezTo>
                  <a:cubicBezTo>
                    <a:pt x="32" y="102"/>
                    <a:pt x="27" y="97"/>
                    <a:pt x="23" y="92"/>
                  </a:cubicBezTo>
                  <a:close/>
                  <a:moveTo>
                    <a:pt x="114" y="134"/>
                  </a:moveTo>
                  <a:cubicBezTo>
                    <a:pt x="114" y="129"/>
                    <a:pt x="103" y="125"/>
                    <a:pt x="102" y="128"/>
                  </a:cubicBezTo>
                  <a:cubicBezTo>
                    <a:pt x="101" y="131"/>
                    <a:pt x="98" y="130"/>
                    <a:pt x="97" y="127"/>
                  </a:cubicBezTo>
                  <a:cubicBezTo>
                    <a:pt x="95" y="124"/>
                    <a:pt x="98" y="121"/>
                    <a:pt x="96" y="121"/>
                  </a:cubicBezTo>
                  <a:cubicBezTo>
                    <a:pt x="95" y="121"/>
                    <a:pt x="92" y="117"/>
                    <a:pt x="93" y="115"/>
                  </a:cubicBezTo>
                  <a:cubicBezTo>
                    <a:pt x="93" y="113"/>
                    <a:pt x="90" y="103"/>
                    <a:pt x="84" y="101"/>
                  </a:cubicBezTo>
                  <a:cubicBezTo>
                    <a:pt x="79" y="100"/>
                    <a:pt x="78" y="92"/>
                    <a:pt x="77" y="88"/>
                  </a:cubicBezTo>
                  <a:cubicBezTo>
                    <a:pt x="76" y="83"/>
                    <a:pt x="72" y="86"/>
                    <a:pt x="69" y="82"/>
                  </a:cubicBezTo>
                  <a:cubicBezTo>
                    <a:pt x="66" y="78"/>
                    <a:pt x="62" y="80"/>
                    <a:pt x="59" y="80"/>
                  </a:cubicBezTo>
                  <a:cubicBezTo>
                    <a:pt x="57" y="80"/>
                    <a:pt x="59" y="76"/>
                    <a:pt x="63" y="73"/>
                  </a:cubicBezTo>
                  <a:cubicBezTo>
                    <a:pt x="67" y="70"/>
                    <a:pt x="72" y="56"/>
                    <a:pt x="72" y="53"/>
                  </a:cubicBezTo>
                  <a:cubicBezTo>
                    <a:pt x="72" y="50"/>
                    <a:pt x="54" y="51"/>
                    <a:pt x="51" y="52"/>
                  </a:cubicBezTo>
                  <a:cubicBezTo>
                    <a:pt x="48" y="54"/>
                    <a:pt x="44" y="50"/>
                    <a:pt x="47" y="49"/>
                  </a:cubicBezTo>
                  <a:cubicBezTo>
                    <a:pt x="50" y="47"/>
                    <a:pt x="56" y="42"/>
                    <a:pt x="56" y="39"/>
                  </a:cubicBezTo>
                  <a:cubicBezTo>
                    <a:pt x="55" y="37"/>
                    <a:pt x="60" y="35"/>
                    <a:pt x="57" y="33"/>
                  </a:cubicBezTo>
                  <a:cubicBezTo>
                    <a:pt x="55" y="30"/>
                    <a:pt x="54" y="35"/>
                    <a:pt x="52" y="37"/>
                  </a:cubicBezTo>
                  <a:cubicBezTo>
                    <a:pt x="50" y="39"/>
                    <a:pt x="45" y="38"/>
                    <a:pt x="40" y="37"/>
                  </a:cubicBezTo>
                  <a:cubicBezTo>
                    <a:pt x="35" y="36"/>
                    <a:pt x="33" y="44"/>
                    <a:pt x="33" y="47"/>
                  </a:cubicBezTo>
                  <a:cubicBezTo>
                    <a:pt x="33" y="50"/>
                    <a:pt x="27" y="52"/>
                    <a:pt x="28" y="54"/>
                  </a:cubicBezTo>
                  <a:cubicBezTo>
                    <a:pt x="29" y="57"/>
                    <a:pt x="27" y="59"/>
                    <a:pt x="25" y="58"/>
                  </a:cubicBezTo>
                  <a:cubicBezTo>
                    <a:pt x="24" y="56"/>
                    <a:pt x="22" y="52"/>
                    <a:pt x="18" y="55"/>
                  </a:cubicBezTo>
                  <a:cubicBezTo>
                    <a:pt x="15" y="58"/>
                    <a:pt x="22" y="61"/>
                    <a:pt x="27" y="62"/>
                  </a:cubicBezTo>
                  <a:cubicBezTo>
                    <a:pt x="31" y="62"/>
                    <a:pt x="23" y="65"/>
                    <a:pt x="22" y="70"/>
                  </a:cubicBezTo>
                  <a:cubicBezTo>
                    <a:pt x="22" y="75"/>
                    <a:pt x="28" y="73"/>
                    <a:pt x="28" y="76"/>
                  </a:cubicBezTo>
                  <a:cubicBezTo>
                    <a:pt x="29" y="79"/>
                    <a:pt x="19" y="80"/>
                    <a:pt x="19" y="83"/>
                  </a:cubicBezTo>
                  <a:cubicBezTo>
                    <a:pt x="19" y="86"/>
                    <a:pt x="25" y="82"/>
                    <a:pt x="27" y="80"/>
                  </a:cubicBezTo>
                  <a:cubicBezTo>
                    <a:pt x="30" y="79"/>
                    <a:pt x="26" y="88"/>
                    <a:pt x="32" y="87"/>
                  </a:cubicBezTo>
                  <a:cubicBezTo>
                    <a:pt x="38" y="86"/>
                    <a:pt x="36" y="78"/>
                    <a:pt x="38" y="78"/>
                  </a:cubicBezTo>
                  <a:cubicBezTo>
                    <a:pt x="40" y="79"/>
                    <a:pt x="37" y="83"/>
                    <a:pt x="39" y="86"/>
                  </a:cubicBezTo>
                  <a:cubicBezTo>
                    <a:pt x="41" y="90"/>
                    <a:pt x="35" y="95"/>
                    <a:pt x="35" y="97"/>
                  </a:cubicBezTo>
                  <a:cubicBezTo>
                    <a:pt x="35" y="100"/>
                    <a:pt x="47" y="100"/>
                    <a:pt x="51" y="96"/>
                  </a:cubicBezTo>
                  <a:cubicBezTo>
                    <a:pt x="55" y="92"/>
                    <a:pt x="57" y="96"/>
                    <a:pt x="54" y="99"/>
                  </a:cubicBezTo>
                  <a:cubicBezTo>
                    <a:pt x="52" y="102"/>
                    <a:pt x="53" y="105"/>
                    <a:pt x="56" y="106"/>
                  </a:cubicBezTo>
                  <a:cubicBezTo>
                    <a:pt x="59" y="107"/>
                    <a:pt x="61" y="108"/>
                    <a:pt x="59" y="110"/>
                  </a:cubicBezTo>
                  <a:cubicBezTo>
                    <a:pt x="58" y="113"/>
                    <a:pt x="59" y="118"/>
                    <a:pt x="58" y="121"/>
                  </a:cubicBezTo>
                  <a:cubicBezTo>
                    <a:pt x="57" y="123"/>
                    <a:pt x="47" y="123"/>
                    <a:pt x="47" y="121"/>
                  </a:cubicBezTo>
                  <a:cubicBezTo>
                    <a:pt x="46" y="119"/>
                    <a:pt x="42" y="121"/>
                    <a:pt x="43" y="123"/>
                  </a:cubicBezTo>
                  <a:cubicBezTo>
                    <a:pt x="44" y="125"/>
                    <a:pt x="39" y="128"/>
                    <a:pt x="40" y="130"/>
                  </a:cubicBezTo>
                  <a:cubicBezTo>
                    <a:pt x="40" y="132"/>
                    <a:pt x="46" y="132"/>
                    <a:pt x="46" y="134"/>
                  </a:cubicBezTo>
                  <a:cubicBezTo>
                    <a:pt x="47" y="137"/>
                    <a:pt x="42" y="140"/>
                    <a:pt x="36" y="142"/>
                  </a:cubicBezTo>
                  <a:cubicBezTo>
                    <a:pt x="29" y="144"/>
                    <a:pt x="37" y="149"/>
                    <a:pt x="40" y="147"/>
                  </a:cubicBezTo>
                  <a:cubicBezTo>
                    <a:pt x="43" y="144"/>
                    <a:pt x="42" y="148"/>
                    <a:pt x="47" y="148"/>
                  </a:cubicBezTo>
                  <a:cubicBezTo>
                    <a:pt x="51" y="148"/>
                    <a:pt x="54" y="152"/>
                    <a:pt x="58" y="150"/>
                  </a:cubicBezTo>
                  <a:cubicBezTo>
                    <a:pt x="63" y="148"/>
                    <a:pt x="63" y="150"/>
                    <a:pt x="59" y="153"/>
                  </a:cubicBezTo>
                  <a:cubicBezTo>
                    <a:pt x="56" y="155"/>
                    <a:pt x="50" y="152"/>
                    <a:pt x="47" y="154"/>
                  </a:cubicBezTo>
                  <a:cubicBezTo>
                    <a:pt x="44" y="156"/>
                    <a:pt x="30" y="169"/>
                    <a:pt x="33" y="172"/>
                  </a:cubicBezTo>
                  <a:cubicBezTo>
                    <a:pt x="34" y="174"/>
                    <a:pt x="36" y="169"/>
                    <a:pt x="41" y="167"/>
                  </a:cubicBezTo>
                  <a:cubicBezTo>
                    <a:pt x="46" y="165"/>
                    <a:pt x="47" y="169"/>
                    <a:pt x="49" y="169"/>
                  </a:cubicBezTo>
                  <a:cubicBezTo>
                    <a:pt x="52" y="169"/>
                    <a:pt x="52" y="163"/>
                    <a:pt x="54" y="164"/>
                  </a:cubicBezTo>
                  <a:cubicBezTo>
                    <a:pt x="56" y="164"/>
                    <a:pt x="58" y="162"/>
                    <a:pt x="62" y="163"/>
                  </a:cubicBezTo>
                  <a:cubicBezTo>
                    <a:pt x="66" y="163"/>
                    <a:pt x="69" y="162"/>
                    <a:pt x="71" y="160"/>
                  </a:cubicBezTo>
                  <a:cubicBezTo>
                    <a:pt x="73" y="159"/>
                    <a:pt x="79" y="164"/>
                    <a:pt x="80" y="162"/>
                  </a:cubicBezTo>
                  <a:cubicBezTo>
                    <a:pt x="82" y="161"/>
                    <a:pt x="89" y="160"/>
                    <a:pt x="93" y="160"/>
                  </a:cubicBezTo>
                  <a:cubicBezTo>
                    <a:pt x="97" y="160"/>
                    <a:pt x="106" y="156"/>
                    <a:pt x="109" y="154"/>
                  </a:cubicBezTo>
                  <a:cubicBezTo>
                    <a:pt x="111" y="151"/>
                    <a:pt x="107" y="151"/>
                    <a:pt x="104" y="151"/>
                  </a:cubicBezTo>
                  <a:cubicBezTo>
                    <a:pt x="100" y="152"/>
                    <a:pt x="101" y="148"/>
                    <a:pt x="105" y="145"/>
                  </a:cubicBezTo>
                  <a:cubicBezTo>
                    <a:pt x="108" y="141"/>
                    <a:pt x="114" y="139"/>
                    <a:pt x="114" y="134"/>
                  </a:cubicBezTo>
                  <a:close/>
                  <a:moveTo>
                    <a:pt x="14" y="50"/>
                  </a:moveTo>
                  <a:cubicBezTo>
                    <a:pt x="18" y="50"/>
                    <a:pt x="23" y="42"/>
                    <a:pt x="21" y="40"/>
                  </a:cubicBezTo>
                  <a:cubicBezTo>
                    <a:pt x="19" y="38"/>
                    <a:pt x="10" y="50"/>
                    <a:pt x="14" y="50"/>
                  </a:cubicBezTo>
                  <a:close/>
                  <a:moveTo>
                    <a:pt x="78" y="14"/>
                  </a:moveTo>
                  <a:cubicBezTo>
                    <a:pt x="81" y="11"/>
                    <a:pt x="84" y="0"/>
                    <a:pt x="80" y="1"/>
                  </a:cubicBezTo>
                  <a:cubicBezTo>
                    <a:pt x="76" y="3"/>
                    <a:pt x="77" y="15"/>
                    <a:pt x="78" y="1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7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091293" y="2363751"/>
              <a:ext cx="261558" cy="398023"/>
            </a:xfrm>
            <a:custGeom>
              <a:avLst/>
              <a:gdLst/>
              <a:ahLst/>
              <a:cxnLst>
                <a:cxn ang="0">
                  <a:pos x="9" y="95"/>
                </a:cxn>
                <a:cxn ang="0">
                  <a:pos x="3" y="108"/>
                </a:cxn>
                <a:cxn ang="0">
                  <a:pos x="17" y="107"/>
                </a:cxn>
                <a:cxn ang="0">
                  <a:pos x="29" y="105"/>
                </a:cxn>
                <a:cxn ang="0">
                  <a:pos x="114" y="134"/>
                </a:cxn>
                <a:cxn ang="0">
                  <a:pos x="97" y="127"/>
                </a:cxn>
                <a:cxn ang="0">
                  <a:pos x="93" y="115"/>
                </a:cxn>
                <a:cxn ang="0">
                  <a:pos x="77" y="88"/>
                </a:cxn>
                <a:cxn ang="0">
                  <a:pos x="59" y="80"/>
                </a:cxn>
                <a:cxn ang="0">
                  <a:pos x="72" y="53"/>
                </a:cxn>
                <a:cxn ang="0">
                  <a:pos x="47" y="49"/>
                </a:cxn>
                <a:cxn ang="0">
                  <a:pos x="57" y="33"/>
                </a:cxn>
                <a:cxn ang="0">
                  <a:pos x="40" y="37"/>
                </a:cxn>
                <a:cxn ang="0">
                  <a:pos x="28" y="54"/>
                </a:cxn>
                <a:cxn ang="0">
                  <a:pos x="18" y="55"/>
                </a:cxn>
                <a:cxn ang="0">
                  <a:pos x="22" y="70"/>
                </a:cxn>
                <a:cxn ang="0">
                  <a:pos x="19" y="83"/>
                </a:cxn>
                <a:cxn ang="0">
                  <a:pos x="32" y="87"/>
                </a:cxn>
                <a:cxn ang="0">
                  <a:pos x="39" y="86"/>
                </a:cxn>
                <a:cxn ang="0">
                  <a:pos x="51" y="96"/>
                </a:cxn>
                <a:cxn ang="0">
                  <a:pos x="56" y="106"/>
                </a:cxn>
                <a:cxn ang="0">
                  <a:pos x="58" y="121"/>
                </a:cxn>
                <a:cxn ang="0">
                  <a:pos x="43" y="123"/>
                </a:cxn>
                <a:cxn ang="0">
                  <a:pos x="46" y="134"/>
                </a:cxn>
                <a:cxn ang="0">
                  <a:pos x="40" y="147"/>
                </a:cxn>
                <a:cxn ang="0">
                  <a:pos x="58" y="150"/>
                </a:cxn>
                <a:cxn ang="0">
                  <a:pos x="47" y="154"/>
                </a:cxn>
                <a:cxn ang="0">
                  <a:pos x="41" y="167"/>
                </a:cxn>
                <a:cxn ang="0">
                  <a:pos x="54" y="164"/>
                </a:cxn>
                <a:cxn ang="0">
                  <a:pos x="71" y="160"/>
                </a:cxn>
                <a:cxn ang="0">
                  <a:pos x="93" y="160"/>
                </a:cxn>
                <a:cxn ang="0">
                  <a:pos x="104" y="151"/>
                </a:cxn>
                <a:cxn ang="0">
                  <a:pos x="114" y="134"/>
                </a:cxn>
                <a:cxn ang="0">
                  <a:pos x="21" y="40"/>
                </a:cxn>
                <a:cxn ang="0">
                  <a:pos x="78" y="14"/>
                </a:cxn>
                <a:cxn ang="0">
                  <a:pos x="78" y="14"/>
                </a:cxn>
              </a:cxnLst>
              <a:rect l="0" t="0" r="r" b="b"/>
              <a:pathLst>
                <a:path w="114" h="174">
                  <a:moveTo>
                    <a:pt x="23" y="92"/>
                  </a:moveTo>
                  <a:cubicBezTo>
                    <a:pt x="18" y="88"/>
                    <a:pt x="13" y="95"/>
                    <a:pt x="9" y="95"/>
                  </a:cubicBezTo>
                  <a:cubicBezTo>
                    <a:pt x="8" y="98"/>
                    <a:pt x="7" y="100"/>
                    <a:pt x="6" y="101"/>
                  </a:cubicBezTo>
                  <a:cubicBezTo>
                    <a:pt x="4" y="102"/>
                    <a:pt x="0" y="107"/>
                    <a:pt x="3" y="108"/>
                  </a:cubicBezTo>
                  <a:cubicBezTo>
                    <a:pt x="6" y="108"/>
                    <a:pt x="10" y="112"/>
                    <a:pt x="10" y="109"/>
                  </a:cubicBezTo>
                  <a:cubicBezTo>
                    <a:pt x="11" y="106"/>
                    <a:pt x="12" y="102"/>
                    <a:pt x="17" y="107"/>
                  </a:cubicBezTo>
                  <a:cubicBezTo>
                    <a:pt x="18" y="108"/>
                    <a:pt x="19" y="109"/>
                    <a:pt x="20" y="110"/>
                  </a:cubicBezTo>
                  <a:cubicBezTo>
                    <a:pt x="21" y="108"/>
                    <a:pt x="26" y="108"/>
                    <a:pt x="29" y="105"/>
                  </a:cubicBezTo>
                  <a:cubicBezTo>
                    <a:pt x="32" y="102"/>
                    <a:pt x="27" y="97"/>
                    <a:pt x="23" y="92"/>
                  </a:cubicBezTo>
                  <a:close/>
                  <a:moveTo>
                    <a:pt x="114" y="134"/>
                  </a:moveTo>
                  <a:cubicBezTo>
                    <a:pt x="114" y="129"/>
                    <a:pt x="103" y="125"/>
                    <a:pt x="102" y="128"/>
                  </a:cubicBezTo>
                  <a:cubicBezTo>
                    <a:pt x="101" y="131"/>
                    <a:pt x="98" y="130"/>
                    <a:pt x="97" y="127"/>
                  </a:cubicBezTo>
                  <a:cubicBezTo>
                    <a:pt x="95" y="124"/>
                    <a:pt x="98" y="121"/>
                    <a:pt x="96" y="121"/>
                  </a:cubicBezTo>
                  <a:cubicBezTo>
                    <a:pt x="95" y="121"/>
                    <a:pt x="92" y="117"/>
                    <a:pt x="93" y="115"/>
                  </a:cubicBezTo>
                  <a:cubicBezTo>
                    <a:pt x="93" y="113"/>
                    <a:pt x="90" y="103"/>
                    <a:pt x="84" y="101"/>
                  </a:cubicBezTo>
                  <a:cubicBezTo>
                    <a:pt x="79" y="100"/>
                    <a:pt x="78" y="92"/>
                    <a:pt x="77" y="88"/>
                  </a:cubicBezTo>
                  <a:cubicBezTo>
                    <a:pt x="76" y="83"/>
                    <a:pt x="72" y="86"/>
                    <a:pt x="69" y="82"/>
                  </a:cubicBezTo>
                  <a:cubicBezTo>
                    <a:pt x="66" y="78"/>
                    <a:pt x="62" y="80"/>
                    <a:pt x="59" y="80"/>
                  </a:cubicBezTo>
                  <a:cubicBezTo>
                    <a:pt x="57" y="80"/>
                    <a:pt x="59" y="76"/>
                    <a:pt x="63" y="73"/>
                  </a:cubicBezTo>
                  <a:cubicBezTo>
                    <a:pt x="67" y="70"/>
                    <a:pt x="72" y="56"/>
                    <a:pt x="72" y="53"/>
                  </a:cubicBezTo>
                  <a:cubicBezTo>
                    <a:pt x="72" y="50"/>
                    <a:pt x="54" y="51"/>
                    <a:pt x="51" y="52"/>
                  </a:cubicBezTo>
                  <a:cubicBezTo>
                    <a:pt x="48" y="54"/>
                    <a:pt x="44" y="50"/>
                    <a:pt x="47" y="49"/>
                  </a:cubicBezTo>
                  <a:cubicBezTo>
                    <a:pt x="50" y="47"/>
                    <a:pt x="56" y="42"/>
                    <a:pt x="56" y="39"/>
                  </a:cubicBezTo>
                  <a:cubicBezTo>
                    <a:pt x="55" y="37"/>
                    <a:pt x="60" y="35"/>
                    <a:pt x="57" y="33"/>
                  </a:cubicBezTo>
                  <a:cubicBezTo>
                    <a:pt x="55" y="30"/>
                    <a:pt x="54" y="35"/>
                    <a:pt x="52" y="37"/>
                  </a:cubicBezTo>
                  <a:cubicBezTo>
                    <a:pt x="50" y="39"/>
                    <a:pt x="45" y="38"/>
                    <a:pt x="40" y="37"/>
                  </a:cubicBezTo>
                  <a:cubicBezTo>
                    <a:pt x="35" y="36"/>
                    <a:pt x="33" y="44"/>
                    <a:pt x="33" y="47"/>
                  </a:cubicBezTo>
                  <a:cubicBezTo>
                    <a:pt x="33" y="50"/>
                    <a:pt x="27" y="52"/>
                    <a:pt x="28" y="54"/>
                  </a:cubicBezTo>
                  <a:cubicBezTo>
                    <a:pt x="29" y="57"/>
                    <a:pt x="27" y="59"/>
                    <a:pt x="25" y="58"/>
                  </a:cubicBezTo>
                  <a:cubicBezTo>
                    <a:pt x="24" y="56"/>
                    <a:pt x="22" y="52"/>
                    <a:pt x="18" y="55"/>
                  </a:cubicBezTo>
                  <a:cubicBezTo>
                    <a:pt x="15" y="58"/>
                    <a:pt x="22" y="61"/>
                    <a:pt x="27" y="62"/>
                  </a:cubicBezTo>
                  <a:cubicBezTo>
                    <a:pt x="31" y="62"/>
                    <a:pt x="23" y="65"/>
                    <a:pt x="22" y="70"/>
                  </a:cubicBezTo>
                  <a:cubicBezTo>
                    <a:pt x="22" y="75"/>
                    <a:pt x="28" y="73"/>
                    <a:pt x="28" y="76"/>
                  </a:cubicBezTo>
                  <a:cubicBezTo>
                    <a:pt x="29" y="79"/>
                    <a:pt x="19" y="80"/>
                    <a:pt x="19" y="83"/>
                  </a:cubicBezTo>
                  <a:cubicBezTo>
                    <a:pt x="19" y="86"/>
                    <a:pt x="25" y="82"/>
                    <a:pt x="27" y="80"/>
                  </a:cubicBezTo>
                  <a:cubicBezTo>
                    <a:pt x="30" y="79"/>
                    <a:pt x="26" y="88"/>
                    <a:pt x="32" y="87"/>
                  </a:cubicBezTo>
                  <a:cubicBezTo>
                    <a:pt x="38" y="86"/>
                    <a:pt x="36" y="78"/>
                    <a:pt x="38" y="78"/>
                  </a:cubicBezTo>
                  <a:cubicBezTo>
                    <a:pt x="40" y="79"/>
                    <a:pt x="37" y="83"/>
                    <a:pt x="39" y="86"/>
                  </a:cubicBezTo>
                  <a:cubicBezTo>
                    <a:pt x="41" y="90"/>
                    <a:pt x="35" y="95"/>
                    <a:pt x="35" y="97"/>
                  </a:cubicBezTo>
                  <a:cubicBezTo>
                    <a:pt x="35" y="100"/>
                    <a:pt x="47" y="100"/>
                    <a:pt x="51" y="96"/>
                  </a:cubicBezTo>
                  <a:cubicBezTo>
                    <a:pt x="55" y="92"/>
                    <a:pt x="57" y="96"/>
                    <a:pt x="54" y="99"/>
                  </a:cubicBezTo>
                  <a:cubicBezTo>
                    <a:pt x="52" y="102"/>
                    <a:pt x="53" y="105"/>
                    <a:pt x="56" y="106"/>
                  </a:cubicBezTo>
                  <a:cubicBezTo>
                    <a:pt x="59" y="107"/>
                    <a:pt x="61" y="108"/>
                    <a:pt x="59" y="110"/>
                  </a:cubicBezTo>
                  <a:cubicBezTo>
                    <a:pt x="58" y="113"/>
                    <a:pt x="59" y="118"/>
                    <a:pt x="58" y="121"/>
                  </a:cubicBezTo>
                  <a:cubicBezTo>
                    <a:pt x="57" y="123"/>
                    <a:pt x="47" y="123"/>
                    <a:pt x="47" y="121"/>
                  </a:cubicBezTo>
                  <a:cubicBezTo>
                    <a:pt x="46" y="119"/>
                    <a:pt x="42" y="121"/>
                    <a:pt x="43" y="123"/>
                  </a:cubicBezTo>
                  <a:cubicBezTo>
                    <a:pt x="44" y="125"/>
                    <a:pt x="39" y="128"/>
                    <a:pt x="40" y="130"/>
                  </a:cubicBezTo>
                  <a:cubicBezTo>
                    <a:pt x="40" y="132"/>
                    <a:pt x="46" y="132"/>
                    <a:pt x="46" y="134"/>
                  </a:cubicBezTo>
                  <a:cubicBezTo>
                    <a:pt x="47" y="137"/>
                    <a:pt x="42" y="140"/>
                    <a:pt x="36" y="142"/>
                  </a:cubicBezTo>
                  <a:cubicBezTo>
                    <a:pt x="29" y="144"/>
                    <a:pt x="37" y="149"/>
                    <a:pt x="40" y="147"/>
                  </a:cubicBezTo>
                  <a:cubicBezTo>
                    <a:pt x="43" y="144"/>
                    <a:pt x="42" y="148"/>
                    <a:pt x="47" y="148"/>
                  </a:cubicBezTo>
                  <a:cubicBezTo>
                    <a:pt x="51" y="148"/>
                    <a:pt x="54" y="152"/>
                    <a:pt x="58" y="150"/>
                  </a:cubicBezTo>
                  <a:cubicBezTo>
                    <a:pt x="63" y="148"/>
                    <a:pt x="63" y="150"/>
                    <a:pt x="59" y="153"/>
                  </a:cubicBezTo>
                  <a:cubicBezTo>
                    <a:pt x="56" y="155"/>
                    <a:pt x="50" y="152"/>
                    <a:pt x="47" y="154"/>
                  </a:cubicBezTo>
                  <a:cubicBezTo>
                    <a:pt x="44" y="156"/>
                    <a:pt x="30" y="169"/>
                    <a:pt x="33" y="172"/>
                  </a:cubicBezTo>
                  <a:cubicBezTo>
                    <a:pt x="34" y="174"/>
                    <a:pt x="36" y="169"/>
                    <a:pt x="41" y="167"/>
                  </a:cubicBezTo>
                  <a:cubicBezTo>
                    <a:pt x="46" y="165"/>
                    <a:pt x="47" y="169"/>
                    <a:pt x="49" y="169"/>
                  </a:cubicBezTo>
                  <a:cubicBezTo>
                    <a:pt x="52" y="169"/>
                    <a:pt x="52" y="163"/>
                    <a:pt x="54" y="164"/>
                  </a:cubicBezTo>
                  <a:cubicBezTo>
                    <a:pt x="56" y="164"/>
                    <a:pt x="58" y="162"/>
                    <a:pt x="62" y="163"/>
                  </a:cubicBezTo>
                  <a:cubicBezTo>
                    <a:pt x="66" y="163"/>
                    <a:pt x="69" y="162"/>
                    <a:pt x="71" y="160"/>
                  </a:cubicBezTo>
                  <a:cubicBezTo>
                    <a:pt x="73" y="159"/>
                    <a:pt x="79" y="164"/>
                    <a:pt x="80" y="162"/>
                  </a:cubicBezTo>
                  <a:cubicBezTo>
                    <a:pt x="82" y="161"/>
                    <a:pt x="89" y="160"/>
                    <a:pt x="93" y="160"/>
                  </a:cubicBezTo>
                  <a:cubicBezTo>
                    <a:pt x="97" y="160"/>
                    <a:pt x="106" y="156"/>
                    <a:pt x="109" y="154"/>
                  </a:cubicBezTo>
                  <a:cubicBezTo>
                    <a:pt x="111" y="151"/>
                    <a:pt x="107" y="151"/>
                    <a:pt x="104" y="151"/>
                  </a:cubicBezTo>
                  <a:cubicBezTo>
                    <a:pt x="100" y="152"/>
                    <a:pt x="101" y="148"/>
                    <a:pt x="105" y="145"/>
                  </a:cubicBezTo>
                  <a:cubicBezTo>
                    <a:pt x="108" y="141"/>
                    <a:pt x="114" y="139"/>
                    <a:pt x="114" y="134"/>
                  </a:cubicBezTo>
                  <a:close/>
                  <a:moveTo>
                    <a:pt x="14" y="50"/>
                  </a:moveTo>
                  <a:cubicBezTo>
                    <a:pt x="18" y="50"/>
                    <a:pt x="23" y="42"/>
                    <a:pt x="21" y="40"/>
                  </a:cubicBezTo>
                  <a:cubicBezTo>
                    <a:pt x="19" y="38"/>
                    <a:pt x="10" y="50"/>
                    <a:pt x="14" y="50"/>
                  </a:cubicBezTo>
                  <a:close/>
                  <a:moveTo>
                    <a:pt x="78" y="14"/>
                  </a:moveTo>
                  <a:cubicBezTo>
                    <a:pt x="81" y="11"/>
                    <a:pt x="84" y="0"/>
                    <a:pt x="80" y="1"/>
                  </a:cubicBezTo>
                  <a:cubicBezTo>
                    <a:pt x="76" y="3"/>
                    <a:pt x="77" y="15"/>
                    <a:pt x="78" y="1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8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512060" y="2479368"/>
              <a:ext cx="123198" cy="117511"/>
            </a:xfrm>
            <a:custGeom>
              <a:avLst/>
              <a:gdLst/>
              <a:ahLst/>
              <a:cxnLst>
                <a:cxn ang="0">
                  <a:pos x="27" y="20"/>
                </a:cxn>
                <a:cxn ang="0">
                  <a:pos x="27" y="12"/>
                </a:cxn>
                <a:cxn ang="0">
                  <a:pos x="28" y="2"/>
                </a:cxn>
                <a:cxn ang="0">
                  <a:pos x="20" y="7"/>
                </a:cxn>
                <a:cxn ang="0">
                  <a:pos x="13" y="10"/>
                </a:cxn>
                <a:cxn ang="0">
                  <a:pos x="14" y="15"/>
                </a:cxn>
                <a:cxn ang="0">
                  <a:pos x="7" y="12"/>
                </a:cxn>
                <a:cxn ang="0">
                  <a:pos x="2" y="20"/>
                </a:cxn>
                <a:cxn ang="0">
                  <a:pos x="2" y="33"/>
                </a:cxn>
                <a:cxn ang="0">
                  <a:pos x="6" y="43"/>
                </a:cxn>
                <a:cxn ang="0">
                  <a:pos x="8" y="48"/>
                </a:cxn>
                <a:cxn ang="0">
                  <a:pos x="18" y="49"/>
                </a:cxn>
                <a:cxn ang="0">
                  <a:pos x="22" y="48"/>
                </a:cxn>
                <a:cxn ang="0">
                  <a:pos x="18" y="42"/>
                </a:cxn>
                <a:cxn ang="0">
                  <a:pos x="24" y="44"/>
                </a:cxn>
                <a:cxn ang="0">
                  <a:pos x="32" y="43"/>
                </a:cxn>
                <a:cxn ang="0">
                  <a:pos x="28" y="36"/>
                </a:cxn>
                <a:cxn ang="0">
                  <a:pos x="22" y="36"/>
                </a:cxn>
                <a:cxn ang="0">
                  <a:pos x="26" y="29"/>
                </a:cxn>
                <a:cxn ang="0">
                  <a:pos x="33" y="25"/>
                </a:cxn>
                <a:cxn ang="0">
                  <a:pos x="27" y="20"/>
                </a:cxn>
                <a:cxn ang="0">
                  <a:pos x="53" y="30"/>
                </a:cxn>
                <a:cxn ang="0">
                  <a:pos x="49" y="32"/>
                </a:cxn>
                <a:cxn ang="0">
                  <a:pos x="45" y="30"/>
                </a:cxn>
                <a:cxn ang="0">
                  <a:pos x="38" y="33"/>
                </a:cxn>
                <a:cxn ang="0">
                  <a:pos x="42" y="43"/>
                </a:cxn>
                <a:cxn ang="0">
                  <a:pos x="39" y="46"/>
                </a:cxn>
                <a:cxn ang="0">
                  <a:pos x="42" y="51"/>
                </a:cxn>
                <a:cxn ang="0">
                  <a:pos x="50" y="42"/>
                </a:cxn>
                <a:cxn ang="0">
                  <a:pos x="53" y="30"/>
                </a:cxn>
              </a:cxnLst>
              <a:rect l="0" t="0" r="r" b="b"/>
              <a:pathLst>
                <a:path w="54" h="52">
                  <a:moveTo>
                    <a:pt x="27" y="20"/>
                  </a:moveTo>
                  <a:cubicBezTo>
                    <a:pt x="26" y="19"/>
                    <a:pt x="25" y="13"/>
                    <a:pt x="27" y="12"/>
                  </a:cubicBezTo>
                  <a:cubicBezTo>
                    <a:pt x="29" y="10"/>
                    <a:pt x="30" y="4"/>
                    <a:pt x="28" y="2"/>
                  </a:cubicBezTo>
                  <a:cubicBezTo>
                    <a:pt x="27" y="0"/>
                    <a:pt x="21" y="2"/>
                    <a:pt x="20" y="7"/>
                  </a:cubicBezTo>
                  <a:cubicBezTo>
                    <a:pt x="20" y="11"/>
                    <a:pt x="15" y="9"/>
                    <a:pt x="13" y="10"/>
                  </a:cubicBezTo>
                  <a:cubicBezTo>
                    <a:pt x="12" y="11"/>
                    <a:pt x="16" y="13"/>
                    <a:pt x="14" y="15"/>
                  </a:cubicBezTo>
                  <a:cubicBezTo>
                    <a:pt x="12" y="17"/>
                    <a:pt x="11" y="12"/>
                    <a:pt x="7" y="12"/>
                  </a:cubicBezTo>
                  <a:cubicBezTo>
                    <a:pt x="4" y="11"/>
                    <a:pt x="4" y="17"/>
                    <a:pt x="2" y="20"/>
                  </a:cubicBezTo>
                  <a:cubicBezTo>
                    <a:pt x="0" y="23"/>
                    <a:pt x="1" y="29"/>
                    <a:pt x="2" y="33"/>
                  </a:cubicBezTo>
                  <a:cubicBezTo>
                    <a:pt x="2" y="37"/>
                    <a:pt x="7" y="39"/>
                    <a:pt x="6" y="43"/>
                  </a:cubicBezTo>
                  <a:cubicBezTo>
                    <a:pt x="5" y="44"/>
                    <a:pt x="7" y="46"/>
                    <a:pt x="8" y="48"/>
                  </a:cubicBezTo>
                  <a:cubicBezTo>
                    <a:pt x="12" y="48"/>
                    <a:pt x="16" y="48"/>
                    <a:pt x="18" y="49"/>
                  </a:cubicBezTo>
                  <a:cubicBezTo>
                    <a:pt x="19" y="49"/>
                    <a:pt x="20" y="49"/>
                    <a:pt x="22" y="48"/>
                  </a:cubicBezTo>
                  <a:cubicBezTo>
                    <a:pt x="21" y="46"/>
                    <a:pt x="17" y="44"/>
                    <a:pt x="18" y="42"/>
                  </a:cubicBezTo>
                  <a:cubicBezTo>
                    <a:pt x="18" y="40"/>
                    <a:pt x="21" y="42"/>
                    <a:pt x="24" y="44"/>
                  </a:cubicBezTo>
                  <a:cubicBezTo>
                    <a:pt x="26" y="46"/>
                    <a:pt x="31" y="46"/>
                    <a:pt x="32" y="43"/>
                  </a:cubicBezTo>
                  <a:cubicBezTo>
                    <a:pt x="32" y="42"/>
                    <a:pt x="31" y="35"/>
                    <a:pt x="28" y="36"/>
                  </a:cubicBezTo>
                  <a:cubicBezTo>
                    <a:pt x="24" y="38"/>
                    <a:pt x="24" y="37"/>
                    <a:pt x="22" y="36"/>
                  </a:cubicBezTo>
                  <a:cubicBezTo>
                    <a:pt x="21" y="34"/>
                    <a:pt x="25" y="31"/>
                    <a:pt x="26" y="29"/>
                  </a:cubicBezTo>
                  <a:cubicBezTo>
                    <a:pt x="26" y="26"/>
                    <a:pt x="32" y="27"/>
                    <a:pt x="33" y="25"/>
                  </a:cubicBezTo>
                  <a:cubicBezTo>
                    <a:pt x="34" y="23"/>
                    <a:pt x="29" y="20"/>
                    <a:pt x="27" y="20"/>
                  </a:cubicBezTo>
                  <a:close/>
                  <a:moveTo>
                    <a:pt x="53" y="30"/>
                  </a:moveTo>
                  <a:cubicBezTo>
                    <a:pt x="51" y="29"/>
                    <a:pt x="50" y="32"/>
                    <a:pt x="49" y="32"/>
                  </a:cubicBezTo>
                  <a:cubicBezTo>
                    <a:pt x="47" y="33"/>
                    <a:pt x="46" y="26"/>
                    <a:pt x="45" y="30"/>
                  </a:cubicBezTo>
                  <a:cubicBezTo>
                    <a:pt x="44" y="33"/>
                    <a:pt x="41" y="28"/>
                    <a:pt x="38" y="33"/>
                  </a:cubicBezTo>
                  <a:cubicBezTo>
                    <a:pt x="34" y="38"/>
                    <a:pt x="40" y="42"/>
                    <a:pt x="42" y="43"/>
                  </a:cubicBezTo>
                  <a:cubicBezTo>
                    <a:pt x="44" y="45"/>
                    <a:pt x="42" y="47"/>
                    <a:pt x="39" y="46"/>
                  </a:cubicBezTo>
                  <a:cubicBezTo>
                    <a:pt x="36" y="46"/>
                    <a:pt x="38" y="51"/>
                    <a:pt x="42" y="51"/>
                  </a:cubicBezTo>
                  <a:cubicBezTo>
                    <a:pt x="46" y="52"/>
                    <a:pt x="50" y="44"/>
                    <a:pt x="50" y="42"/>
                  </a:cubicBezTo>
                  <a:cubicBezTo>
                    <a:pt x="49" y="40"/>
                    <a:pt x="54" y="31"/>
                    <a:pt x="53" y="3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39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597350" y="2009322"/>
              <a:ext cx="318418" cy="562918"/>
            </a:xfrm>
            <a:custGeom>
              <a:avLst/>
              <a:gdLst/>
              <a:ahLst/>
              <a:cxnLst>
                <a:cxn ang="0">
                  <a:pos x="137" y="53"/>
                </a:cxn>
                <a:cxn ang="0">
                  <a:pos x="135" y="33"/>
                </a:cxn>
                <a:cxn ang="0">
                  <a:pos x="118" y="12"/>
                </a:cxn>
                <a:cxn ang="0">
                  <a:pos x="98" y="11"/>
                </a:cxn>
                <a:cxn ang="0">
                  <a:pos x="79" y="11"/>
                </a:cxn>
                <a:cxn ang="0">
                  <a:pos x="68" y="23"/>
                </a:cxn>
                <a:cxn ang="0">
                  <a:pos x="56" y="37"/>
                </a:cxn>
                <a:cxn ang="0">
                  <a:pos x="47" y="51"/>
                </a:cxn>
                <a:cxn ang="0">
                  <a:pos x="37" y="60"/>
                </a:cxn>
                <a:cxn ang="0">
                  <a:pos x="29" y="85"/>
                </a:cxn>
                <a:cxn ang="0">
                  <a:pos x="31" y="97"/>
                </a:cxn>
                <a:cxn ang="0">
                  <a:pos x="12" y="105"/>
                </a:cxn>
                <a:cxn ang="0">
                  <a:pos x="11" y="127"/>
                </a:cxn>
                <a:cxn ang="0">
                  <a:pos x="18" y="146"/>
                </a:cxn>
                <a:cxn ang="0">
                  <a:pos x="15" y="157"/>
                </a:cxn>
                <a:cxn ang="0">
                  <a:pos x="8" y="171"/>
                </a:cxn>
                <a:cxn ang="0">
                  <a:pos x="3" y="187"/>
                </a:cxn>
                <a:cxn ang="0">
                  <a:pos x="0" y="188"/>
                </a:cxn>
                <a:cxn ang="0">
                  <a:pos x="9" y="211"/>
                </a:cxn>
                <a:cxn ang="0">
                  <a:pos x="17" y="230"/>
                </a:cxn>
                <a:cxn ang="0">
                  <a:pos x="20" y="244"/>
                </a:cxn>
                <a:cxn ang="0">
                  <a:pos x="33" y="238"/>
                </a:cxn>
                <a:cxn ang="0">
                  <a:pos x="46" y="233"/>
                </a:cxn>
                <a:cxn ang="0">
                  <a:pos x="57" y="230"/>
                </a:cxn>
                <a:cxn ang="0">
                  <a:pos x="59" y="220"/>
                </a:cxn>
                <a:cxn ang="0">
                  <a:pos x="61" y="196"/>
                </a:cxn>
                <a:cxn ang="0">
                  <a:pos x="77" y="179"/>
                </a:cxn>
                <a:cxn ang="0">
                  <a:pos x="73" y="158"/>
                </a:cxn>
                <a:cxn ang="0">
                  <a:pos x="64" y="144"/>
                </a:cxn>
                <a:cxn ang="0">
                  <a:pos x="71" y="124"/>
                </a:cxn>
                <a:cxn ang="0">
                  <a:pos x="84" y="110"/>
                </a:cxn>
                <a:cxn ang="0">
                  <a:pos x="112" y="91"/>
                </a:cxn>
                <a:cxn ang="0">
                  <a:pos x="115" y="71"/>
                </a:cxn>
                <a:cxn ang="0">
                  <a:pos x="134" y="64"/>
                </a:cxn>
                <a:cxn ang="0">
                  <a:pos x="139" y="58"/>
                </a:cxn>
                <a:cxn ang="0">
                  <a:pos x="75" y="220"/>
                </a:cxn>
              </a:cxnLst>
              <a:rect l="0" t="0" r="r" b="b"/>
              <a:pathLst>
                <a:path w="140" h="247">
                  <a:moveTo>
                    <a:pt x="139" y="58"/>
                  </a:moveTo>
                  <a:cubicBezTo>
                    <a:pt x="137" y="57"/>
                    <a:pt x="134" y="53"/>
                    <a:pt x="137" y="53"/>
                  </a:cubicBezTo>
                  <a:cubicBezTo>
                    <a:pt x="139" y="53"/>
                    <a:pt x="140" y="44"/>
                    <a:pt x="137" y="43"/>
                  </a:cubicBezTo>
                  <a:cubicBezTo>
                    <a:pt x="134" y="41"/>
                    <a:pt x="137" y="34"/>
                    <a:pt x="135" y="33"/>
                  </a:cubicBezTo>
                  <a:cubicBezTo>
                    <a:pt x="132" y="31"/>
                    <a:pt x="134" y="26"/>
                    <a:pt x="134" y="22"/>
                  </a:cubicBezTo>
                  <a:cubicBezTo>
                    <a:pt x="135" y="18"/>
                    <a:pt x="124" y="15"/>
                    <a:pt x="118" y="12"/>
                  </a:cubicBezTo>
                  <a:cubicBezTo>
                    <a:pt x="112" y="10"/>
                    <a:pt x="109" y="5"/>
                    <a:pt x="105" y="3"/>
                  </a:cubicBezTo>
                  <a:cubicBezTo>
                    <a:pt x="100" y="0"/>
                    <a:pt x="98" y="7"/>
                    <a:pt x="98" y="11"/>
                  </a:cubicBezTo>
                  <a:cubicBezTo>
                    <a:pt x="98" y="16"/>
                    <a:pt x="94" y="16"/>
                    <a:pt x="91" y="13"/>
                  </a:cubicBezTo>
                  <a:cubicBezTo>
                    <a:pt x="87" y="11"/>
                    <a:pt x="84" y="13"/>
                    <a:pt x="79" y="11"/>
                  </a:cubicBezTo>
                  <a:cubicBezTo>
                    <a:pt x="74" y="9"/>
                    <a:pt x="76" y="16"/>
                    <a:pt x="76" y="19"/>
                  </a:cubicBezTo>
                  <a:cubicBezTo>
                    <a:pt x="76" y="23"/>
                    <a:pt x="71" y="23"/>
                    <a:pt x="68" y="23"/>
                  </a:cubicBezTo>
                  <a:cubicBezTo>
                    <a:pt x="64" y="23"/>
                    <a:pt x="59" y="25"/>
                    <a:pt x="59" y="29"/>
                  </a:cubicBezTo>
                  <a:cubicBezTo>
                    <a:pt x="59" y="33"/>
                    <a:pt x="54" y="35"/>
                    <a:pt x="56" y="37"/>
                  </a:cubicBezTo>
                  <a:cubicBezTo>
                    <a:pt x="57" y="39"/>
                    <a:pt x="55" y="41"/>
                    <a:pt x="53" y="43"/>
                  </a:cubicBezTo>
                  <a:cubicBezTo>
                    <a:pt x="51" y="44"/>
                    <a:pt x="49" y="50"/>
                    <a:pt x="47" y="51"/>
                  </a:cubicBezTo>
                  <a:cubicBezTo>
                    <a:pt x="46" y="53"/>
                    <a:pt x="48" y="56"/>
                    <a:pt x="45" y="58"/>
                  </a:cubicBezTo>
                  <a:cubicBezTo>
                    <a:pt x="42" y="60"/>
                    <a:pt x="38" y="58"/>
                    <a:pt x="37" y="60"/>
                  </a:cubicBezTo>
                  <a:cubicBezTo>
                    <a:pt x="35" y="62"/>
                    <a:pt x="37" y="65"/>
                    <a:pt x="36" y="70"/>
                  </a:cubicBezTo>
                  <a:cubicBezTo>
                    <a:pt x="36" y="75"/>
                    <a:pt x="32" y="80"/>
                    <a:pt x="29" y="85"/>
                  </a:cubicBezTo>
                  <a:cubicBezTo>
                    <a:pt x="25" y="89"/>
                    <a:pt x="30" y="90"/>
                    <a:pt x="31" y="91"/>
                  </a:cubicBezTo>
                  <a:cubicBezTo>
                    <a:pt x="33" y="91"/>
                    <a:pt x="33" y="94"/>
                    <a:pt x="31" y="97"/>
                  </a:cubicBezTo>
                  <a:cubicBezTo>
                    <a:pt x="30" y="100"/>
                    <a:pt x="26" y="98"/>
                    <a:pt x="24" y="97"/>
                  </a:cubicBezTo>
                  <a:cubicBezTo>
                    <a:pt x="22" y="97"/>
                    <a:pt x="16" y="100"/>
                    <a:pt x="12" y="105"/>
                  </a:cubicBezTo>
                  <a:cubicBezTo>
                    <a:pt x="9" y="110"/>
                    <a:pt x="10" y="114"/>
                    <a:pt x="11" y="116"/>
                  </a:cubicBezTo>
                  <a:cubicBezTo>
                    <a:pt x="12" y="119"/>
                    <a:pt x="9" y="122"/>
                    <a:pt x="11" y="127"/>
                  </a:cubicBezTo>
                  <a:cubicBezTo>
                    <a:pt x="14" y="133"/>
                    <a:pt x="10" y="134"/>
                    <a:pt x="11" y="138"/>
                  </a:cubicBezTo>
                  <a:cubicBezTo>
                    <a:pt x="11" y="142"/>
                    <a:pt x="18" y="142"/>
                    <a:pt x="18" y="146"/>
                  </a:cubicBezTo>
                  <a:cubicBezTo>
                    <a:pt x="19" y="151"/>
                    <a:pt x="16" y="152"/>
                    <a:pt x="14" y="152"/>
                  </a:cubicBezTo>
                  <a:cubicBezTo>
                    <a:pt x="12" y="152"/>
                    <a:pt x="12" y="156"/>
                    <a:pt x="15" y="157"/>
                  </a:cubicBezTo>
                  <a:cubicBezTo>
                    <a:pt x="17" y="159"/>
                    <a:pt x="16" y="166"/>
                    <a:pt x="15" y="168"/>
                  </a:cubicBezTo>
                  <a:cubicBezTo>
                    <a:pt x="14" y="170"/>
                    <a:pt x="7" y="168"/>
                    <a:pt x="8" y="171"/>
                  </a:cubicBezTo>
                  <a:cubicBezTo>
                    <a:pt x="8" y="174"/>
                    <a:pt x="6" y="178"/>
                    <a:pt x="6" y="180"/>
                  </a:cubicBezTo>
                  <a:cubicBezTo>
                    <a:pt x="6" y="182"/>
                    <a:pt x="6" y="189"/>
                    <a:pt x="3" y="187"/>
                  </a:cubicBezTo>
                  <a:cubicBezTo>
                    <a:pt x="3" y="187"/>
                    <a:pt x="1" y="187"/>
                    <a:pt x="0" y="187"/>
                  </a:cubicBezTo>
                  <a:cubicBezTo>
                    <a:pt x="0" y="187"/>
                    <a:pt x="0" y="188"/>
                    <a:pt x="0" y="188"/>
                  </a:cubicBezTo>
                  <a:cubicBezTo>
                    <a:pt x="0" y="192"/>
                    <a:pt x="1" y="196"/>
                    <a:pt x="5" y="199"/>
                  </a:cubicBezTo>
                  <a:cubicBezTo>
                    <a:pt x="9" y="202"/>
                    <a:pt x="6" y="207"/>
                    <a:pt x="9" y="211"/>
                  </a:cubicBezTo>
                  <a:cubicBezTo>
                    <a:pt x="12" y="215"/>
                    <a:pt x="11" y="218"/>
                    <a:pt x="15" y="221"/>
                  </a:cubicBezTo>
                  <a:cubicBezTo>
                    <a:pt x="18" y="224"/>
                    <a:pt x="18" y="226"/>
                    <a:pt x="17" y="230"/>
                  </a:cubicBezTo>
                  <a:cubicBezTo>
                    <a:pt x="15" y="234"/>
                    <a:pt x="20" y="233"/>
                    <a:pt x="20" y="235"/>
                  </a:cubicBezTo>
                  <a:cubicBezTo>
                    <a:pt x="20" y="237"/>
                    <a:pt x="19" y="242"/>
                    <a:pt x="20" y="244"/>
                  </a:cubicBezTo>
                  <a:cubicBezTo>
                    <a:pt x="21" y="247"/>
                    <a:pt x="24" y="244"/>
                    <a:pt x="29" y="244"/>
                  </a:cubicBezTo>
                  <a:cubicBezTo>
                    <a:pt x="34" y="244"/>
                    <a:pt x="33" y="241"/>
                    <a:pt x="33" y="238"/>
                  </a:cubicBezTo>
                  <a:cubicBezTo>
                    <a:pt x="33" y="234"/>
                    <a:pt x="36" y="236"/>
                    <a:pt x="37" y="234"/>
                  </a:cubicBezTo>
                  <a:cubicBezTo>
                    <a:pt x="37" y="232"/>
                    <a:pt x="42" y="231"/>
                    <a:pt x="46" y="233"/>
                  </a:cubicBezTo>
                  <a:cubicBezTo>
                    <a:pt x="50" y="235"/>
                    <a:pt x="52" y="232"/>
                    <a:pt x="53" y="228"/>
                  </a:cubicBezTo>
                  <a:cubicBezTo>
                    <a:pt x="53" y="224"/>
                    <a:pt x="55" y="229"/>
                    <a:pt x="57" y="230"/>
                  </a:cubicBezTo>
                  <a:cubicBezTo>
                    <a:pt x="58" y="230"/>
                    <a:pt x="61" y="223"/>
                    <a:pt x="63" y="219"/>
                  </a:cubicBezTo>
                  <a:cubicBezTo>
                    <a:pt x="65" y="214"/>
                    <a:pt x="63" y="215"/>
                    <a:pt x="59" y="220"/>
                  </a:cubicBezTo>
                  <a:cubicBezTo>
                    <a:pt x="55" y="224"/>
                    <a:pt x="57" y="215"/>
                    <a:pt x="59" y="212"/>
                  </a:cubicBezTo>
                  <a:cubicBezTo>
                    <a:pt x="60" y="208"/>
                    <a:pt x="60" y="198"/>
                    <a:pt x="61" y="196"/>
                  </a:cubicBezTo>
                  <a:cubicBezTo>
                    <a:pt x="61" y="193"/>
                    <a:pt x="62" y="190"/>
                    <a:pt x="67" y="189"/>
                  </a:cubicBezTo>
                  <a:cubicBezTo>
                    <a:pt x="72" y="188"/>
                    <a:pt x="78" y="182"/>
                    <a:pt x="77" y="179"/>
                  </a:cubicBezTo>
                  <a:cubicBezTo>
                    <a:pt x="76" y="177"/>
                    <a:pt x="84" y="173"/>
                    <a:pt x="84" y="170"/>
                  </a:cubicBezTo>
                  <a:cubicBezTo>
                    <a:pt x="84" y="168"/>
                    <a:pt x="76" y="160"/>
                    <a:pt x="73" y="158"/>
                  </a:cubicBezTo>
                  <a:cubicBezTo>
                    <a:pt x="70" y="157"/>
                    <a:pt x="65" y="158"/>
                    <a:pt x="65" y="156"/>
                  </a:cubicBezTo>
                  <a:cubicBezTo>
                    <a:pt x="66" y="154"/>
                    <a:pt x="64" y="147"/>
                    <a:pt x="64" y="144"/>
                  </a:cubicBezTo>
                  <a:cubicBezTo>
                    <a:pt x="63" y="140"/>
                    <a:pt x="68" y="136"/>
                    <a:pt x="68" y="133"/>
                  </a:cubicBezTo>
                  <a:cubicBezTo>
                    <a:pt x="68" y="129"/>
                    <a:pt x="68" y="125"/>
                    <a:pt x="71" y="124"/>
                  </a:cubicBezTo>
                  <a:cubicBezTo>
                    <a:pt x="74" y="123"/>
                    <a:pt x="72" y="120"/>
                    <a:pt x="76" y="119"/>
                  </a:cubicBezTo>
                  <a:cubicBezTo>
                    <a:pt x="80" y="118"/>
                    <a:pt x="80" y="112"/>
                    <a:pt x="84" y="110"/>
                  </a:cubicBezTo>
                  <a:cubicBezTo>
                    <a:pt x="89" y="108"/>
                    <a:pt x="89" y="107"/>
                    <a:pt x="95" y="104"/>
                  </a:cubicBezTo>
                  <a:cubicBezTo>
                    <a:pt x="101" y="101"/>
                    <a:pt x="110" y="94"/>
                    <a:pt x="112" y="91"/>
                  </a:cubicBezTo>
                  <a:cubicBezTo>
                    <a:pt x="114" y="87"/>
                    <a:pt x="106" y="84"/>
                    <a:pt x="111" y="80"/>
                  </a:cubicBezTo>
                  <a:cubicBezTo>
                    <a:pt x="116" y="76"/>
                    <a:pt x="112" y="72"/>
                    <a:pt x="115" y="71"/>
                  </a:cubicBezTo>
                  <a:cubicBezTo>
                    <a:pt x="119" y="69"/>
                    <a:pt x="120" y="68"/>
                    <a:pt x="123" y="65"/>
                  </a:cubicBezTo>
                  <a:cubicBezTo>
                    <a:pt x="125" y="62"/>
                    <a:pt x="128" y="65"/>
                    <a:pt x="134" y="64"/>
                  </a:cubicBezTo>
                  <a:cubicBezTo>
                    <a:pt x="137" y="63"/>
                    <a:pt x="139" y="63"/>
                    <a:pt x="140" y="64"/>
                  </a:cubicBezTo>
                  <a:cubicBezTo>
                    <a:pt x="140" y="61"/>
                    <a:pt x="140" y="59"/>
                    <a:pt x="139" y="58"/>
                  </a:cubicBezTo>
                  <a:close/>
                  <a:moveTo>
                    <a:pt x="83" y="205"/>
                  </a:moveTo>
                  <a:cubicBezTo>
                    <a:pt x="76" y="205"/>
                    <a:pt x="73" y="218"/>
                    <a:pt x="75" y="220"/>
                  </a:cubicBezTo>
                  <a:cubicBezTo>
                    <a:pt x="76" y="221"/>
                    <a:pt x="89" y="205"/>
                    <a:pt x="83" y="20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0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858908" y="2405449"/>
              <a:ext cx="163000" cy="79605"/>
            </a:xfrm>
            <a:custGeom>
              <a:avLst/>
              <a:gdLst/>
              <a:ahLst/>
              <a:cxnLst>
                <a:cxn ang="0">
                  <a:pos x="66" y="10"/>
                </a:cxn>
                <a:cxn ang="0">
                  <a:pos x="69" y="2"/>
                </a:cxn>
                <a:cxn ang="0">
                  <a:pos x="66" y="4"/>
                </a:cxn>
                <a:cxn ang="0">
                  <a:pos x="45" y="1"/>
                </a:cxn>
                <a:cxn ang="0">
                  <a:pos x="24" y="6"/>
                </a:cxn>
                <a:cxn ang="0">
                  <a:pos x="17" y="12"/>
                </a:cxn>
                <a:cxn ang="0">
                  <a:pos x="19" y="19"/>
                </a:cxn>
                <a:cxn ang="0">
                  <a:pos x="26" y="23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40" y="28"/>
                </a:cxn>
                <a:cxn ang="0">
                  <a:pos x="52" y="34"/>
                </a:cxn>
                <a:cxn ang="0">
                  <a:pos x="62" y="35"/>
                </a:cxn>
                <a:cxn ang="0">
                  <a:pos x="63" y="32"/>
                </a:cxn>
                <a:cxn ang="0">
                  <a:pos x="66" y="28"/>
                </a:cxn>
                <a:cxn ang="0">
                  <a:pos x="63" y="22"/>
                </a:cxn>
                <a:cxn ang="0">
                  <a:pos x="63" y="16"/>
                </a:cxn>
                <a:cxn ang="0">
                  <a:pos x="66" y="10"/>
                </a:cxn>
                <a:cxn ang="0">
                  <a:pos x="7" y="18"/>
                </a:cxn>
                <a:cxn ang="0">
                  <a:pos x="3" y="28"/>
                </a:cxn>
                <a:cxn ang="0">
                  <a:pos x="15" y="20"/>
                </a:cxn>
                <a:cxn ang="0">
                  <a:pos x="7" y="18"/>
                </a:cxn>
                <a:cxn ang="0">
                  <a:pos x="12" y="13"/>
                </a:cxn>
                <a:cxn ang="0">
                  <a:pos x="5" y="14"/>
                </a:cxn>
                <a:cxn ang="0">
                  <a:pos x="12" y="13"/>
                </a:cxn>
              </a:cxnLst>
              <a:rect l="0" t="0" r="r" b="b"/>
              <a:pathLst>
                <a:path w="71" h="35">
                  <a:moveTo>
                    <a:pt x="66" y="10"/>
                  </a:moveTo>
                  <a:cubicBezTo>
                    <a:pt x="68" y="7"/>
                    <a:pt x="71" y="6"/>
                    <a:pt x="69" y="2"/>
                  </a:cubicBezTo>
                  <a:cubicBezTo>
                    <a:pt x="68" y="3"/>
                    <a:pt x="67" y="3"/>
                    <a:pt x="66" y="4"/>
                  </a:cubicBezTo>
                  <a:cubicBezTo>
                    <a:pt x="61" y="5"/>
                    <a:pt x="51" y="0"/>
                    <a:pt x="45" y="1"/>
                  </a:cubicBezTo>
                  <a:cubicBezTo>
                    <a:pt x="39" y="3"/>
                    <a:pt x="27" y="3"/>
                    <a:pt x="24" y="6"/>
                  </a:cubicBezTo>
                  <a:cubicBezTo>
                    <a:pt x="21" y="9"/>
                    <a:pt x="14" y="9"/>
                    <a:pt x="17" y="12"/>
                  </a:cubicBezTo>
                  <a:cubicBezTo>
                    <a:pt x="20" y="15"/>
                    <a:pt x="17" y="16"/>
                    <a:pt x="19" y="19"/>
                  </a:cubicBezTo>
                  <a:cubicBezTo>
                    <a:pt x="22" y="22"/>
                    <a:pt x="23" y="24"/>
                    <a:pt x="26" y="23"/>
                  </a:cubicBezTo>
                  <a:cubicBezTo>
                    <a:pt x="29" y="22"/>
                    <a:pt x="32" y="24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4" y="27"/>
                    <a:pt x="39" y="27"/>
                    <a:pt x="40" y="28"/>
                  </a:cubicBezTo>
                  <a:cubicBezTo>
                    <a:pt x="42" y="29"/>
                    <a:pt x="50" y="35"/>
                    <a:pt x="52" y="34"/>
                  </a:cubicBezTo>
                  <a:cubicBezTo>
                    <a:pt x="53" y="34"/>
                    <a:pt x="58" y="34"/>
                    <a:pt x="62" y="35"/>
                  </a:cubicBezTo>
                  <a:cubicBezTo>
                    <a:pt x="62" y="34"/>
                    <a:pt x="62" y="32"/>
                    <a:pt x="63" y="32"/>
                  </a:cubicBezTo>
                  <a:cubicBezTo>
                    <a:pt x="64" y="31"/>
                    <a:pt x="68" y="31"/>
                    <a:pt x="66" y="28"/>
                  </a:cubicBezTo>
                  <a:cubicBezTo>
                    <a:pt x="64" y="26"/>
                    <a:pt x="64" y="25"/>
                    <a:pt x="63" y="22"/>
                  </a:cubicBezTo>
                  <a:cubicBezTo>
                    <a:pt x="63" y="19"/>
                    <a:pt x="62" y="18"/>
                    <a:pt x="63" y="16"/>
                  </a:cubicBezTo>
                  <a:cubicBezTo>
                    <a:pt x="63" y="14"/>
                    <a:pt x="65" y="13"/>
                    <a:pt x="66" y="10"/>
                  </a:cubicBezTo>
                  <a:close/>
                  <a:moveTo>
                    <a:pt x="7" y="18"/>
                  </a:moveTo>
                  <a:cubicBezTo>
                    <a:pt x="1" y="20"/>
                    <a:pt x="0" y="28"/>
                    <a:pt x="3" y="28"/>
                  </a:cubicBezTo>
                  <a:cubicBezTo>
                    <a:pt x="6" y="28"/>
                    <a:pt x="13" y="22"/>
                    <a:pt x="15" y="20"/>
                  </a:cubicBezTo>
                  <a:cubicBezTo>
                    <a:pt x="16" y="18"/>
                    <a:pt x="13" y="16"/>
                    <a:pt x="7" y="18"/>
                  </a:cubicBezTo>
                  <a:close/>
                  <a:moveTo>
                    <a:pt x="12" y="13"/>
                  </a:moveTo>
                  <a:cubicBezTo>
                    <a:pt x="14" y="11"/>
                    <a:pt x="3" y="12"/>
                    <a:pt x="5" y="14"/>
                  </a:cubicBezTo>
                  <a:cubicBezTo>
                    <a:pt x="7" y="16"/>
                    <a:pt x="11" y="16"/>
                    <a:pt x="12" y="1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58373" y="4044924"/>
              <a:ext cx="206593" cy="252082"/>
            </a:xfrm>
            <a:custGeom>
              <a:avLst/>
              <a:gdLst/>
              <a:ahLst/>
              <a:cxnLst>
                <a:cxn ang="0">
                  <a:pos x="80" y="25"/>
                </a:cxn>
                <a:cxn ang="0">
                  <a:pos x="85" y="17"/>
                </a:cxn>
                <a:cxn ang="0">
                  <a:pos x="91" y="9"/>
                </a:cxn>
                <a:cxn ang="0">
                  <a:pos x="85" y="11"/>
                </a:cxn>
                <a:cxn ang="0">
                  <a:pos x="80" y="8"/>
                </a:cxn>
                <a:cxn ang="0">
                  <a:pos x="70" y="10"/>
                </a:cxn>
                <a:cxn ang="0">
                  <a:pos x="62" y="16"/>
                </a:cxn>
                <a:cxn ang="0">
                  <a:pos x="49" y="14"/>
                </a:cxn>
                <a:cxn ang="0">
                  <a:pos x="36" y="7"/>
                </a:cxn>
                <a:cxn ang="0">
                  <a:pos x="25" y="4"/>
                </a:cxn>
                <a:cxn ang="0">
                  <a:pos x="18" y="1"/>
                </a:cxn>
                <a:cxn ang="0">
                  <a:pos x="12" y="0"/>
                </a:cxn>
                <a:cxn ang="0">
                  <a:pos x="3" y="6"/>
                </a:cxn>
                <a:cxn ang="0">
                  <a:pos x="1" y="8"/>
                </a:cxn>
                <a:cxn ang="0">
                  <a:pos x="6" y="13"/>
                </a:cxn>
                <a:cxn ang="0">
                  <a:pos x="7" y="21"/>
                </a:cxn>
                <a:cxn ang="0">
                  <a:pos x="12" y="25"/>
                </a:cxn>
                <a:cxn ang="0">
                  <a:pos x="11" y="34"/>
                </a:cxn>
                <a:cxn ang="0">
                  <a:pos x="4" y="47"/>
                </a:cxn>
                <a:cxn ang="0">
                  <a:pos x="1" y="54"/>
                </a:cxn>
                <a:cxn ang="0">
                  <a:pos x="8" y="59"/>
                </a:cxn>
                <a:cxn ang="0">
                  <a:pos x="0" y="66"/>
                </a:cxn>
                <a:cxn ang="0">
                  <a:pos x="0" y="67"/>
                </a:cxn>
                <a:cxn ang="0">
                  <a:pos x="43" y="90"/>
                </a:cxn>
                <a:cxn ang="0">
                  <a:pos x="42" y="96"/>
                </a:cxn>
                <a:cxn ang="0">
                  <a:pos x="61" y="110"/>
                </a:cxn>
                <a:cxn ang="0">
                  <a:pos x="72" y="85"/>
                </a:cxn>
                <a:cxn ang="0">
                  <a:pos x="79" y="80"/>
                </a:cxn>
                <a:cxn ang="0">
                  <a:pos x="85" y="76"/>
                </a:cxn>
                <a:cxn ang="0">
                  <a:pos x="86" y="74"/>
                </a:cxn>
                <a:cxn ang="0">
                  <a:pos x="81" y="65"/>
                </a:cxn>
                <a:cxn ang="0">
                  <a:pos x="80" y="25"/>
                </a:cxn>
              </a:cxnLst>
              <a:rect l="0" t="0" r="r" b="b"/>
              <a:pathLst>
                <a:path w="91" h="110">
                  <a:moveTo>
                    <a:pt x="80" y="25"/>
                  </a:moveTo>
                  <a:cubicBezTo>
                    <a:pt x="85" y="17"/>
                    <a:pt x="85" y="17"/>
                    <a:pt x="85" y="17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88" y="10"/>
                    <a:pt x="86" y="10"/>
                    <a:pt x="85" y="11"/>
                  </a:cubicBezTo>
                  <a:cubicBezTo>
                    <a:pt x="83" y="12"/>
                    <a:pt x="80" y="10"/>
                    <a:pt x="80" y="8"/>
                  </a:cubicBezTo>
                  <a:cubicBezTo>
                    <a:pt x="79" y="7"/>
                    <a:pt x="74" y="8"/>
                    <a:pt x="70" y="10"/>
                  </a:cubicBezTo>
                  <a:cubicBezTo>
                    <a:pt x="66" y="13"/>
                    <a:pt x="64" y="17"/>
                    <a:pt x="62" y="16"/>
                  </a:cubicBezTo>
                  <a:cubicBezTo>
                    <a:pt x="61" y="15"/>
                    <a:pt x="52" y="14"/>
                    <a:pt x="49" y="14"/>
                  </a:cubicBezTo>
                  <a:cubicBezTo>
                    <a:pt x="47" y="14"/>
                    <a:pt x="39" y="9"/>
                    <a:pt x="36" y="7"/>
                  </a:cubicBezTo>
                  <a:cubicBezTo>
                    <a:pt x="34" y="4"/>
                    <a:pt x="27" y="5"/>
                    <a:pt x="25" y="4"/>
                  </a:cubicBezTo>
                  <a:cubicBezTo>
                    <a:pt x="23" y="3"/>
                    <a:pt x="20" y="3"/>
                    <a:pt x="18" y="1"/>
                  </a:cubicBezTo>
                  <a:cubicBezTo>
                    <a:pt x="17" y="0"/>
                    <a:pt x="14" y="0"/>
                    <a:pt x="12" y="0"/>
                  </a:cubicBezTo>
                  <a:cubicBezTo>
                    <a:pt x="9" y="1"/>
                    <a:pt x="3" y="4"/>
                    <a:pt x="3" y="6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30"/>
                    <a:pt x="11" y="34"/>
                  </a:cubicBezTo>
                  <a:cubicBezTo>
                    <a:pt x="11" y="39"/>
                    <a:pt x="7" y="45"/>
                    <a:pt x="4" y="47"/>
                  </a:cubicBezTo>
                  <a:cubicBezTo>
                    <a:pt x="3" y="48"/>
                    <a:pt x="2" y="51"/>
                    <a:pt x="1" y="54"/>
                  </a:cubicBezTo>
                  <a:cubicBezTo>
                    <a:pt x="5" y="56"/>
                    <a:pt x="8" y="57"/>
                    <a:pt x="8" y="59"/>
                  </a:cubicBezTo>
                  <a:cubicBezTo>
                    <a:pt x="8" y="61"/>
                    <a:pt x="0" y="60"/>
                    <a:pt x="0" y="66"/>
                  </a:cubicBezTo>
                  <a:cubicBezTo>
                    <a:pt x="0" y="66"/>
                    <a:pt x="0" y="67"/>
                    <a:pt x="0" y="67"/>
                  </a:cubicBezTo>
                  <a:cubicBezTo>
                    <a:pt x="43" y="90"/>
                    <a:pt x="43" y="90"/>
                    <a:pt x="43" y="90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96"/>
                    <a:pt x="52" y="103"/>
                    <a:pt x="61" y="110"/>
                  </a:cubicBezTo>
                  <a:cubicBezTo>
                    <a:pt x="65" y="99"/>
                    <a:pt x="71" y="88"/>
                    <a:pt x="72" y="85"/>
                  </a:cubicBezTo>
                  <a:cubicBezTo>
                    <a:pt x="75" y="82"/>
                    <a:pt x="77" y="82"/>
                    <a:pt x="79" y="80"/>
                  </a:cubicBezTo>
                  <a:cubicBezTo>
                    <a:pt x="81" y="77"/>
                    <a:pt x="82" y="81"/>
                    <a:pt x="85" y="76"/>
                  </a:cubicBezTo>
                  <a:cubicBezTo>
                    <a:pt x="86" y="75"/>
                    <a:pt x="86" y="75"/>
                    <a:pt x="86" y="74"/>
                  </a:cubicBezTo>
                  <a:cubicBezTo>
                    <a:pt x="81" y="65"/>
                    <a:pt x="81" y="65"/>
                    <a:pt x="81" y="65"/>
                  </a:cubicBezTo>
                  <a:lnTo>
                    <a:pt x="80" y="25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044652" y="4063877"/>
              <a:ext cx="140256" cy="145942"/>
            </a:xfrm>
            <a:custGeom>
              <a:avLst/>
              <a:gdLst/>
              <a:ahLst/>
              <a:cxnLst>
                <a:cxn ang="0">
                  <a:pos x="57" y="13"/>
                </a:cxn>
                <a:cxn ang="0">
                  <a:pos x="56" y="5"/>
                </a:cxn>
                <a:cxn ang="0">
                  <a:pos x="51" y="0"/>
                </a:cxn>
                <a:cxn ang="0">
                  <a:pos x="47" y="4"/>
                </a:cxn>
                <a:cxn ang="0">
                  <a:pos x="40" y="4"/>
                </a:cxn>
                <a:cxn ang="0">
                  <a:pos x="32" y="7"/>
                </a:cxn>
                <a:cxn ang="0">
                  <a:pos x="25" y="5"/>
                </a:cxn>
                <a:cxn ang="0">
                  <a:pos x="17" y="7"/>
                </a:cxn>
                <a:cxn ang="0">
                  <a:pos x="16" y="17"/>
                </a:cxn>
                <a:cxn ang="0">
                  <a:pos x="19" y="22"/>
                </a:cxn>
                <a:cxn ang="0">
                  <a:pos x="16" y="28"/>
                </a:cxn>
                <a:cxn ang="0">
                  <a:pos x="11" y="31"/>
                </a:cxn>
                <a:cxn ang="0">
                  <a:pos x="7" y="38"/>
                </a:cxn>
                <a:cxn ang="0">
                  <a:pos x="4" y="46"/>
                </a:cxn>
                <a:cxn ang="0">
                  <a:pos x="2" y="55"/>
                </a:cxn>
                <a:cxn ang="0">
                  <a:pos x="0" y="63"/>
                </a:cxn>
                <a:cxn ang="0">
                  <a:pos x="6" y="62"/>
                </a:cxn>
                <a:cxn ang="0">
                  <a:pos x="18" y="59"/>
                </a:cxn>
                <a:cxn ang="0">
                  <a:pos x="27" y="58"/>
                </a:cxn>
                <a:cxn ang="0">
                  <a:pos x="36" y="46"/>
                </a:cxn>
                <a:cxn ang="0">
                  <a:pos x="51" y="46"/>
                </a:cxn>
                <a:cxn ang="0">
                  <a:pos x="54" y="39"/>
                </a:cxn>
                <a:cxn ang="0">
                  <a:pos x="61" y="26"/>
                </a:cxn>
                <a:cxn ang="0">
                  <a:pos x="62" y="17"/>
                </a:cxn>
                <a:cxn ang="0">
                  <a:pos x="57" y="13"/>
                </a:cxn>
              </a:cxnLst>
              <a:rect l="0" t="0" r="r" b="b"/>
              <a:pathLst>
                <a:path w="62" h="64">
                  <a:moveTo>
                    <a:pt x="57" y="13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0" y="1"/>
                    <a:pt x="48" y="3"/>
                    <a:pt x="47" y="4"/>
                  </a:cubicBezTo>
                  <a:cubicBezTo>
                    <a:pt x="47" y="6"/>
                    <a:pt x="42" y="5"/>
                    <a:pt x="40" y="4"/>
                  </a:cubicBezTo>
                  <a:cubicBezTo>
                    <a:pt x="38" y="3"/>
                    <a:pt x="33" y="6"/>
                    <a:pt x="32" y="7"/>
                  </a:cubicBezTo>
                  <a:cubicBezTo>
                    <a:pt x="31" y="9"/>
                    <a:pt x="28" y="4"/>
                    <a:pt x="25" y="5"/>
                  </a:cubicBezTo>
                  <a:cubicBezTo>
                    <a:pt x="23" y="5"/>
                    <a:pt x="17" y="7"/>
                    <a:pt x="17" y="7"/>
                  </a:cubicBezTo>
                  <a:cubicBezTo>
                    <a:pt x="17" y="7"/>
                    <a:pt x="16" y="14"/>
                    <a:pt x="16" y="17"/>
                  </a:cubicBezTo>
                  <a:cubicBezTo>
                    <a:pt x="16" y="20"/>
                    <a:pt x="19" y="20"/>
                    <a:pt x="19" y="22"/>
                  </a:cubicBezTo>
                  <a:cubicBezTo>
                    <a:pt x="19" y="25"/>
                    <a:pt x="16" y="27"/>
                    <a:pt x="16" y="28"/>
                  </a:cubicBezTo>
                  <a:cubicBezTo>
                    <a:pt x="16" y="30"/>
                    <a:pt x="14" y="31"/>
                    <a:pt x="11" y="31"/>
                  </a:cubicBezTo>
                  <a:cubicBezTo>
                    <a:pt x="9" y="32"/>
                    <a:pt x="9" y="36"/>
                    <a:pt x="7" y="38"/>
                  </a:cubicBezTo>
                  <a:cubicBezTo>
                    <a:pt x="5" y="39"/>
                    <a:pt x="6" y="43"/>
                    <a:pt x="4" y="46"/>
                  </a:cubicBezTo>
                  <a:cubicBezTo>
                    <a:pt x="3" y="48"/>
                    <a:pt x="2" y="52"/>
                    <a:pt x="2" y="55"/>
                  </a:cubicBezTo>
                  <a:cubicBezTo>
                    <a:pt x="2" y="58"/>
                    <a:pt x="2" y="62"/>
                    <a:pt x="0" y="63"/>
                  </a:cubicBezTo>
                  <a:cubicBezTo>
                    <a:pt x="4" y="64"/>
                    <a:pt x="5" y="63"/>
                    <a:pt x="6" y="62"/>
                  </a:cubicBezTo>
                  <a:cubicBezTo>
                    <a:pt x="8" y="61"/>
                    <a:pt x="18" y="59"/>
                    <a:pt x="18" y="59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9" y="52"/>
                    <a:pt x="32" y="47"/>
                    <a:pt x="36" y="46"/>
                  </a:cubicBezTo>
                  <a:cubicBezTo>
                    <a:pt x="40" y="45"/>
                    <a:pt x="46" y="45"/>
                    <a:pt x="51" y="46"/>
                  </a:cubicBezTo>
                  <a:cubicBezTo>
                    <a:pt x="52" y="43"/>
                    <a:pt x="53" y="40"/>
                    <a:pt x="54" y="39"/>
                  </a:cubicBezTo>
                  <a:cubicBezTo>
                    <a:pt x="57" y="37"/>
                    <a:pt x="61" y="31"/>
                    <a:pt x="61" y="26"/>
                  </a:cubicBezTo>
                  <a:cubicBezTo>
                    <a:pt x="62" y="22"/>
                    <a:pt x="62" y="17"/>
                    <a:pt x="62" y="17"/>
                  </a:cubicBezTo>
                  <a:lnTo>
                    <a:pt x="57" y="1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738349" y="2905820"/>
              <a:ext cx="456779" cy="263454"/>
            </a:xfrm>
            <a:custGeom>
              <a:avLst/>
              <a:gdLst/>
              <a:ahLst/>
              <a:cxnLst>
                <a:cxn ang="0">
                  <a:pos x="194" y="65"/>
                </a:cxn>
                <a:cxn ang="0">
                  <a:pos x="179" y="58"/>
                </a:cxn>
                <a:cxn ang="0">
                  <a:pos x="170" y="59"/>
                </a:cxn>
                <a:cxn ang="0">
                  <a:pos x="159" y="55"/>
                </a:cxn>
                <a:cxn ang="0">
                  <a:pos x="148" y="64"/>
                </a:cxn>
                <a:cxn ang="0">
                  <a:pos x="142" y="66"/>
                </a:cxn>
                <a:cxn ang="0">
                  <a:pos x="133" y="60"/>
                </a:cxn>
                <a:cxn ang="0">
                  <a:pos x="123" y="58"/>
                </a:cxn>
                <a:cxn ang="0">
                  <a:pos x="117" y="46"/>
                </a:cxn>
                <a:cxn ang="0">
                  <a:pos x="114" y="35"/>
                </a:cxn>
                <a:cxn ang="0">
                  <a:pos x="105" y="29"/>
                </a:cxn>
                <a:cxn ang="0">
                  <a:pos x="83" y="28"/>
                </a:cxn>
                <a:cxn ang="0">
                  <a:pos x="68" y="29"/>
                </a:cxn>
                <a:cxn ang="0">
                  <a:pos x="55" y="14"/>
                </a:cxn>
                <a:cxn ang="0">
                  <a:pos x="51" y="19"/>
                </a:cxn>
                <a:cxn ang="0">
                  <a:pos x="38" y="17"/>
                </a:cxn>
                <a:cxn ang="0">
                  <a:pos x="36" y="1"/>
                </a:cxn>
                <a:cxn ang="0">
                  <a:pos x="32" y="17"/>
                </a:cxn>
                <a:cxn ang="0">
                  <a:pos x="30" y="0"/>
                </a:cxn>
                <a:cxn ang="0">
                  <a:pos x="2" y="7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8" y="59"/>
                </a:cxn>
                <a:cxn ang="0">
                  <a:pos x="12" y="54"/>
                </a:cxn>
                <a:cxn ang="0">
                  <a:pos x="20" y="48"/>
                </a:cxn>
                <a:cxn ang="0">
                  <a:pos x="24" y="44"/>
                </a:cxn>
                <a:cxn ang="0">
                  <a:pos x="29" y="41"/>
                </a:cxn>
                <a:cxn ang="0">
                  <a:pos x="37" y="43"/>
                </a:cxn>
                <a:cxn ang="0">
                  <a:pos x="45" y="46"/>
                </a:cxn>
                <a:cxn ang="0">
                  <a:pos x="49" y="58"/>
                </a:cxn>
                <a:cxn ang="0">
                  <a:pos x="66" y="60"/>
                </a:cxn>
                <a:cxn ang="0">
                  <a:pos x="71" y="68"/>
                </a:cxn>
                <a:cxn ang="0">
                  <a:pos x="76" y="77"/>
                </a:cxn>
                <a:cxn ang="0">
                  <a:pos x="87" y="85"/>
                </a:cxn>
                <a:cxn ang="0">
                  <a:pos x="100" y="93"/>
                </a:cxn>
                <a:cxn ang="0">
                  <a:pos x="112" y="101"/>
                </a:cxn>
                <a:cxn ang="0">
                  <a:pos x="122" y="104"/>
                </a:cxn>
                <a:cxn ang="0">
                  <a:pos x="123" y="111"/>
                </a:cxn>
                <a:cxn ang="0">
                  <a:pos x="124" y="111"/>
                </a:cxn>
                <a:cxn ang="0">
                  <a:pos x="133" y="114"/>
                </a:cxn>
                <a:cxn ang="0">
                  <a:pos x="137" y="116"/>
                </a:cxn>
                <a:cxn ang="0">
                  <a:pos x="142" y="105"/>
                </a:cxn>
                <a:cxn ang="0">
                  <a:pos x="141" y="95"/>
                </a:cxn>
                <a:cxn ang="0">
                  <a:pos x="134" y="86"/>
                </a:cxn>
                <a:cxn ang="0">
                  <a:pos x="144" y="82"/>
                </a:cxn>
                <a:cxn ang="0">
                  <a:pos x="148" y="76"/>
                </a:cxn>
                <a:cxn ang="0">
                  <a:pos x="153" y="70"/>
                </a:cxn>
                <a:cxn ang="0">
                  <a:pos x="162" y="68"/>
                </a:cxn>
                <a:cxn ang="0">
                  <a:pos x="170" y="66"/>
                </a:cxn>
                <a:cxn ang="0">
                  <a:pos x="166" y="75"/>
                </a:cxn>
                <a:cxn ang="0">
                  <a:pos x="179" y="73"/>
                </a:cxn>
                <a:cxn ang="0">
                  <a:pos x="189" y="71"/>
                </a:cxn>
                <a:cxn ang="0">
                  <a:pos x="194" y="65"/>
                </a:cxn>
              </a:cxnLst>
              <a:rect l="0" t="0" r="r" b="b"/>
              <a:pathLst>
                <a:path w="200" h="116">
                  <a:moveTo>
                    <a:pt x="194" y="65"/>
                  </a:moveTo>
                  <a:cubicBezTo>
                    <a:pt x="189" y="61"/>
                    <a:pt x="180" y="55"/>
                    <a:pt x="179" y="58"/>
                  </a:cubicBezTo>
                  <a:cubicBezTo>
                    <a:pt x="178" y="61"/>
                    <a:pt x="172" y="61"/>
                    <a:pt x="170" y="59"/>
                  </a:cubicBezTo>
                  <a:cubicBezTo>
                    <a:pt x="168" y="56"/>
                    <a:pt x="166" y="53"/>
                    <a:pt x="159" y="55"/>
                  </a:cubicBezTo>
                  <a:cubicBezTo>
                    <a:pt x="152" y="58"/>
                    <a:pt x="148" y="62"/>
                    <a:pt x="148" y="64"/>
                  </a:cubicBezTo>
                  <a:cubicBezTo>
                    <a:pt x="147" y="67"/>
                    <a:pt x="143" y="70"/>
                    <a:pt x="142" y="66"/>
                  </a:cubicBezTo>
                  <a:cubicBezTo>
                    <a:pt x="142" y="63"/>
                    <a:pt x="136" y="61"/>
                    <a:pt x="133" y="60"/>
                  </a:cubicBezTo>
                  <a:cubicBezTo>
                    <a:pt x="129" y="59"/>
                    <a:pt x="124" y="61"/>
                    <a:pt x="123" y="58"/>
                  </a:cubicBezTo>
                  <a:cubicBezTo>
                    <a:pt x="123" y="54"/>
                    <a:pt x="117" y="50"/>
                    <a:pt x="117" y="46"/>
                  </a:cubicBezTo>
                  <a:cubicBezTo>
                    <a:pt x="116" y="42"/>
                    <a:pt x="118" y="36"/>
                    <a:pt x="114" y="35"/>
                  </a:cubicBezTo>
                  <a:cubicBezTo>
                    <a:pt x="111" y="35"/>
                    <a:pt x="108" y="29"/>
                    <a:pt x="105" y="29"/>
                  </a:cubicBezTo>
                  <a:cubicBezTo>
                    <a:pt x="102" y="29"/>
                    <a:pt x="85" y="29"/>
                    <a:pt x="83" y="28"/>
                  </a:cubicBezTo>
                  <a:cubicBezTo>
                    <a:pt x="80" y="27"/>
                    <a:pt x="69" y="31"/>
                    <a:pt x="68" y="29"/>
                  </a:cubicBezTo>
                  <a:cubicBezTo>
                    <a:pt x="67" y="27"/>
                    <a:pt x="59" y="18"/>
                    <a:pt x="55" y="14"/>
                  </a:cubicBezTo>
                  <a:cubicBezTo>
                    <a:pt x="54" y="16"/>
                    <a:pt x="53" y="18"/>
                    <a:pt x="51" y="19"/>
                  </a:cubicBezTo>
                  <a:cubicBezTo>
                    <a:pt x="43" y="25"/>
                    <a:pt x="35" y="24"/>
                    <a:pt x="38" y="17"/>
                  </a:cubicBezTo>
                  <a:cubicBezTo>
                    <a:pt x="40" y="10"/>
                    <a:pt x="41" y="1"/>
                    <a:pt x="36" y="1"/>
                  </a:cubicBezTo>
                  <a:cubicBezTo>
                    <a:pt x="32" y="1"/>
                    <a:pt x="35" y="16"/>
                    <a:pt x="32" y="17"/>
                  </a:cubicBezTo>
                  <a:cubicBezTo>
                    <a:pt x="29" y="18"/>
                    <a:pt x="28" y="6"/>
                    <a:pt x="30" y="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3" y="59"/>
                    <a:pt x="6" y="59"/>
                    <a:pt x="8" y="59"/>
                  </a:cubicBezTo>
                  <a:cubicBezTo>
                    <a:pt x="12" y="60"/>
                    <a:pt x="12" y="56"/>
                    <a:pt x="12" y="54"/>
                  </a:cubicBezTo>
                  <a:cubicBezTo>
                    <a:pt x="12" y="52"/>
                    <a:pt x="17" y="48"/>
                    <a:pt x="20" y="48"/>
                  </a:cubicBezTo>
                  <a:cubicBezTo>
                    <a:pt x="23" y="48"/>
                    <a:pt x="23" y="44"/>
                    <a:pt x="24" y="44"/>
                  </a:cubicBezTo>
                  <a:cubicBezTo>
                    <a:pt x="25" y="44"/>
                    <a:pt x="28" y="43"/>
                    <a:pt x="29" y="41"/>
                  </a:cubicBezTo>
                  <a:cubicBezTo>
                    <a:pt x="30" y="40"/>
                    <a:pt x="35" y="42"/>
                    <a:pt x="37" y="43"/>
                  </a:cubicBezTo>
                  <a:cubicBezTo>
                    <a:pt x="38" y="45"/>
                    <a:pt x="42" y="46"/>
                    <a:pt x="45" y="46"/>
                  </a:cubicBezTo>
                  <a:cubicBezTo>
                    <a:pt x="48" y="47"/>
                    <a:pt x="49" y="56"/>
                    <a:pt x="49" y="58"/>
                  </a:cubicBezTo>
                  <a:cubicBezTo>
                    <a:pt x="49" y="60"/>
                    <a:pt x="64" y="60"/>
                    <a:pt x="66" y="60"/>
                  </a:cubicBezTo>
                  <a:cubicBezTo>
                    <a:pt x="68" y="61"/>
                    <a:pt x="68" y="65"/>
                    <a:pt x="71" y="68"/>
                  </a:cubicBezTo>
                  <a:cubicBezTo>
                    <a:pt x="73" y="71"/>
                    <a:pt x="75" y="75"/>
                    <a:pt x="76" y="77"/>
                  </a:cubicBezTo>
                  <a:cubicBezTo>
                    <a:pt x="77" y="79"/>
                    <a:pt x="85" y="82"/>
                    <a:pt x="87" y="85"/>
                  </a:cubicBezTo>
                  <a:cubicBezTo>
                    <a:pt x="89" y="88"/>
                    <a:pt x="95" y="91"/>
                    <a:pt x="100" y="93"/>
                  </a:cubicBezTo>
                  <a:cubicBezTo>
                    <a:pt x="105" y="95"/>
                    <a:pt x="109" y="101"/>
                    <a:pt x="112" y="101"/>
                  </a:cubicBezTo>
                  <a:cubicBezTo>
                    <a:pt x="114" y="100"/>
                    <a:pt x="122" y="104"/>
                    <a:pt x="122" y="104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1"/>
                    <a:pt x="123" y="111"/>
                    <a:pt x="124" y="111"/>
                  </a:cubicBezTo>
                  <a:cubicBezTo>
                    <a:pt x="128" y="110"/>
                    <a:pt x="130" y="114"/>
                    <a:pt x="133" y="114"/>
                  </a:cubicBezTo>
                  <a:cubicBezTo>
                    <a:pt x="134" y="114"/>
                    <a:pt x="136" y="115"/>
                    <a:pt x="137" y="116"/>
                  </a:cubicBezTo>
                  <a:cubicBezTo>
                    <a:pt x="137" y="110"/>
                    <a:pt x="139" y="107"/>
                    <a:pt x="142" y="105"/>
                  </a:cubicBezTo>
                  <a:cubicBezTo>
                    <a:pt x="145" y="102"/>
                    <a:pt x="140" y="98"/>
                    <a:pt x="141" y="95"/>
                  </a:cubicBezTo>
                  <a:cubicBezTo>
                    <a:pt x="141" y="91"/>
                    <a:pt x="133" y="89"/>
                    <a:pt x="134" y="86"/>
                  </a:cubicBezTo>
                  <a:cubicBezTo>
                    <a:pt x="134" y="83"/>
                    <a:pt x="141" y="83"/>
                    <a:pt x="144" y="82"/>
                  </a:cubicBezTo>
                  <a:cubicBezTo>
                    <a:pt x="147" y="81"/>
                    <a:pt x="145" y="76"/>
                    <a:pt x="148" y="76"/>
                  </a:cubicBezTo>
                  <a:cubicBezTo>
                    <a:pt x="151" y="76"/>
                    <a:pt x="152" y="73"/>
                    <a:pt x="153" y="70"/>
                  </a:cubicBezTo>
                  <a:cubicBezTo>
                    <a:pt x="154" y="67"/>
                    <a:pt x="159" y="70"/>
                    <a:pt x="162" y="68"/>
                  </a:cubicBezTo>
                  <a:cubicBezTo>
                    <a:pt x="165" y="66"/>
                    <a:pt x="169" y="64"/>
                    <a:pt x="170" y="66"/>
                  </a:cubicBezTo>
                  <a:cubicBezTo>
                    <a:pt x="170" y="67"/>
                    <a:pt x="167" y="73"/>
                    <a:pt x="166" y="75"/>
                  </a:cubicBezTo>
                  <a:cubicBezTo>
                    <a:pt x="170" y="75"/>
                    <a:pt x="177" y="74"/>
                    <a:pt x="179" y="73"/>
                  </a:cubicBezTo>
                  <a:cubicBezTo>
                    <a:pt x="180" y="71"/>
                    <a:pt x="187" y="75"/>
                    <a:pt x="189" y="71"/>
                  </a:cubicBezTo>
                  <a:cubicBezTo>
                    <a:pt x="192" y="67"/>
                    <a:pt x="200" y="70"/>
                    <a:pt x="194" y="6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4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432456" y="1416078"/>
              <a:ext cx="667162" cy="1053812"/>
            </a:xfrm>
            <a:custGeom>
              <a:avLst/>
              <a:gdLst/>
              <a:ahLst/>
              <a:cxnLst>
                <a:cxn ang="0">
                  <a:pos x="276" y="242"/>
                </a:cxn>
                <a:cxn ang="0">
                  <a:pos x="277" y="228"/>
                </a:cxn>
                <a:cxn ang="0">
                  <a:pos x="261" y="226"/>
                </a:cxn>
                <a:cxn ang="0">
                  <a:pos x="243" y="225"/>
                </a:cxn>
                <a:cxn ang="0">
                  <a:pos x="234" y="224"/>
                </a:cxn>
                <a:cxn ang="0">
                  <a:pos x="216" y="228"/>
                </a:cxn>
                <a:cxn ang="0">
                  <a:pos x="202" y="243"/>
                </a:cxn>
                <a:cxn ang="0">
                  <a:pos x="202" y="226"/>
                </a:cxn>
                <a:cxn ang="0">
                  <a:pos x="182" y="238"/>
                </a:cxn>
                <a:cxn ang="0">
                  <a:pos x="174" y="242"/>
                </a:cxn>
                <a:cxn ang="0">
                  <a:pos x="165" y="240"/>
                </a:cxn>
                <a:cxn ang="0">
                  <a:pos x="150" y="251"/>
                </a:cxn>
                <a:cxn ang="0">
                  <a:pos x="139" y="260"/>
                </a:cxn>
                <a:cxn ang="0">
                  <a:pos x="129" y="265"/>
                </a:cxn>
                <a:cxn ang="0">
                  <a:pos x="112" y="269"/>
                </a:cxn>
                <a:cxn ang="0">
                  <a:pos x="105" y="279"/>
                </a:cxn>
                <a:cxn ang="0">
                  <a:pos x="129" y="279"/>
                </a:cxn>
                <a:cxn ang="0">
                  <a:pos x="111" y="292"/>
                </a:cxn>
                <a:cxn ang="0">
                  <a:pos x="86" y="319"/>
                </a:cxn>
                <a:cxn ang="0">
                  <a:pos x="70" y="341"/>
                </a:cxn>
                <a:cxn ang="0">
                  <a:pos x="56" y="361"/>
                </a:cxn>
                <a:cxn ang="0">
                  <a:pos x="36" y="374"/>
                </a:cxn>
                <a:cxn ang="0">
                  <a:pos x="16" y="387"/>
                </a:cxn>
                <a:cxn ang="0">
                  <a:pos x="6" y="404"/>
                </a:cxn>
                <a:cxn ang="0">
                  <a:pos x="2" y="425"/>
                </a:cxn>
                <a:cxn ang="0">
                  <a:pos x="12" y="432"/>
                </a:cxn>
                <a:cxn ang="0">
                  <a:pos x="10" y="440"/>
                </a:cxn>
                <a:cxn ang="0">
                  <a:pos x="20" y="458"/>
                </a:cxn>
                <a:cxn ang="0">
                  <a:pos x="65" y="436"/>
                </a:cxn>
                <a:cxn ang="0">
                  <a:pos x="78" y="440"/>
                </a:cxn>
                <a:cxn ang="0">
                  <a:pos x="86" y="412"/>
                </a:cxn>
                <a:cxn ang="0">
                  <a:pos x="83" y="376"/>
                </a:cxn>
                <a:cxn ang="0">
                  <a:pos x="103" y="351"/>
                </a:cxn>
                <a:cxn ang="0">
                  <a:pos x="117" y="318"/>
                </a:cxn>
                <a:cxn ang="0">
                  <a:pos x="131" y="289"/>
                </a:cxn>
                <a:cxn ang="0">
                  <a:pos x="163" y="273"/>
                </a:cxn>
                <a:cxn ang="0">
                  <a:pos x="185" y="258"/>
                </a:cxn>
                <a:cxn ang="0">
                  <a:pos x="225" y="270"/>
                </a:cxn>
                <a:cxn ang="0">
                  <a:pos x="250" y="243"/>
                </a:cxn>
                <a:cxn ang="0">
                  <a:pos x="276" y="255"/>
                </a:cxn>
                <a:cxn ang="0">
                  <a:pos x="81" y="34"/>
                </a:cxn>
                <a:cxn ang="0">
                  <a:pos x="108" y="49"/>
                </a:cxn>
                <a:cxn ang="0">
                  <a:pos x="129" y="54"/>
                </a:cxn>
                <a:cxn ang="0">
                  <a:pos x="131" y="69"/>
                </a:cxn>
                <a:cxn ang="0">
                  <a:pos x="111" y="87"/>
                </a:cxn>
                <a:cxn ang="0">
                  <a:pos x="133" y="96"/>
                </a:cxn>
                <a:cxn ang="0">
                  <a:pos x="160" y="52"/>
                </a:cxn>
                <a:cxn ang="0">
                  <a:pos x="181" y="63"/>
                </a:cxn>
                <a:cxn ang="0">
                  <a:pos x="210" y="75"/>
                </a:cxn>
                <a:cxn ang="0">
                  <a:pos x="201" y="60"/>
                </a:cxn>
                <a:cxn ang="0">
                  <a:pos x="176" y="39"/>
                </a:cxn>
                <a:cxn ang="0">
                  <a:pos x="150" y="26"/>
                </a:cxn>
                <a:cxn ang="0">
                  <a:pos x="126" y="12"/>
                </a:cxn>
                <a:cxn ang="0">
                  <a:pos x="117" y="26"/>
                </a:cxn>
                <a:cxn ang="0">
                  <a:pos x="93" y="24"/>
                </a:cxn>
                <a:cxn ang="0">
                  <a:pos x="78" y="19"/>
                </a:cxn>
                <a:cxn ang="0">
                  <a:pos x="71" y="54"/>
                </a:cxn>
                <a:cxn ang="0">
                  <a:pos x="71" y="54"/>
                </a:cxn>
                <a:cxn ang="0">
                  <a:pos x="167" y="27"/>
                </a:cxn>
                <a:cxn ang="0">
                  <a:pos x="234" y="25"/>
                </a:cxn>
                <a:cxn ang="0">
                  <a:pos x="204" y="10"/>
                </a:cxn>
                <a:cxn ang="0">
                  <a:pos x="177" y="8"/>
                </a:cxn>
                <a:cxn ang="0">
                  <a:pos x="158" y="10"/>
                </a:cxn>
              </a:cxnLst>
              <a:rect l="0" t="0" r="r" b="b"/>
              <a:pathLst>
                <a:path w="292" h="462">
                  <a:moveTo>
                    <a:pt x="283" y="247"/>
                  </a:moveTo>
                  <a:cubicBezTo>
                    <a:pt x="282" y="250"/>
                    <a:pt x="278" y="249"/>
                    <a:pt x="278" y="247"/>
                  </a:cubicBezTo>
                  <a:cubicBezTo>
                    <a:pt x="278" y="244"/>
                    <a:pt x="271" y="242"/>
                    <a:pt x="270" y="241"/>
                  </a:cubicBezTo>
                  <a:cubicBezTo>
                    <a:pt x="270" y="240"/>
                    <a:pt x="273" y="240"/>
                    <a:pt x="276" y="242"/>
                  </a:cubicBezTo>
                  <a:cubicBezTo>
                    <a:pt x="279" y="243"/>
                    <a:pt x="281" y="242"/>
                    <a:pt x="284" y="239"/>
                  </a:cubicBezTo>
                  <a:cubicBezTo>
                    <a:pt x="287" y="236"/>
                    <a:pt x="291" y="239"/>
                    <a:pt x="291" y="236"/>
                  </a:cubicBezTo>
                  <a:cubicBezTo>
                    <a:pt x="292" y="234"/>
                    <a:pt x="286" y="232"/>
                    <a:pt x="285" y="231"/>
                  </a:cubicBezTo>
                  <a:cubicBezTo>
                    <a:pt x="284" y="229"/>
                    <a:pt x="281" y="227"/>
                    <a:pt x="277" y="228"/>
                  </a:cubicBezTo>
                  <a:cubicBezTo>
                    <a:pt x="273" y="228"/>
                    <a:pt x="273" y="227"/>
                    <a:pt x="271" y="225"/>
                  </a:cubicBezTo>
                  <a:cubicBezTo>
                    <a:pt x="269" y="223"/>
                    <a:pt x="262" y="226"/>
                    <a:pt x="262" y="231"/>
                  </a:cubicBezTo>
                  <a:cubicBezTo>
                    <a:pt x="262" y="236"/>
                    <a:pt x="258" y="234"/>
                    <a:pt x="259" y="232"/>
                  </a:cubicBezTo>
                  <a:cubicBezTo>
                    <a:pt x="261" y="229"/>
                    <a:pt x="257" y="226"/>
                    <a:pt x="261" y="226"/>
                  </a:cubicBezTo>
                  <a:cubicBezTo>
                    <a:pt x="264" y="225"/>
                    <a:pt x="262" y="220"/>
                    <a:pt x="256" y="219"/>
                  </a:cubicBezTo>
                  <a:cubicBezTo>
                    <a:pt x="250" y="219"/>
                    <a:pt x="248" y="224"/>
                    <a:pt x="249" y="226"/>
                  </a:cubicBezTo>
                  <a:cubicBezTo>
                    <a:pt x="251" y="227"/>
                    <a:pt x="245" y="234"/>
                    <a:pt x="242" y="234"/>
                  </a:cubicBezTo>
                  <a:cubicBezTo>
                    <a:pt x="240" y="234"/>
                    <a:pt x="243" y="228"/>
                    <a:pt x="243" y="225"/>
                  </a:cubicBezTo>
                  <a:cubicBezTo>
                    <a:pt x="242" y="222"/>
                    <a:pt x="240" y="223"/>
                    <a:pt x="235" y="229"/>
                  </a:cubicBezTo>
                  <a:cubicBezTo>
                    <a:pt x="231" y="234"/>
                    <a:pt x="227" y="239"/>
                    <a:pt x="225" y="239"/>
                  </a:cubicBezTo>
                  <a:cubicBezTo>
                    <a:pt x="222" y="240"/>
                    <a:pt x="222" y="235"/>
                    <a:pt x="227" y="232"/>
                  </a:cubicBezTo>
                  <a:cubicBezTo>
                    <a:pt x="231" y="230"/>
                    <a:pt x="231" y="224"/>
                    <a:pt x="234" y="224"/>
                  </a:cubicBezTo>
                  <a:cubicBezTo>
                    <a:pt x="237" y="224"/>
                    <a:pt x="237" y="220"/>
                    <a:pt x="233" y="219"/>
                  </a:cubicBezTo>
                  <a:cubicBezTo>
                    <a:pt x="228" y="218"/>
                    <a:pt x="228" y="223"/>
                    <a:pt x="226" y="224"/>
                  </a:cubicBezTo>
                  <a:cubicBezTo>
                    <a:pt x="225" y="226"/>
                    <a:pt x="218" y="222"/>
                    <a:pt x="218" y="223"/>
                  </a:cubicBezTo>
                  <a:cubicBezTo>
                    <a:pt x="219" y="225"/>
                    <a:pt x="215" y="225"/>
                    <a:pt x="216" y="228"/>
                  </a:cubicBezTo>
                  <a:cubicBezTo>
                    <a:pt x="218" y="230"/>
                    <a:pt x="216" y="232"/>
                    <a:pt x="214" y="229"/>
                  </a:cubicBezTo>
                  <a:cubicBezTo>
                    <a:pt x="212" y="226"/>
                    <a:pt x="208" y="229"/>
                    <a:pt x="206" y="232"/>
                  </a:cubicBezTo>
                  <a:cubicBezTo>
                    <a:pt x="204" y="235"/>
                    <a:pt x="201" y="235"/>
                    <a:pt x="203" y="236"/>
                  </a:cubicBezTo>
                  <a:cubicBezTo>
                    <a:pt x="205" y="237"/>
                    <a:pt x="205" y="242"/>
                    <a:pt x="202" y="243"/>
                  </a:cubicBezTo>
                  <a:cubicBezTo>
                    <a:pt x="199" y="244"/>
                    <a:pt x="200" y="235"/>
                    <a:pt x="198" y="235"/>
                  </a:cubicBezTo>
                  <a:cubicBezTo>
                    <a:pt x="196" y="236"/>
                    <a:pt x="197" y="231"/>
                    <a:pt x="200" y="231"/>
                  </a:cubicBezTo>
                  <a:cubicBezTo>
                    <a:pt x="204" y="231"/>
                    <a:pt x="207" y="226"/>
                    <a:pt x="206" y="225"/>
                  </a:cubicBezTo>
                  <a:cubicBezTo>
                    <a:pt x="206" y="223"/>
                    <a:pt x="202" y="224"/>
                    <a:pt x="202" y="226"/>
                  </a:cubicBezTo>
                  <a:cubicBezTo>
                    <a:pt x="202" y="229"/>
                    <a:pt x="197" y="228"/>
                    <a:pt x="193" y="228"/>
                  </a:cubicBezTo>
                  <a:cubicBezTo>
                    <a:pt x="189" y="228"/>
                    <a:pt x="189" y="233"/>
                    <a:pt x="194" y="236"/>
                  </a:cubicBezTo>
                  <a:cubicBezTo>
                    <a:pt x="199" y="238"/>
                    <a:pt x="193" y="240"/>
                    <a:pt x="191" y="238"/>
                  </a:cubicBezTo>
                  <a:cubicBezTo>
                    <a:pt x="188" y="236"/>
                    <a:pt x="185" y="237"/>
                    <a:pt x="182" y="238"/>
                  </a:cubicBezTo>
                  <a:cubicBezTo>
                    <a:pt x="180" y="239"/>
                    <a:pt x="188" y="242"/>
                    <a:pt x="189" y="244"/>
                  </a:cubicBezTo>
                  <a:cubicBezTo>
                    <a:pt x="189" y="245"/>
                    <a:pt x="184" y="242"/>
                    <a:pt x="183" y="243"/>
                  </a:cubicBezTo>
                  <a:cubicBezTo>
                    <a:pt x="182" y="244"/>
                    <a:pt x="178" y="242"/>
                    <a:pt x="177" y="239"/>
                  </a:cubicBezTo>
                  <a:cubicBezTo>
                    <a:pt x="177" y="237"/>
                    <a:pt x="169" y="241"/>
                    <a:pt x="174" y="242"/>
                  </a:cubicBezTo>
                  <a:cubicBezTo>
                    <a:pt x="178" y="243"/>
                    <a:pt x="176" y="245"/>
                    <a:pt x="176" y="249"/>
                  </a:cubicBezTo>
                  <a:cubicBezTo>
                    <a:pt x="176" y="253"/>
                    <a:pt x="171" y="250"/>
                    <a:pt x="172" y="247"/>
                  </a:cubicBezTo>
                  <a:cubicBezTo>
                    <a:pt x="173" y="243"/>
                    <a:pt x="169" y="244"/>
                    <a:pt x="166" y="246"/>
                  </a:cubicBezTo>
                  <a:cubicBezTo>
                    <a:pt x="163" y="248"/>
                    <a:pt x="167" y="242"/>
                    <a:pt x="165" y="240"/>
                  </a:cubicBezTo>
                  <a:cubicBezTo>
                    <a:pt x="164" y="237"/>
                    <a:pt x="161" y="240"/>
                    <a:pt x="157" y="240"/>
                  </a:cubicBezTo>
                  <a:cubicBezTo>
                    <a:pt x="154" y="241"/>
                    <a:pt x="152" y="241"/>
                    <a:pt x="154" y="243"/>
                  </a:cubicBezTo>
                  <a:cubicBezTo>
                    <a:pt x="156" y="246"/>
                    <a:pt x="156" y="249"/>
                    <a:pt x="153" y="249"/>
                  </a:cubicBezTo>
                  <a:cubicBezTo>
                    <a:pt x="150" y="248"/>
                    <a:pt x="149" y="249"/>
                    <a:pt x="150" y="251"/>
                  </a:cubicBezTo>
                  <a:cubicBezTo>
                    <a:pt x="150" y="254"/>
                    <a:pt x="146" y="254"/>
                    <a:pt x="146" y="252"/>
                  </a:cubicBezTo>
                  <a:cubicBezTo>
                    <a:pt x="145" y="249"/>
                    <a:pt x="140" y="250"/>
                    <a:pt x="138" y="253"/>
                  </a:cubicBezTo>
                  <a:cubicBezTo>
                    <a:pt x="136" y="255"/>
                    <a:pt x="132" y="257"/>
                    <a:pt x="132" y="260"/>
                  </a:cubicBezTo>
                  <a:cubicBezTo>
                    <a:pt x="133" y="263"/>
                    <a:pt x="136" y="259"/>
                    <a:pt x="139" y="260"/>
                  </a:cubicBezTo>
                  <a:cubicBezTo>
                    <a:pt x="142" y="261"/>
                    <a:pt x="139" y="262"/>
                    <a:pt x="141" y="264"/>
                  </a:cubicBezTo>
                  <a:cubicBezTo>
                    <a:pt x="142" y="265"/>
                    <a:pt x="142" y="269"/>
                    <a:pt x="140" y="267"/>
                  </a:cubicBezTo>
                  <a:cubicBezTo>
                    <a:pt x="137" y="265"/>
                    <a:pt x="134" y="264"/>
                    <a:pt x="134" y="268"/>
                  </a:cubicBezTo>
                  <a:cubicBezTo>
                    <a:pt x="133" y="271"/>
                    <a:pt x="131" y="267"/>
                    <a:pt x="129" y="265"/>
                  </a:cubicBezTo>
                  <a:cubicBezTo>
                    <a:pt x="127" y="262"/>
                    <a:pt x="125" y="269"/>
                    <a:pt x="123" y="268"/>
                  </a:cubicBezTo>
                  <a:cubicBezTo>
                    <a:pt x="121" y="266"/>
                    <a:pt x="127" y="261"/>
                    <a:pt x="125" y="258"/>
                  </a:cubicBezTo>
                  <a:cubicBezTo>
                    <a:pt x="124" y="256"/>
                    <a:pt x="123" y="260"/>
                    <a:pt x="119" y="264"/>
                  </a:cubicBezTo>
                  <a:cubicBezTo>
                    <a:pt x="115" y="267"/>
                    <a:pt x="110" y="267"/>
                    <a:pt x="112" y="269"/>
                  </a:cubicBezTo>
                  <a:cubicBezTo>
                    <a:pt x="113" y="271"/>
                    <a:pt x="108" y="272"/>
                    <a:pt x="107" y="275"/>
                  </a:cubicBezTo>
                  <a:cubicBezTo>
                    <a:pt x="106" y="278"/>
                    <a:pt x="98" y="279"/>
                    <a:pt x="93" y="283"/>
                  </a:cubicBezTo>
                  <a:cubicBezTo>
                    <a:pt x="88" y="286"/>
                    <a:pt x="94" y="286"/>
                    <a:pt x="97" y="283"/>
                  </a:cubicBezTo>
                  <a:cubicBezTo>
                    <a:pt x="100" y="280"/>
                    <a:pt x="101" y="282"/>
                    <a:pt x="105" y="279"/>
                  </a:cubicBezTo>
                  <a:cubicBezTo>
                    <a:pt x="110" y="276"/>
                    <a:pt x="114" y="274"/>
                    <a:pt x="116" y="275"/>
                  </a:cubicBezTo>
                  <a:cubicBezTo>
                    <a:pt x="118" y="276"/>
                    <a:pt x="121" y="277"/>
                    <a:pt x="123" y="274"/>
                  </a:cubicBezTo>
                  <a:cubicBezTo>
                    <a:pt x="125" y="271"/>
                    <a:pt x="128" y="272"/>
                    <a:pt x="130" y="273"/>
                  </a:cubicBezTo>
                  <a:cubicBezTo>
                    <a:pt x="132" y="275"/>
                    <a:pt x="126" y="277"/>
                    <a:pt x="129" y="279"/>
                  </a:cubicBezTo>
                  <a:cubicBezTo>
                    <a:pt x="131" y="282"/>
                    <a:pt x="126" y="284"/>
                    <a:pt x="126" y="281"/>
                  </a:cubicBezTo>
                  <a:cubicBezTo>
                    <a:pt x="126" y="279"/>
                    <a:pt x="122" y="277"/>
                    <a:pt x="121" y="279"/>
                  </a:cubicBezTo>
                  <a:cubicBezTo>
                    <a:pt x="120" y="281"/>
                    <a:pt x="118" y="284"/>
                    <a:pt x="116" y="284"/>
                  </a:cubicBezTo>
                  <a:cubicBezTo>
                    <a:pt x="114" y="284"/>
                    <a:pt x="111" y="288"/>
                    <a:pt x="111" y="292"/>
                  </a:cubicBezTo>
                  <a:cubicBezTo>
                    <a:pt x="111" y="296"/>
                    <a:pt x="107" y="292"/>
                    <a:pt x="107" y="295"/>
                  </a:cubicBezTo>
                  <a:cubicBezTo>
                    <a:pt x="107" y="299"/>
                    <a:pt x="101" y="305"/>
                    <a:pt x="97" y="310"/>
                  </a:cubicBezTo>
                  <a:cubicBezTo>
                    <a:pt x="92" y="314"/>
                    <a:pt x="96" y="315"/>
                    <a:pt x="95" y="318"/>
                  </a:cubicBezTo>
                  <a:cubicBezTo>
                    <a:pt x="93" y="321"/>
                    <a:pt x="88" y="318"/>
                    <a:pt x="86" y="319"/>
                  </a:cubicBezTo>
                  <a:cubicBezTo>
                    <a:pt x="84" y="321"/>
                    <a:pt x="87" y="328"/>
                    <a:pt x="85" y="330"/>
                  </a:cubicBezTo>
                  <a:cubicBezTo>
                    <a:pt x="82" y="332"/>
                    <a:pt x="85" y="335"/>
                    <a:pt x="85" y="337"/>
                  </a:cubicBezTo>
                  <a:cubicBezTo>
                    <a:pt x="85" y="340"/>
                    <a:pt x="78" y="336"/>
                    <a:pt x="78" y="338"/>
                  </a:cubicBezTo>
                  <a:cubicBezTo>
                    <a:pt x="77" y="341"/>
                    <a:pt x="71" y="340"/>
                    <a:pt x="70" y="341"/>
                  </a:cubicBezTo>
                  <a:cubicBezTo>
                    <a:pt x="68" y="342"/>
                    <a:pt x="73" y="346"/>
                    <a:pt x="76" y="348"/>
                  </a:cubicBezTo>
                  <a:cubicBezTo>
                    <a:pt x="79" y="350"/>
                    <a:pt x="73" y="352"/>
                    <a:pt x="73" y="349"/>
                  </a:cubicBezTo>
                  <a:cubicBezTo>
                    <a:pt x="72" y="347"/>
                    <a:pt x="68" y="351"/>
                    <a:pt x="63" y="353"/>
                  </a:cubicBezTo>
                  <a:cubicBezTo>
                    <a:pt x="57" y="356"/>
                    <a:pt x="60" y="360"/>
                    <a:pt x="56" y="361"/>
                  </a:cubicBezTo>
                  <a:cubicBezTo>
                    <a:pt x="52" y="361"/>
                    <a:pt x="53" y="367"/>
                    <a:pt x="50" y="369"/>
                  </a:cubicBezTo>
                  <a:cubicBezTo>
                    <a:pt x="47" y="371"/>
                    <a:pt x="48" y="364"/>
                    <a:pt x="44" y="364"/>
                  </a:cubicBezTo>
                  <a:cubicBezTo>
                    <a:pt x="40" y="364"/>
                    <a:pt x="40" y="367"/>
                    <a:pt x="43" y="371"/>
                  </a:cubicBezTo>
                  <a:cubicBezTo>
                    <a:pt x="45" y="374"/>
                    <a:pt x="39" y="371"/>
                    <a:pt x="36" y="374"/>
                  </a:cubicBezTo>
                  <a:cubicBezTo>
                    <a:pt x="34" y="377"/>
                    <a:pt x="27" y="376"/>
                    <a:pt x="26" y="378"/>
                  </a:cubicBezTo>
                  <a:cubicBezTo>
                    <a:pt x="24" y="381"/>
                    <a:pt x="31" y="381"/>
                    <a:pt x="32" y="383"/>
                  </a:cubicBezTo>
                  <a:cubicBezTo>
                    <a:pt x="33" y="385"/>
                    <a:pt x="26" y="384"/>
                    <a:pt x="22" y="383"/>
                  </a:cubicBezTo>
                  <a:cubicBezTo>
                    <a:pt x="18" y="382"/>
                    <a:pt x="19" y="388"/>
                    <a:pt x="16" y="387"/>
                  </a:cubicBezTo>
                  <a:cubicBezTo>
                    <a:pt x="13" y="386"/>
                    <a:pt x="8" y="390"/>
                    <a:pt x="11" y="392"/>
                  </a:cubicBezTo>
                  <a:cubicBezTo>
                    <a:pt x="13" y="395"/>
                    <a:pt x="9" y="395"/>
                    <a:pt x="7" y="393"/>
                  </a:cubicBezTo>
                  <a:cubicBezTo>
                    <a:pt x="4" y="392"/>
                    <a:pt x="2" y="396"/>
                    <a:pt x="1" y="398"/>
                  </a:cubicBezTo>
                  <a:cubicBezTo>
                    <a:pt x="1" y="401"/>
                    <a:pt x="6" y="403"/>
                    <a:pt x="6" y="404"/>
                  </a:cubicBezTo>
                  <a:cubicBezTo>
                    <a:pt x="6" y="405"/>
                    <a:pt x="1" y="408"/>
                    <a:pt x="4" y="408"/>
                  </a:cubicBezTo>
                  <a:cubicBezTo>
                    <a:pt x="7" y="409"/>
                    <a:pt x="5" y="412"/>
                    <a:pt x="3" y="412"/>
                  </a:cubicBezTo>
                  <a:cubicBezTo>
                    <a:pt x="1" y="413"/>
                    <a:pt x="1" y="415"/>
                    <a:pt x="3" y="418"/>
                  </a:cubicBezTo>
                  <a:cubicBezTo>
                    <a:pt x="5" y="420"/>
                    <a:pt x="0" y="421"/>
                    <a:pt x="2" y="425"/>
                  </a:cubicBezTo>
                  <a:cubicBezTo>
                    <a:pt x="5" y="428"/>
                    <a:pt x="7" y="424"/>
                    <a:pt x="8" y="426"/>
                  </a:cubicBezTo>
                  <a:cubicBezTo>
                    <a:pt x="9" y="429"/>
                    <a:pt x="13" y="427"/>
                    <a:pt x="16" y="423"/>
                  </a:cubicBezTo>
                  <a:cubicBezTo>
                    <a:pt x="20" y="420"/>
                    <a:pt x="21" y="427"/>
                    <a:pt x="18" y="427"/>
                  </a:cubicBezTo>
                  <a:cubicBezTo>
                    <a:pt x="15" y="427"/>
                    <a:pt x="12" y="429"/>
                    <a:pt x="12" y="432"/>
                  </a:cubicBezTo>
                  <a:cubicBezTo>
                    <a:pt x="13" y="435"/>
                    <a:pt x="8" y="434"/>
                    <a:pt x="8" y="430"/>
                  </a:cubicBezTo>
                  <a:cubicBezTo>
                    <a:pt x="8" y="427"/>
                    <a:pt x="2" y="431"/>
                    <a:pt x="4" y="434"/>
                  </a:cubicBezTo>
                  <a:cubicBezTo>
                    <a:pt x="6" y="436"/>
                    <a:pt x="3" y="438"/>
                    <a:pt x="3" y="440"/>
                  </a:cubicBezTo>
                  <a:cubicBezTo>
                    <a:pt x="3" y="443"/>
                    <a:pt x="8" y="442"/>
                    <a:pt x="10" y="440"/>
                  </a:cubicBezTo>
                  <a:cubicBezTo>
                    <a:pt x="11" y="437"/>
                    <a:pt x="14" y="437"/>
                    <a:pt x="16" y="440"/>
                  </a:cubicBezTo>
                  <a:cubicBezTo>
                    <a:pt x="17" y="443"/>
                    <a:pt x="13" y="441"/>
                    <a:pt x="13" y="445"/>
                  </a:cubicBezTo>
                  <a:cubicBezTo>
                    <a:pt x="13" y="449"/>
                    <a:pt x="10" y="445"/>
                    <a:pt x="8" y="448"/>
                  </a:cubicBezTo>
                  <a:cubicBezTo>
                    <a:pt x="6" y="451"/>
                    <a:pt x="17" y="457"/>
                    <a:pt x="20" y="458"/>
                  </a:cubicBezTo>
                  <a:cubicBezTo>
                    <a:pt x="23" y="458"/>
                    <a:pt x="26" y="462"/>
                    <a:pt x="33" y="461"/>
                  </a:cubicBezTo>
                  <a:cubicBezTo>
                    <a:pt x="40" y="460"/>
                    <a:pt x="52" y="448"/>
                    <a:pt x="54" y="446"/>
                  </a:cubicBezTo>
                  <a:cubicBezTo>
                    <a:pt x="56" y="443"/>
                    <a:pt x="59" y="446"/>
                    <a:pt x="62" y="444"/>
                  </a:cubicBezTo>
                  <a:cubicBezTo>
                    <a:pt x="64" y="442"/>
                    <a:pt x="63" y="437"/>
                    <a:pt x="65" y="436"/>
                  </a:cubicBezTo>
                  <a:cubicBezTo>
                    <a:pt x="67" y="435"/>
                    <a:pt x="68" y="441"/>
                    <a:pt x="69" y="442"/>
                  </a:cubicBezTo>
                  <a:cubicBezTo>
                    <a:pt x="71" y="442"/>
                    <a:pt x="72" y="444"/>
                    <a:pt x="72" y="447"/>
                  </a:cubicBezTo>
                  <a:cubicBezTo>
                    <a:pt x="73" y="447"/>
                    <a:pt x="75" y="447"/>
                    <a:pt x="75" y="447"/>
                  </a:cubicBezTo>
                  <a:cubicBezTo>
                    <a:pt x="78" y="449"/>
                    <a:pt x="78" y="442"/>
                    <a:pt x="78" y="440"/>
                  </a:cubicBezTo>
                  <a:cubicBezTo>
                    <a:pt x="78" y="438"/>
                    <a:pt x="80" y="434"/>
                    <a:pt x="80" y="431"/>
                  </a:cubicBezTo>
                  <a:cubicBezTo>
                    <a:pt x="79" y="428"/>
                    <a:pt x="86" y="430"/>
                    <a:pt x="87" y="428"/>
                  </a:cubicBezTo>
                  <a:cubicBezTo>
                    <a:pt x="88" y="426"/>
                    <a:pt x="89" y="419"/>
                    <a:pt x="87" y="417"/>
                  </a:cubicBezTo>
                  <a:cubicBezTo>
                    <a:pt x="84" y="416"/>
                    <a:pt x="84" y="412"/>
                    <a:pt x="86" y="412"/>
                  </a:cubicBezTo>
                  <a:cubicBezTo>
                    <a:pt x="88" y="412"/>
                    <a:pt x="91" y="411"/>
                    <a:pt x="90" y="406"/>
                  </a:cubicBezTo>
                  <a:cubicBezTo>
                    <a:pt x="90" y="402"/>
                    <a:pt x="83" y="402"/>
                    <a:pt x="83" y="398"/>
                  </a:cubicBezTo>
                  <a:cubicBezTo>
                    <a:pt x="82" y="394"/>
                    <a:pt x="86" y="393"/>
                    <a:pt x="83" y="387"/>
                  </a:cubicBezTo>
                  <a:cubicBezTo>
                    <a:pt x="81" y="382"/>
                    <a:pt x="84" y="379"/>
                    <a:pt x="83" y="376"/>
                  </a:cubicBezTo>
                  <a:cubicBezTo>
                    <a:pt x="82" y="374"/>
                    <a:pt x="81" y="370"/>
                    <a:pt x="84" y="365"/>
                  </a:cubicBezTo>
                  <a:cubicBezTo>
                    <a:pt x="88" y="360"/>
                    <a:pt x="94" y="357"/>
                    <a:pt x="96" y="357"/>
                  </a:cubicBezTo>
                  <a:cubicBezTo>
                    <a:pt x="98" y="358"/>
                    <a:pt x="102" y="360"/>
                    <a:pt x="103" y="357"/>
                  </a:cubicBezTo>
                  <a:cubicBezTo>
                    <a:pt x="105" y="354"/>
                    <a:pt x="105" y="351"/>
                    <a:pt x="103" y="351"/>
                  </a:cubicBezTo>
                  <a:cubicBezTo>
                    <a:pt x="102" y="350"/>
                    <a:pt x="97" y="349"/>
                    <a:pt x="101" y="345"/>
                  </a:cubicBezTo>
                  <a:cubicBezTo>
                    <a:pt x="104" y="340"/>
                    <a:pt x="108" y="335"/>
                    <a:pt x="108" y="330"/>
                  </a:cubicBezTo>
                  <a:cubicBezTo>
                    <a:pt x="109" y="325"/>
                    <a:pt x="107" y="322"/>
                    <a:pt x="109" y="320"/>
                  </a:cubicBezTo>
                  <a:cubicBezTo>
                    <a:pt x="110" y="318"/>
                    <a:pt x="114" y="320"/>
                    <a:pt x="117" y="318"/>
                  </a:cubicBezTo>
                  <a:cubicBezTo>
                    <a:pt x="120" y="316"/>
                    <a:pt x="118" y="313"/>
                    <a:pt x="119" y="311"/>
                  </a:cubicBezTo>
                  <a:cubicBezTo>
                    <a:pt x="121" y="310"/>
                    <a:pt x="123" y="304"/>
                    <a:pt x="125" y="303"/>
                  </a:cubicBezTo>
                  <a:cubicBezTo>
                    <a:pt x="127" y="301"/>
                    <a:pt x="129" y="299"/>
                    <a:pt x="128" y="297"/>
                  </a:cubicBezTo>
                  <a:cubicBezTo>
                    <a:pt x="126" y="295"/>
                    <a:pt x="131" y="293"/>
                    <a:pt x="131" y="289"/>
                  </a:cubicBezTo>
                  <a:cubicBezTo>
                    <a:pt x="131" y="285"/>
                    <a:pt x="136" y="283"/>
                    <a:pt x="140" y="283"/>
                  </a:cubicBezTo>
                  <a:cubicBezTo>
                    <a:pt x="143" y="283"/>
                    <a:pt x="148" y="283"/>
                    <a:pt x="148" y="279"/>
                  </a:cubicBezTo>
                  <a:cubicBezTo>
                    <a:pt x="148" y="276"/>
                    <a:pt x="146" y="269"/>
                    <a:pt x="151" y="271"/>
                  </a:cubicBezTo>
                  <a:cubicBezTo>
                    <a:pt x="156" y="273"/>
                    <a:pt x="159" y="271"/>
                    <a:pt x="163" y="273"/>
                  </a:cubicBezTo>
                  <a:cubicBezTo>
                    <a:pt x="166" y="276"/>
                    <a:pt x="170" y="276"/>
                    <a:pt x="170" y="271"/>
                  </a:cubicBezTo>
                  <a:cubicBezTo>
                    <a:pt x="170" y="267"/>
                    <a:pt x="172" y="260"/>
                    <a:pt x="177" y="263"/>
                  </a:cubicBezTo>
                  <a:cubicBezTo>
                    <a:pt x="177" y="263"/>
                    <a:pt x="177" y="263"/>
                    <a:pt x="178" y="263"/>
                  </a:cubicBezTo>
                  <a:cubicBezTo>
                    <a:pt x="179" y="260"/>
                    <a:pt x="182" y="258"/>
                    <a:pt x="185" y="258"/>
                  </a:cubicBezTo>
                  <a:cubicBezTo>
                    <a:pt x="189" y="258"/>
                    <a:pt x="192" y="266"/>
                    <a:pt x="197" y="267"/>
                  </a:cubicBezTo>
                  <a:cubicBezTo>
                    <a:pt x="203" y="268"/>
                    <a:pt x="208" y="270"/>
                    <a:pt x="210" y="268"/>
                  </a:cubicBezTo>
                  <a:cubicBezTo>
                    <a:pt x="211" y="265"/>
                    <a:pt x="215" y="269"/>
                    <a:pt x="218" y="268"/>
                  </a:cubicBezTo>
                  <a:cubicBezTo>
                    <a:pt x="222" y="267"/>
                    <a:pt x="222" y="274"/>
                    <a:pt x="225" y="270"/>
                  </a:cubicBezTo>
                  <a:cubicBezTo>
                    <a:pt x="228" y="265"/>
                    <a:pt x="224" y="263"/>
                    <a:pt x="230" y="263"/>
                  </a:cubicBezTo>
                  <a:cubicBezTo>
                    <a:pt x="235" y="264"/>
                    <a:pt x="232" y="257"/>
                    <a:pt x="232" y="254"/>
                  </a:cubicBezTo>
                  <a:cubicBezTo>
                    <a:pt x="232" y="250"/>
                    <a:pt x="239" y="249"/>
                    <a:pt x="239" y="246"/>
                  </a:cubicBezTo>
                  <a:cubicBezTo>
                    <a:pt x="239" y="243"/>
                    <a:pt x="248" y="246"/>
                    <a:pt x="250" y="243"/>
                  </a:cubicBezTo>
                  <a:cubicBezTo>
                    <a:pt x="252" y="241"/>
                    <a:pt x="257" y="240"/>
                    <a:pt x="259" y="243"/>
                  </a:cubicBezTo>
                  <a:cubicBezTo>
                    <a:pt x="261" y="247"/>
                    <a:pt x="270" y="248"/>
                    <a:pt x="271" y="251"/>
                  </a:cubicBezTo>
                  <a:cubicBezTo>
                    <a:pt x="271" y="253"/>
                    <a:pt x="271" y="255"/>
                    <a:pt x="271" y="258"/>
                  </a:cubicBezTo>
                  <a:cubicBezTo>
                    <a:pt x="272" y="256"/>
                    <a:pt x="274" y="255"/>
                    <a:pt x="276" y="255"/>
                  </a:cubicBezTo>
                  <a:cubicBezTo>
                    <a:pt x="279" y="255"/>
                    <a:pt x="282" y="250"/>
                    <a:pt x="285" y="251"/>
                  </a:cubicBezTo>
                  <a:cubicBezTo>
                    <a:pt x="288" y="251"/>
                    <a:pt x="290" y="251"/>
                    <a:pt x="291" y="247"/>
                  </a:cubicBezTo>
                  <a:cubicBezTo>
                    <a:pt x="288" y="245"/>
                    <a:pt x="283" y="245"/>
                    <a:pt x="283" y="247"/>
                  </a:cubicBezTo>
                  <a:close/>
                  <a:moveTo>
                    <a:pt x="81" y="34"/>
                  </a:moveTo>
                  <a:cubicBezTo>
                    <a:pt x="86" y="35"/>
                    <a:pt x="76" y="40"/>
                    <a:pt x="75" y="45"/>
                  </a:cubicBezTo>
                  <a:cubicBezTo>
                    <a:pt x="73" y="49"/>
                    <a:pt x="82" y="54"/>
                    <a:pt x="86" y="57"/>
                  </a:cubicBezTo>
                  <a:cubicBezTo>
                    <a:pt x="90" y="61"/>
                    <a:pt x="99" y="60"/>
                    <a:pt x="102" y="58"/>
                  </a:cubicBezTo>
                  <a:cubicBezTo>
                    <a:pt x="105" y="56"/>
                    <a:pt x="104" y="49"/>
                    <a:pt x="108" y="49"/>
                  </a:cubicBezTo>
                  <a:cubicBezTo>
                    <a:pt x="113" y="50"/>
                    <a:pt x="110" y="46"/>
                    <a:pt x="114" y="44"/>
                  </a:cubicBezTo>
                  <a:cubicBezTo>
                    <a:pt x="117" y="43"/>
                    <a:pt x="118" y="48"/>
                    <a:pt x="115" y="51"/>
                  </a:cubicBezTo>
                  <a:cubicBezTo>
                    <a:pt x="112" y="55"/>
                    <a:pt x="120" y="54"/>
                    <a:pt x="125" y="50"/>
                  </a:cubicBezTo>
                  <a:cubicBezTo>
                    <a:pt x="129" y="46"/>
                    <a:pt x="130" y="50"/>
                    <a:pt x="129" y="54"/>
                  </a:cubicBezTo>
                  <a:cubicBezTo>
                    <a:pt x="128" y="58"/>
                    <a:pt x="119" y="56"/>
                    <a:pt x="116" y="60"/>
                  </a:cubicBezTo>
                  <a:cubicBezTo>
                    <a:pt x="112" y="65"/>
                    <a:pt x="102" y="61"/>
                    <a:pt x="98" y="66"/>
                  </a:cubicBezTo>
                  <a:cubicBezTo>
                    <a:pt x="93" y="71"/>
                    <a:pt x="102" y="71"/>
                    <a:pt x="108" y="70"/>
                  </a:cubicBezTo>
                  <a:cubicBezTo>
                    <a:pt x="114" y="69"/>
                    <a:pt x="126" y="68"/>
                    <a:pt x="131" y="69"/>
                  </a:cubicBezTo>
                  <a:cubicBezTo>
                    <a:pt x="135" y="70"/>
                    <a:pt x="128" y="72"/>
                    <a:pt x="120" y="72"/>
                  </a:cubicBezTo>
                  <a:cubicBezTo>
                    <a:pt x="113" y="72"/>
                    <a:pt x="110" y="74"/>
                    <a:pt x="111" y="76"/>
                  </a:cubicBezTo>
                  <a:cubicBezTo>
                    <a:pt x="111" y="78"/>
                    <a:pt x="100" y="74"/>
                    <a:pt x="100" y="78"/>
                  </a:cubicBezTo>
                  <a:cubicBezTo>
                    <a:pt x="99" y="83"/>
                    <a:pt x="110" y="84"/>
                    <a:pt x="111" y="87"/>
                  </a:cubicBezTo>
                  <a:cubicBezTo>
                    <a:pt x="112" y="90"/>
                    <a:pt x="119" y="87"/>
                    <a:pt x="122" y="88"/>
                  </a:cubicBezTo>
                  <a:cubicBezTo>
                    <a:pt x="125" y="89"/>
                    <a:pt x="117" y="91"/>
                    <a:pt x="116" y="93"/>
                  </a:cubicBezTo>
                  <a:cubicBezTo>
                    <a:pt x="115" y="94"/>
                    <a:pt x="124" y="96"/>
                    <a:pt x="126" y="98"/>
                  </a:cubicBezTo>
                  <a:cubicBezTo>
                    <a:pt x="127" y="101"/>
                    <a:pt x="133" y="99"/>
                    <a:pt x="133" y="96"/>
                  </a:cubicBezTo>
                  <a:cubicBezTo>
                    <a:pt x="133" y="91"/>
                    <a:pt x="139" y="78"/>
                    <a:pt x="146" y="76"/>
                  </a:cubicBezTo>
                  <a:cubicBezTo>
                    <a:pt x="154" y="73"/>
                    <a:pt x="149" y="70"/>
                    <a:pt x="150" y="66"/>
                  </a:cubicBezTo>
                  <a:cubicBezTo>
                    <a:pt x="151" y="62"/>
                    <a:pt x="157" y="65"/>
                    <a:pt x="156" y="62"/>
                  </a:cubicBezTo>
                  <a:cubicBezTo>
                    <a:pt x="154" y="58"/>
                    <a:pt x="155" y="57"/>
                    <a:pt x="160" y="52"/>
                  </a:cubicBezTo>
                  <a:cubicBezTo>
                    <a:pt x="164" y="48"/>
                    <a:pt x="167" y="51"/>
                    <a:pt x="173" y="48"/>
                  </a:cubicBezTo>
                  <a:cubicBezTo>
                    <a:pt x="179" y="46"/>
                    <a:pt x="182" y="50"/>
                    <a:pt x="175" y="51"/>
                  </a:cubicBezTo>
                  <a:cubicBezTo>
                    <a:pt x="170" y="51"/>
                    <a:pt x="173" y="58"/>
                    <a:pt x="177" y="59"/>
                  </a:cubicBezTo>
                  <a:cubicBezTo>
                    <a:pt x="182" y="61"/>
                    <a:pt x="178" y="63"/>
                    <a:pt x="181" y="63"/>
                  </a:cubicBezTo>
                  <a:cubicBezTo>
                    <a:pt x="185" y="64"/>
                    <a:pt x="184" y="69"/>
                    <a:pt x="179" y="74"/>
                  </a:cubicBezTo>
                  <a:cubicBezTo>
                    <a:pt x="175" y="79"/>
                    <a:pt x="180" y="80"/>
                    <a:pt x="190" y="76"/>
                  </a:cubicBezTo>
                  <a:cubicBezTo>
                    <a:pt x="199" y="73"/>
                    <a:pt x="193" y="79"/>
                    <a:pt x="196" y="82"/>
                  </a:cubicBezTo>
                  <a:cubicBezTo>
                    <a:pt x="199" y="85"/>
                    <a:pt x="206" y="80"/>
                    <a:pt x="210" y="75"/>
                  </a:cubicBezTo>
                  <a:cubicBezTo>
                    <a:pt x="214" y="71"/>
                    <a:pt x="220" y="71"/>
                    <a:pt x="220" y="69"/>
                  </a:cubicBezTo>
                  <a:cubicBezTo>
                    <a:pt x="220" y="66"/>
                    <a:pt x="216" y="65"/>
                    <a:pt x="212" y="67"/>
                  </a:cubicBezTo>
                  <a:cubicBezTo>
                    <a:pt x="209" y="68"/>
                    <a:pt x="200" y="67"/>
                    <a:pt x="203" y="65"/>
                  </a:cubicBezTo>
                  <a:cubicBezTo>
                    <a:pt x="206" y="62"/>
                    <a:pt x="205" y="60"/>
                    <a:pt x="201" y="60"/>
                  </a:cubicBezTo>
                  <a:cubicBezTo>
                    <a:pt x="196" y="61"/>
                    <a:pt x="188" y="58"/>
                    <a:pt x="192" y="57"/>
                  </a:cubicBezTo>
                  <a:cubicBezTo>
                    <a:pt x="196" y="55"/>
                    <a:pt x="189" y="50"/>
                    <a:pt x="186" y="51"/>
                  </a:cubicBezTo>
                  <a:cubicBezTo>
                    <a:pt x="182" y="51"/>
                    <a:pt x="183" y="47"/>
                    <a:pt x="184" y="44"/>
                  </a:cubicBezTo>
                  <a:cubicBezTo>
                    <a:pt x="184" y="41"/>
                    <a:pt x="174" y="40"/>
                    <a:pt x="176" y="39"/>
                  </a:cubicBezTo>
                  <a:cubicBezTo>
                    <a:pt x="178" y="38"/>
                    <a:pt x="171" y="36"/>
                    <a:pt x="170" y="38"/>
                  </a:cubicBezTo>
                  <a:cubicBezTo>
                    <a:pt x="168" y="40"/>
                    <a:pt x="165" y="39"/>
                    <a:pt x="165" y="36"/>
                  </a:cubicBezTo>
                  <a:cubicBezTo>
                    <a:pt x="165" y="33"/>
                    <a:pt x="158" y="34"/>
                    <a:pt x="155" y="34"/>
                  </a:cubicBezTo>
                  <a:cubicBezTo>
                    <a:pt x="152" y="35"/>
                    <a:pt x="153" y="28"/>
                    <a:pt x="150" y="26"/>
                  </a:cubicBezTo>
                  <a:cubicBezTo>
                    <a:pt x="147" y="23"/>
                    <a:pt x="143" y="30"/>
                    <a:pt x="141" y="30"/>
                  </a:cubicBezTo>
                  <a:cubicBezTo>
                    <a:pt x="139" y="29"/>
                    <a:pt x="143" y="25"/>
                    <a:pt x="144" y="22"/>
                  </a:cubicBezTo>
                  <a:cubicBezTo>
                    <a:pt x="145" y="19"/>
                    <a:pt x="134" y="15"/>
                    <a:pt x="132" y="18"/>
                  </a:cubicBezTo>
                  <a:cubicBezTo>
                    <a:pt x="131" y="21"/>
                    <a:pt x="129" y="13"/>
                    <a:pt x="126" y="12"/>
                  </a:cubicBezTo>
                  <a:cubicBezTo>
                    <a:pt x="124" y="12"/>
                    <a:pt x="126" y="17"/>
                    <a:pt x="124" y="18"/>
                  </a:cubicBezTo>
                  <a:cubicBezTo>
                    <a:pt x="121" y="18"/>
                    <a:pt x="118" y="21"/>
                    <a:pt x="122" y="23"/>
                  </a:cubicBezTo>
                  <a:cubicBezTo>
                    <a:pt x="126" y="26"/>
                    <a:pt x="130" y="38"/>
                    <a:pt x="129" y="40"/>
                  </a:cubicBezTo>
                  <a:cubicBezTo>
                    <a:pt x="129" y="42"/>
                    <a:pt x="117" y="31"/>
                    <a:pt x="117" y="26"/>
                  </a:cubicBezTo>
                  <a:cubicBezTo>
                    <a:pt x="116" y="21"/>
                    <a:pt x="110" y="16"/>
                    <a:pt x="109" y="20"/>
                  </a:cubicBezTo>
                  <a:cubicBezTo>
                    <a:pt x="107" y="24"/>
                    <a:pt x="103" y="25"/>
                    <a:pt x="104" y="29"/>
                  </a:cubicBezTo>
                  <a:cubicBezTo>
                    <a:pt x="106" y="33"/>
                    <a:pt x="101" y="34"/>
                    <a:pt x="101" y="31"/>
                  </a:cubicBezTo>
                  <a:cubicBezTo>
                    <a:pt x="101" y="28"/>
                    <a:pt x="95" y="25"/>
                    <a:pt x="93" y="24"/>
                  </a:cubicBezTo>
                  <a:cubicBezTo>
                    <a:pt x="91" y="24"/>
                    <a:pt x="99" y="23"/>
                    <a:pt x="102" y="21"/>
                  </a:cubicBezTo>
                  <a:cubicBezTo>
                    <a:pt x="106" y="19"/>
                    <a:pt x="99" y="17"/>
                    <a:pt x="96" y="19"/>
                  </a:cubicBezTo>
                  <a:cubicBezTo>
                    <a:pt x="93" y="21"/>
                    <a:pt x="88" y="17"/>
                    <a:pt x="86" y="20"/>
                  </a:cubicBezTo>
                  <a:cubicBezTo>
                    <a:pt x="84" y="23"/>
                    <a:pt x="82" y="20"/>
                    <a:pt x="78" y="19"/>
                  </a:cubicBezTo>
                  <a:cubicBezTo>
                    <a:pt x="75" y="19"/>
                    <a:pt x="72" y="24"/>
                    <a:pt x="69" y="23"/>
                  </a:cubicBezTo>
                  <a:cubicBezTo>
                    <a:pt x="67" y="22"/>
                    <a:pt x="65" y="28"/>
                    <a:pt x="69" y="35"/>
                  </a:cubicBezTo>
                  <a:cubicBezTo>
                    <a:pt x="73" y="41"/>
                    <a:pt x="76" y="33"/>
                    <a:pt x="81" y="34"/>
                  </a:cubicBezTo>
                  <a:close/>
                  <a:moveTo>
                    <a:pt x="71" y="54"/>
                  </a:moveTo>
                  <a:cubicBezTo>
                    <a:pt x="74" y="55"/>
                    <a:pt x="76" y="60"/>
                    <a:pt x="79" y="59"/>
                  </a:cubicBezTo>
                  <a:cubicBezTo>
                    <a:pt x="80" y="59"/>
                    <a:pt x="75" y="53"/>
                    <a:pt x="71" y="50"/>
                  </a:cubicBezTo>
                  <a:cubicBezTo>
                    <a:pt x="68" y="46"/>
                    <a:pt x="68" y="43"/>
                    <a:pt x="64" y="44"/>
                  </a:cubicBezTo>
                  <a:cubicBezTo>
                    <a:pt x="59" y="45"/>
                    <a:pt x="68" y="53"/>
                    <a:pt x="71" y="54"/>
                  </a:cubicBezTo>
                  <a:close/>
                  <a:moveTo>
                    <a:pt x="150" y="13"/>
                  </a:moveTo>
                  <a:cubicBezTo>
                    <a:pt x="153" y="15"/>
                    <a:pt x="147" y="15"/>
                    <a:pt x="149" y="18"/>
                  </a:cubicBezTo>
                  <a:cubicBezTo>
                    <a:pt x="157" y="25"/>
                    <a:pt x="186" y="17"/>
                    <a:pt x="190" y="19"/>
                  </a:cubicBezTo>
                  <a:cubicBezTo>
                    <a:pt x="194" y="21"/>
                    <a:pt x="165" y="24"/>
                    <a:pt x="167" y="27"/>
                  </a:cubicBezTo>
                  <a:cubicBezTo>
                    <a:pt x="168" y="30"/>
                    <a:pt x="191" y="32"/>
                    <a:pt x="193" y="30"/>
                  </a:cubicBezTo>
                  <a:cubicBezTo>
                    <a:pt x="195" y="28"/>
                    <a:pt x="199" y="34"/>
                    <a:pt x="207" y="35"/>
                  </a:cubicBezTo>
                  <a:cubicBezTo>
                    <a:pt x="214" y="35"/>
                    <a:pt x="214" y="32"/>
                    <a:pt x="219" y="32"/>
                  </a:cubicBezTo>
                  <a:cubicBezTo>
                    <a:pt x="225" y="31"/>
                    <a:pt x="234" y="29"/>
                    <a:pt x="234" y="25"/>
                  </a:cubicBezTo>
                  <a:cubicBezTo>
                    <a:pt x="234" y="22"/>
                    <a:pt x="251" y="18"/>
                    <a:pt x="249" y="13"/>
                  </a:cubicBezTo>
                  <a:cubicBezTo>
                    <a:pt x="248" y="7"/>
                    <a:pt x="232" y="11"/>
                    <a:pt x="227" y="9"/>
                  </a:cubicBezTo>
                  <a:cubicBezTo>
                    <a:pt x="223" y="6"/>
                    <a:pt x="212" y="3"/>
                    <a:pt x="210" y="7"/>
                  </a:cubicBezTo>
                  <a:cubicBezTo>
                    <a:pt x="209" y="10"/>
                    <a:pt x="206" y="11"/>
                    <a:pt x="204" y="10"/>
                  </a:cubicBezTo>
                  <a:cubicBezTo>
                    <a:pt x="203" y="8"/>
                    <a:pt x="205" y="0"/>
                    <a:pt x="198" y="3"/>
                  </a:cubicBezTo>
                  <a:cubicBezTo>
                    <a:pt x="190" y="5"/>
                    <a:pt x="197" y="13"/>
                    <a:pt x="196" y="14"/>
                  </a:cubicBezTo>
                  <a:cubicBezTo>
                    <a:pt x="194" y="15"/>
                    <a:pt x="187" y="12"/>
                    <a:pt x="187" y="9"/>
                  </a:cubicBezTo>
                  <a:cubicBezTo>
                    <a:pt x="186" y="5"/>
                    <a:pt x="178" y="12"/>
                    <a:pt x="177" y="8"/>
                  </a:cubicBezTo>
                  <a:cubicBezTo>
                    <a:pt x="176" y="4"/>
                    <a:pt x="167" y="1"/>
                    <a:pt x="165" y="1"/>
                  </a:cubicBezTo>
                  <a:cubicBezTo>
                    <a:pt x="163" y="1"/>
                    <a:pt x="167" y="4"/>
                    <a:pt x="166" y="6"/>
                  </a:cubicBezTo>
                  <a:cubicBezTo>
                    <a:pt x="165" y="8"/>
                    <a:pt x="160" y="4"/>
                    <a:pt x="158" y="4"/>
                  </a:cubicBezTo>
                  <a:cubicBezTo>
                    <a:pt x="156" y="4"/>
                    <a:pt x="159" y="8"/>
                    <a:pt x="158" y="10"/>
                  </a:cubicBezTo>
                  <a:cubicBezTo>
                    <a:pt x="157" y="12"/>
                    <a:pt x="153" y="4"/>
                    <a:pt x="149" y="4"/>
                  </a:cubicBezTo>
                  <a:cubicBezTo>
                    <a:pt x="146" y="4"/>
                    <a:pt x="147" y="8"/>
                    <a:pt x="145" y="8"/>
                  </a:cubicBezTo>
                  <a:cubicBezTo>
                    <a:pt x="142" y="9"/>
                    <a:pt x="148" y="12"/>
                    <a:pt x="150" y="1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0136706" y="2257612"/>
              <a:ext cx="87186" cy="32221"/>
            </a:xfrm>
            <a:custGeom>
              <a:avLst/>
              <a:gdLst/>
              <a:ahLst/>
              <a:cxnLst>
                <a:cxn ang="0">
                  <a:pos x="17" y="2"/>
                </a:cxn>
                <a:cxn ang="0">
                  <a:pos x="3" y="6"/>
                </a:cxn>
                <a:cxn ang="0">
                  <a:pos x="24" y="11"/>
                </a:cxn>
                <a:cxn ang="0">
                  <a:pos x="38" y="9"/>
                </a:cxn>
                <a:cxn ang="0">
                  <a:pos x="17" y="2"/>
                </a:cxn>
              </a:cxnLst>
              <a:rect l="0" t="0" r="r" b="b"/>
              <a:pathLst>
                <a:path w="38" h="14">
                  <a:moveTo>
                    <a:pt x="17" y="2"/>
                  </a:moveTo>
                  <a:cubicBezTo>
                    <a:pt x="15" y="3"/>
                    <a:pt x="0" y="2"/>
                    <a:pt x="3" y="6"/>
                  </a:cubicBezTo>
                  <a:cubicBezTo>
                    <a:pt x="6" y="9"/>
                    <a:pt x="18" y="7"/>
                    <a:pt x="24" y="11"/>
                  </a:cubicBezTo>
                  <a:cubicBezTo>
                    <a:pt x="30" y="14"/>
                    <a:pt x="38" y="11"/>
                    <a:pt x="38" y="9"/>
                  </a:cubicBezTo>
                  <a:cubicBezTo>
                    <a:pt x="38" y="6"/>
                    <a:pt x="19" y="0"/>
                    <a:pt x="17" y="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6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8610951" y="2907716"/>
              <a:ext cx="441616" cy="439720"/>
            </a:xfrm>
            <a:custGeom>
              <a:avLst/>
              <a:gdLst/>
              <a:ahLst/>
              <a:cxnLst>
                <a:cxn ang="0">
                  <a:pos x="171" y="24"/>
                </a:cxn>
                <a:cxn ang="0">
                  <a:pos x="139" y="9"/>
                </a:cxn>
                <a:cxn ang="0">
                  <a:pos x="135" y="31"/>
                </a:cxn>
                <a:cxn ang="0">
                  <a:pos x="121" y="41"/>
                </a:cxn>
                <a:cxn ang="0">
                  <a:pos x="119" y="57"/>
                </a:cxn>
                <a:cxn ang="0">
                  <a:pos x="131" y="53"/>
                </a:cxn>
                <a:cxn ang="0">
                  <a:pos x="134" y="44"/>
                </a:cxn>
                <a:cxn ang="0">
                  <a:pos x="158" y="45"/>
                </a:cxn>
                <a:cxn ang="0">
                  <a:pos x="180" y="32"/>
                </a:cxn>
                <a:cxn ang="0">
                  <a:pos x="182" y="21"/>
                </a:cxn>
                <a:cxn ang="0">
                  <a:pos x="119" y="82"/>
                </a:cxn>
                <a:cxn ang="0">
                  <a:pos x="106" y="108"/>
                </a:cxn>
                <a:cxn ang="0">
                  <a:pos x="89" y="112"/>
                </a:cxn>
                <a:cxn ang="0">
                  <a:pos x="73" y="132"/>
                </a:cxn>
                <a:cxn ang="0">
                  <a:pos x="53" y="136"/>
                </a:cxn>
                <a:cxn ang="0">
                  <a:pos x="19" y="150"/>
                </a:cxn>
                <a:cxn ang="0">
                  <a:pos x="31" y="154"/>
                </a:cxn>
                <a:cxn ang="0">
                  <a:pos x="64" y="157"/>
                </a:cxn>
                <a:cxn ang="0">
                  <a:pos x="81" y="149"/>
                </a:cxn>
                <a:cxn ang="0">
                  <a:pos x="99" y="146"/>
                </a:cxn>
                <a:cxn ang="0">
                  <a:pos x="114" y="140"/>
                </a:cxn>
                <a:cxn ang="0">
                  <a:pos x="128" y="122"/>
                </a:cxn>
                <a:cxn ang="0">
                  <a:pos x="141" y="93"/>
                </a:cxn>
                <a:cxn ang="0">
                  <a:pos x="121" y="67"/>
                </a:cxn>
                <a:cxn ang="0">
                  <a:pos x="37" y="156"/>
                </a:cxn>
                <a:cxn ang="0">
                  <a:pos x="42" y="168"/>
                </a:cxn>
                <a:cxn ang="0">
                  <a:pos x="59" y="155"/>
                </a:cxn>
                <a:cxn ang="0">
                  <a:pos x="25" y="166"/>
                </a:cxn>
                <a:cxn ang="0">
                  <a:pos x="7" y="163"/>
                </a:cxn>
                <a:cxn ang="0">
                  <a:pos x="8" y="168"/>
                </a:cxn>
                <a:cxn ang="0">
                  <a:pos x="14" y="193"/>
                </a:cxn>
                <a:cxn ang="0">
                  <a:pos x="25" y="166"/>
                </a:cxn>
              </a:cxnLst>
              <a:rect l="0" t="0" r="r" b="b"/>
              <a:pathLst>
                <a:path w="193" h="193">
                  <a:moveTo>
                    <a:pt x="182" y="21"/>
                  </a:moveTo>
                  <a:cubicBezTo>
                    <a:pt x="180" y="18"/>
                    <a:pt x="176" y="23"/>
                    <a:pt x="171" y="24"/>
                  </a:cubicBezTo>
                  <a:cubicBezTo>
                    <a:pt x="166" y="25"/>
                    <a:pt x="150" y="12"/>
                    <a:pt x="146" y="6"/>
                  </a:cubicBezTo>
                  <a:cubicBezTo>
                    <a:pt x="142" y="0"/>
                    <a:pt x="136" y="5"/>
                    <a:pt x="139" y="9"/>
                  </a:cubicBezTo>
                  <a:cubicBezTo>
                    <a:pt x="142" y="13"/>
                    <a:pt x="138" y="15"/>
                    <a:pt x="138" y="21"/>
                  </a:cubicBezTo>
                  <a:cubicBezTo>
                    <a:pt x="138" y="27"/>
                    <a:pt x="134" y="27"/>
                    <a:pt x="135" y="31"/>
                  </a:cubicBezTo>
                  <a:cubicBezTo>
                    <a:pt x="136" y="35"/>
                    <a:pt x="130" y="34"/>
                    <a:pt x="126" y="35"/>
                  </a:cubicBezTo>
                  <a:cubicBezTo>
                    <a:pt x="122" y="35"/>
                    <a:pt x="126" y="39"/>
                    <a:pt x="121" y="41"/>
                  </a:cubicBezTo>
                  <a:cubicBezTo>
                    <a:pt x="117" y="43"/>
                    <a:pt x="117" y="47"/>
                    <a:pt x="119" y="48"/>
                  </a:cubicBezTo>
                  <a:cubicBezTo>
                    <a:pt x="122" y="49"/>
                    <a:pt x="120" y="54"/>
                    <a:pt x="119" y="57"/>
                  </a:cubicBezTo>
                  <a:cubicBezTo>
                    <a:pt x="119" y="60"/>
                    <a:pt x="122" y="57"/>
                    <a:pt x="125" y="54"/>
                  </a:cubicBezTo>
                  <a:cubicBezTo>
                    <a:pt x="128" y="51"/>
                    <a:pt x="130" y="56"/>
                    <a:pt x="131" y="53"/>
                  </a:cubicBezTo>
                  <a:cubicBezTo>
                    <a:pt x="132" y="50"/>
                    <a:pt x="124" y="48"/>
                    <a:pt x="124" y="45"/>
                  </a:cubicBezTo>
                  <a:cubicBezTo>
                    <a:pt x="125" y="41"/>
                    <a:pt x="130" y="46"/>
                    <a:pt x="134" y="44"/>
                  </a:cubicBezTo>
                  <a:cubicBezTo>
                    <a:pt x="138" y="42"/>
                    <a:pt x="146" y="43"/>
                    <a:pt x="151" y="48"/>
                  </a:cubicBezTo>
                  <a:cubicBezTo>
                    <a:pt x="156" y="52"/>
                    <a:pt x="157" y="50"/>
                    <a:pt x="158" y="45"/>
                  </a:cubicBezTo>
                  <a:cubicBezTo>
                    <a:pt x="159" y="40"/>
                    <a:pt x="167" y="37"/>
                    <a:pt x="174" y="37"/>
                  </a:cubicBezTo>
                  <a:cubicBezTo>
                    <a:pt x="182" y="37"/>
                    <a:pt x="183" y="34"/>
                    <a:pt x="180" y="32"/>
                  </a:cubicBezTo>
                  <a:cubicBezTo>
                    <a:pt x="178" y="30"/>
                    <a:pt x="193" y="21"/>
                    <a:pt x="193" y="18"/>
                  </a:cubicBezTo>
                  <a:cubicBezTo>
                    <a:pt x="192" y="15"/>
                    <a:pt x="185" y="24"/>
                    <a:pt x="182" y="21"/>
                  </a:cubicBezTo>
                  <a:close/>
                  <a:moveTo>
                    <a:pt x="121" y="67"/>
                  </a:moveTo>
                  <a:cubicBezTo>
                    <a:pt x="118" y="68"/>
                    <a:pt x="115" y="79"/>
                    <a:pt x="119" y="82"/>
                  </a:cubicBezTo>
                  <a:cubicBezTo>
                    <a:pt x="123" y="85"/>
                    <a:pt x="113" y="90"/>
                    <a:pt x="113" y="97"/>
                  </a:cubicBezTo>
                  <a:cubicBezTo>
                    <a:pt x="114" y="103"/>
                    <a:pt x="107" y="103"/>
                    <a:pt x="106" y="108"/>
                  </a:cubicBezTo>
                  <a:cubicBezTo>
                    <a:pt x="105" y="112"/>
                    <a:pt x="102" y="111"/>
                    <a:pt x="96" y="116"/>
                  </a:cubicBezTo>
                  <a:cubicBezTo>
                    <a:pt x="90" y="120"/>
                    <a:pt x="87" y="115"/>
                    <a:pt x="89" y="112"/>
                  </a:cubicBezTo>
                  <a:cubicBezTo>
                    <a:pt x="90" y="109"/>
                    <a:pt x="80" y="114"/>
                    <a:pt x="80" y="121"/>
                  </a:cubicBezTo>
                  <a:cubicBezTo>
                    <a:pt x="81" y="128"/>
                    <a:pt x="71" y="129"/>
                    <a:pt x="73" y="132"/>
                  </a:cubicBezTo>
                  <a:cubicBezTo>
                    <a:pt x="76" y="136"/>
                    <a:pt x="66" y="138"/>
                    <a:pt x="66" y="135"/>
                  </a:cubicBezTo>
                  <a:cubicBezTo>
                    <a:pt x="67" y="132"/>
                    <a:pt x="60" y="133"/>
                    <a:pt x="53" y="136"/>
                  </a:cubicBezTo>
                  <a:cubicBezTo>
                    <a:pt x="45" y="139"/>
                    <a:pt x="40" y="133"/>
                    <a:pt x="36" y="137"/>
                  </a:cubicBezTo>
                  <a:cubicBezTo>
                    <a:pt x="32" y="142"/>
                    <a:pt x="24" y="149"/>
                    <a:pt x="19" y="150"/>
                  </a:cubicBezTo>
                  <a:cubicBezTo>
                    <a:pt x="13" y="151"/>
                    <a:pt x="16" y="158"/>
                    <a:pt x="19" y="157"/>
                  </a:cubicBezTo>
                  <a:cubicBezTo>
                    <a:pt x="23" y="155"/>
                    <a:pt x="29" y="157"/>
                    <a:pt x="31" y="154"/>
                  </a:cubicBezTo>
                  <a:cubicBezTo>
                    <a:pt x="33" y="151"/>
                    <a:pt x="49" y="147"/>
                    <a:pt x="59" y="147"/>
                  </a:cubicBezTo>
                  <a:cubicBezTo>
                    <a:pt x="69" y="147"/>
                    <a:pt x="63" y="152"/>
                    <a:pt x="64" y="157"/>
                  </a:cubicBezTo>
                  <a:cubicBezTo>
                    <a:pt x="65" y="162"/>
                    <a:pt x="73" y="161"/>
                    <a:pt x="77" y="156"/>
                  </a:cubicBezTo>
                  <a:cubicBezTo>
                    <a:pt x="82" y="151"/>
                    <a:pt x="85" y="152"/>
                    <a:pt x="81" y="149"/>
                  </a:cubicBezTo>
                  <a:cubicBezTo>
                    <a:pt x="78" y="146"/>
                    <a:pt x="82" y="143"/>
                    <a:pt x="85" y="147"/>
                  </a:cubicBezTo>
                  <a:cubicBezTo>
                    <a:pt x="87" y="151"/>
                    <a:pt x="96" y="151"/>
                    <a:pt x="99" y="146"/>
                  </a:cubicBezTo>
                  <a:cubicBezTo>
                    <a:pt x="102" y="141"/>
                    <a:pt x="103" y="147"/>
                    <a:pt x="107" y="147"/>
                  </a:cubicBezTo>
                  <a:cubicBezTo>
                    <a:pt x="111" y="146"/>
                    <a:pt x="114" y="136"/>
                    <a:pt x="114" y="140"/>
                  </a:cubicBezTo>
                  <a:cubicBezTo>
                    <a:pt x="114" y="144"/>
                    <a:pt x="121" y="143"/>
                    <a:pt x="125" y="138"/>
                  </a:cubicBezTo>
                  <a:cubicBezTo>
                    <a:pt x="129" y="134"/>
                    <a:pt x="125" y="126"/>
                    <a:pt x="128" y="122"/>
                  </a:cubicBezTo>
                  <a:cubicBezTo>
                    <a:pt x="130" y="118"/>
                    <a:pt x="133" y="110"/>
                    <a:pt x="130" y="105"/>
                  </a:cubicBezTo>
                  <a:cubicBezTo>
                    <a:pt x="128" y="100"/>
                    <a:pt x="136" y="97"/>
                    <a:pt x="141" y="93"/>
                  </a:cubicBezTo>
                  <a:cubicBezTo>
                    <a:pt x="145" y="89"/>
                    <a:pt x="136" y="69"/>
                    <a:pt x="135" y="63"/>
                  </a:cubicBezTo>
                  <a:cubicBezTo>
                    <a:pt x="135" y="57"/>
                    <a:pt x="124" y="65"/>
                    <a:pt x="121" y="67"/>
                  </a:cubicBezTo>
                  <a:close/>
                  <a:moveTo>
                    <a:pt x="48" y="153"/>
                  </a:moveTo>
                  <a:cubicBezTo>
                    <a:pt x="46" y="157"/>
                    <a:pt x="42" y="155"/>
                    <a:pt x="37" y="156"/>
                  </a:cubicBezTo>
                  <a:cubicBezTo>
                    <a:pt x="32" y="157"/>
                    <a:pt x="32" y="170"/>
                    <a:pt x="35" y="171"/>
                  </a:cubicBezTo>
                  <a:cubicBezTo>
                    <a:pt x="38" y="172"/>
                    <a:pt x="41" y="172"/>
                    <a:pt x="42" y="168"/>
                  </a:cubicBezTo>
                  <a:cubicBezTo>
                    <a:pt x="43" y="164"/>
                    <a:pt x="48" y="163"/>
                    <a:pt x="51" y="165"/>
                  </a:cubicBezTo>
                  <a:cubicBezTo>
                    <a:pt x="55" y="166"/>
                    <a:pt x="59" y="160"/>
                    <a:pt x="59" y="155"/>
                  </a:cubicBezTo>
                  <a:cubicBezTo>
                    <a:pt x="59" y="150"/>
                    <a:pt x="49" y="150"/>
                    <a:pt x="48" y="153"/>
                  </a:cubicBezTo>
                  <a:close/>
                  <a:moveTo>
                    <a:pt x="25" y="166"/>
                  </a:moveTo>
                  <a:cubicBezTo>
                    <a:pt x="25" y="163"/>
                    <a:pt x="17" y="164"/>
                    <a:pt x="17" y="161"/>
                  </a:cubicBezTo>
                  <a:cubicBezTo>
                    <a:pt x="17" y="158"/>
                    <a:pt x="12" y="159"/>
                    <a:pt x="7" y="163"/>
                  </a:cubicBezTo>
                  <a:cubicBezTo>
                    <a:pt x="2" y="167"/>
                    <a:pt x="0" y="167"/>
                    <a:pt x="2" y="171"/>
                  </a:cubicBezTo>
                  <a:cubicBezTo>
                    <a:pt x="4" y="175"/>
                    <a:pt x="7" y="171"/>
                    <a:pt x="8" y="168"/>
                  </a:cubicBezTo>
                  <a:cubicBezTo>
                    <a:pt x="10" y="164"/>
                    <a:pt x="13" y="173"/>
                    <a:pt x="10" y="179"/>
                  </a:cubicBezTo>
                  <a:cubicBezTo>
                    <a:pt x="7" y="185"/>
                    <a:pt x="10" y="193"/>
                    <a:pt x="14" y="193"/>
                  </a:cubicBezTo>
                  <a:cubicBezTo>
                    <a:pt x="18" y="192"/>
                    <a:pt x="22" y="180"/>
                    <a:pt x="27" y="174"/>
                  </a:cubicBezTo>
                  <a:cubicBezTo>
                    <a:pt x="32" y="167"/>
                    <a:pt x="25" y="170"/>
                    <a:pt x="25" y="16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7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8290638" y="3690494"/>
              <a:ext cx="248291" cy="348744"/>
            </a:xfrm>
            <a:custGeom>
              <a:avLst/>
              <a:gdLst/>
              <a:ahLst/>
              <a:cxnLst>
                <a:cxn ang="0">
                  <a:pos x="58" y="59"/>
                </a:cxn>
                <a:cxn ang="0">
                  <a:pos x="72" y="69"/>
                </a:cxn>
                <a:cxn ang="0">
                  <a:pos x="75" y="79"/>
                </a:cxn>
                <a:cxn ang="0">
                  <a:pos x="80" y="84"/>
                </a:cxn>
                <a:cxn ang="0">
                  <a:pos x="85" y="98"/>
                </a:cxn>
                <a:cxn ang="0">
                  <a:pos x="89" y="95"/>
                </a:cxn>
                <a:cxn ang="0">
                  <a:pos x="94" y="88"/>
                </a:cxn>
                <a:cxn ang="0">
                  <a:pos x="91" y="75"/>
                </a:cxn>
                <a:cxn ang="0">
                  <a:pos x="78" y="66"/>
                </a:cxn>
                <a:cxn ang="0">
                  <a:pos x="71" y="56"/>
                </a:cxn>
                <a:cxn ang="0">
                  <a:pos x="55" y="53"/>
                </a:cxn>
                <a:cxn ang="0">
                  <a:pos x="49" y="43"/>
                </a:cxn>
                <a:cxn ang="0">
                  <a:pos x="57" y="27"/>
                </a:cxn>
                <a:cxn ang="0">
                  <a:pos x="56" y="8"/>
                </a:cxn>
                <a:cxn ang="0">
                  <a:pos x="54" y="4"/>
                </a:cxn>
                <a:cxn ang="0">
                  <a:pos x="38" y="3"/>
                </a:cxn>
                <a:cxn ang="0">
                  <a:pos x="36" y="29"/>
                </a:cxn>
                <a:cxn ang="0">
                  <a:pos x="30" y="28"/>
                </a:cxn>
                <a:cxn ang="0">
                  <a:pos x="33" y="43"/>
                </a:cxn>
                <a:cxn ang="0">
                  <a:pos x="36" y="52"/>
                </a:cxn>
                <a:cxn ang="0">
                  <a:pos x="48" y="56"/>
                </a:cxn>
                <a:cxn ang="0">
                  <a:pos x="58" y="59"/>
                </a:cxn>
                <a:cxn ang="0">
                  <a:pos x="37" y="62"/>
                </a:cxn>
                <a:cxn ang="0">
                  <a:pos x="47" y="74"/>
                </a:cxn>
                <a:cxn ang="0">
                  <a:pos x="37" y="62"/>
                </a:cxn>
                <a:cxn ang="0">
                  <a:pos x="55" y="94"/>
                </a:cxn>
                <a:cxn ang="0">
                  <a:pos x="61" y="91"/>
                </a:cxn>
                <a:cxn ang="0">
                  <a:pos x="62" y="100"/>
                </a:cxn>
                <a:cxn ang="0">
                  <a:pos x="64" y="112"/>
                </a:cxn>
                <a:cxn ang="0">
                  <a:pos x="76" y="94"/>
                </a:cxn>
                <a:cxn ang="0">
                  <a:pos x="72" y="92"/>
                </a:cxn>
                <a:cxn ang="0">
                  <a:pos x="55" y="79"/>
                </a:cxn>
                <a:cxn ang="0">
                  <a:pos x="55" y="94"/>
                </a:cxn>
                <a:cxn ang="0">
                  <a:pos x="16" y="101"/>
                </a:cxn>
                <a:cxn ang="0">
                  <a:pos x="2" y="119"/>
                </a:cxn>
                <a:cxn ang="0">
                  <a:pos x="22" y="100"/>
                </a:cxn>
                <a:cxn ang="0">
                  <a:pos x="25" y="88"/>
                </a:cxn>
                <a:cxn ang="0">
                  <a:pos x="16" y="101"/>
                </a:cxn>
                <a:cxn ang="0">
                  <a:pos x="75" y="107"/>
                </a:cxn>
                <a:cxn ang="0">
                  <a:pos x="84" y="102"/>
                </a:cxn>
                <a:cxn ang="0">
                  <a:pos x="75" y="107"/>
                </a:cxn>
                <a:cxn ang="0">
                  <a:pos x="105" y="133"/>
                </a:cxn>
                <a:cxn ang="0">
                  <a:pos x="103" y="108"/>
                </a:cxn>
                <a:cxn ang="0">
                  <a:pos x="95" y="108"/>
                </a:cxn>
                <a:cxn ang="0">
                  <a:pos x="88" y="114"/>
                </a:cxn>
                <a:cxn ang="0">
                  <a:pos x="82" y="119"/>
                </a:cxn>
                <a:cxn ang="0">
                  <a:pos x="72" y="116"/>
                </a:cxn>
                <a:cxn ang="0">
                  <a:pos x="59" y="124"/>
                </a:cxn>
                <a:cxn ang="0">
                  <a:pos x="54" y="136"/>
                </a:cxn>
                <a:cxn ang="0">
                  <a:pos x="64" y="130"/>
                </a:cxn>
                <a:cxn ang="0">
                  <a:pos x="73" y="127"/>
                </a:cxn>
                <a:cxn ang="0">
                  <a:pos x="82" y="147"/>
                </a:cxn>
                <a:cxn ang="0">
                  <a:pos x="94" y="153"/>
                </a:cxn>
                <a:cxn ang="0">
                  <a:pos x="93" y="138"/>
                </a:cxn>
                <a:cxn ang="0">
                  <a:pos x="105" y="133"/>
                </a:cxn>
              </a:cxnLst>
              <a:rect l="0" t="0" r="r" b="b"/>
              <a:pathLst>
                <a:path w="109" h="153">
                  <a:moveTo>
                    <a:pt x="58" y="59"/>
                  </a:moveTo>
                  <a:cubicBezTo>
                    <a:pt x="64" y="58"/>
                    <a:pt x="73" y="66"/>
                    <a:pt x="72" y="69"/>
                  </a:cubicBezTo>
                  <a:cubicBezTo>
                    <a:pt x="70" y="72"/>
                    <a:pt x="72" y="82"/>
                    <a:pt x="75" y="79"/>
                  </a:cubicBezTo>
                  <a:cubicBezTo>
                    <a:pt x="78" y="76"/>
                    <a:pt x="83" y="80"/>
                    <a:pt x="80" y="84"/>
                  </a:cubicBezTo>
                  <a:cubicBezTo>
                    <a:pt x="77" y="88"/>
                    <a:pt x="84" y="93"/>
                    <a:pt x="85" y="98"/>
                  </a:cubicBezTo>
                  <a:cubicBezTo>
                    <a:pt x="86" y="103"/>
                    <a:pt x="90" y="99"/>
                    <a:pt x="89" y="95"/>
                  </a:cubicBezTo>
                  <a:cubicBezTo>
                    <a:pt x="88" y="91"/>
                    <a:pt x="90" y="91"/>
                    <a:pt x="94" y="88"/>
                  </a:cubicBezTo>
                  <a:cubicBezTo>
                    <a:pt x="98" y="85"/>
                    <a:pt x="94" y="80"/>
                    <a:pt x="91" y="75"/>
                  </a:cubicBezTo>
                  <a:cubicBezTo>
                    <a:pt x="88" y="69"/>
                    <a:pt x="78" y="71"/>
                    <a:pt x="78" y="66"/>
                  </a:cubicBezTo>
                  <a:cubicBezTo>
                    <a:pt x="78" y="60"/>
                    <a:pt x="71" y="59"/>
                    <a:pt x="71" y="56"/>
                  </a:cubicBezTo>
                  <a:cubicBezTo>
                    <a:pt x="70" y="53"/>
                    <a:pt x="61" y="50"/>
                    <a:pt x="55" y="53"/>
                  </a:cubicBezTo>
                  <a:cubicBezTo>
                    <a:pt x="49" y="56"/>
                    <a:pt x="53" y="47"/>
                    <a:pt x="49" y="43"/>
                  </a:cubicBezTo>
                  <a:cubicBezTo>
                    <a:pt x="45" y="38"/>
                    <a:pt x="52" y="32"/>
                    <a:pt x="57" y="27"/>
                  </a:cubicBezTo>
                  <a:cubicBezTo>
                    <a:pt x="62" y="21"/>
                    <a:pt x="56" y="12"/>
                    <a:pt x="56" y="8"/>
                  </a:cubicBezTo>
                  <a:cubicBezTo>
                    <a:pt x="57" y="4"/>
                    <a:pt x="57" y="3"/>
                    <a:pt x="54" y="4"/>
                  </a:cubicBezTo>
                  <a:cubicBezTo>
                    <a:pt x="52" y="6"/>
                    <a:pt x="42" y="0"/>
                    <a:pt x="38" y="3"/>
                  </a:cubicBezTo>
                  <a:cubicBezTo>
                    <a:pt x="34" y="6"/>
                    <a:pt x="38" y="28"/>
                    <a:pt x="36" y="29"/>
                  </a:cubicBezTo>
                  <a:cubicBezTo>
                    <a:pt x="34" y="31"/>
                    <a:pt x="31" y="26"/>
                    <a:pt x="30" y="28"/>
                  </a:cubicBezTo>
                  <a:cubicBezTo>
                    <a:pt x="29" y="31"/>
                    <a:pt x="31" y="43"/>
                    <a:pt x="33" y="43"/>
                  </a:cubicBezTo>
                  <a:cubicBezTo>
                    <a:pt x="36" y="43"/>
                    <a:pt x="38" y="47"/>
                    <a:pt x="36" y="52"/>
                  </a:cubicBezTo>
                  <a:cubicBezTo>
                    <a:pt x="35" y="57"/>
                    <a:pt x="41" y="58"/>
                    <a:pt x="48" y="56"/>
                  </a:cubicBezTo>
                  <a:cubicBezTo>
                    <a:pt x="54" y="53"/>
                    <a:pt x="52" y="60"/>
                    <a:pt x="58" y="59"/>
                  </a:cubicBezTo>
                  <a:close/>
                  <a:moveTo>
                    <a:pt x="37" y="62"/>
                  </a:moveTo>
                  <a:cubicBezTo>
                    <a:pt x="38" y="67"/>
                    <a:pt x="40" y="76"/>
                    <a:pt x="47" y="74"/>
                  </a:cubicBezTo>
                  <a:cubicBezTo>
                    <a:pt x="55" y="72"/>
                    <a:pt x="36" y="58"/>
                    <a:pt x="37" y="62"/>
                  </a:cubicBezTo>
                  <a:close/>
                  <a:moveTo>
                    <a:pt x="55" y="94"/>
                  </a:moveTo>
                  <a:cubicBezTo>
                    <a:pt x="57" y="94"/>
                    <a:pt x="61" y="94"/>
                    <a:pt x="61" y="91"/>
                  </a:cubicBezTo>
                  <a:cubicBezTo>
                    <a:pt x="62" y="88"/>
                    <a:pt x="65" y="97"/>
                    <a:pt x="62" y="100"/>
                  </a:cubicBezTo>
                  <a:cubicBezTo>
                    <a:pt x="59" y="103"/>
                    <a:pt x="59" y="111"/>
                    <a:pt x="64" y="112"/>
                  </a:cubicBezTo>
                  <a:cubicBezTo>
                    <a:pt x="69" y="113"/>
                    <a:pt x="77" y="97"/>
                    <a:pt x="76" y="94"/>
                  </a:cubicBezTo>
                  <a:cubicBezTo>
                    <a:pt x="75" y="91"/>
                    <a:pt x="71" y="96"/>
                    <a:pt x="72" y="92"/>
                  </a:cubicBezTo>
                  <a:cubicBezTo>
                    <a:pt x="73" y="88"/>
                    <a:pt x="60" y="78"/>
                    <a:pt x="55" y="79"/>
                  </a:cubicBezTo>
                  <a:cubicBezTo>
                    <a:pt x="50" y="80"/>
                    <a:pt x="51" y="95"/>
                    <a:pt x="55" y="94"/>
                  </a:cubicBezTo>
                  <a:close/>
                  <a:moveTo>
                    <a:pt x="16" y="101"/>
                  </a:moveTo>
                  <a:cubicBezTo>
                    <a:pt x="11" y="107"/>
                    <a:pt x="0" y="116"/>
                    <a:pt x="2" y="119"/>
                  </a:cubicBezTo>
                  <a:cubicBezTo>
                    <a:pt x="4" y="123"/>
                    <a:pt x="16" y="105"/>
                    <a:pt x="22" y="100"/>
                  </a:cubicBezTo>
                  <a:cubicBezTo>
                    <a:pt x="28" y="96"/>
                    <a:pt x="27" y="92"/>
                    <a:pt x="25" y="88"/>
                  </a:cubicBezTo>
                  <a:cubicBezTo>
                    <a:pt x="23" y="84"/>
                    <a:pt x="21" y="95"/>
                    <a:pt x="16" y="101"/>
                  </a:cubicBezTo>
                  <a:close/>
                  <a:moveTo>
                    <a:pt x="75" y="107"/>
                  </a:moveTo>
                  <a:cubicBezTo>
                    <a:pt x="77" y="111"/>
                    <a:pt x="86" y="105"/>
                    <a:pt x="84" y="102"/>
                  </a:cubicBezTo>
                  <a:cubicBezTo>
                    <a:pt x="81" y="99"/>
                    <a:pt x="74" y="105"/>
                    <a:pt x="75" y="107"/>
                  </a:cubicBezTo>
                  <a:close/>
                  <a:moveTo>
                    <a:pt x="105" y="133"/>
                  </a:moveTo>
                  <a:cubicBezTo>
                    <a:pt x="109" y="129"/>
                    <a:pt x="103" y="116"/>
                    <a:pt x="103" y="108"/>
                  </a:cubicBezTo>
                  <a:cubicBezTo>
                    <a:pt x="103" y="100"/>
                    <a:pt x="92" y="103"/>
                    <a:pt x="95" y="108"/>
                  </a:cubicBezTo>
                  <a:cubicBezTo>
                    <a:pt x="98" y="113"/>
                    <a:pt x="89" y="109"/>
                    <a:pt x="88" y="114"/>
                  </a:cubicBezTo>
                  <a:cubicBezTo>
                    <a:pt x="88" y="119"/>
                    <a:pt x="81" y="115"/>
                    <a:pt x="82" y="119"/>
                  </a:cubicBezTo>
                  <a:cubicBezTo>
                    <a:pt x="82" y="123"/>
                    <a:pt x="75" y="119"/>
                    <a:pt x="72" y="116"/>
                  </a:cubicBezTo>
                  <a:cubicBezTo>
                    <a:pt x="68" y="114"/>
                    <a:pt x="64" y="123"/>
                    <a:pt x="59" y="124"/>
                  </a:cubicBezTo>
                  <a:cubicBezTo>
                    <a:pt x="54" y="125"/>
                    <a:pt x="51" y="136"/>
                    <a:pt x="54" y="136"/>
                  </a:cubicBezTo>
                  <a:cubicBezTo>
                    <a:pt x="58" y="135"/>
                    <a:pt x="60" y="130"/>
                    <a:pt x="64" y="130"/>
                  </a:cubicBezTo>
                  <a:cubicBezTo>
                    <a:pt x="68" y="131"/>
                    <a:pt x="67" y="126"/>
                    <a:pt x="73" y="127"/>
                  </a:cubicBezTo>
                  <a:cubicBezTo>
                    <a:pt x="78" y="128"/>
                    <a:pt x="74" y="145"/>
                    <a:pt x="82" y="147"/>
                  </a:cubicBezTo>
                  <a:cubicBezTo>
                    <a:pt x="90" y="148"/>
                    <a:pt x="90" y="153"/>
                    <a:pt x="94" y="153"/>
                  </a:cubicBezTo>
                  <a:cubicBezTo>
                    <a:pt x="97" y="153"/>
                    <a:pt x="93" y="142"/>
                    <a:pt x="93" y="138"/>
                  </a:cubicBezTo>
                  <a:cubicBezTo>
                    <a:pt x="94" y="135"/>
                    <a:pt x="101" y="138"/>
                    <a:pt x="105" y="13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8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8906625" y="4251516"/>
              <a:ext cx="326000" cy="206593"/>
            </a:xfrm>
            <a:custGeom>
              <a:avLst/>
              <a:gdLst/>
              <a:ahLst/>
              <a:cxnLst>
                <a:cxn ang="0">
                  <a:pos x="102" y="84"/>
                </a:cxn>
                <a:cxn ang="0">
                  <a:pos x="94" y="76"/>
                </a:cxn>
                <a:cxn ang="0">
                  <a:pos x="83" y="71"/>
                </a:cxn>
                <a:cxn ang="0">
                  <a:pos x="75" y="56"/>
                </a:cxn>
                <a:cxn ang="0">
                  <a:pos x="72" y="47"/>
                </a:cxn>
                <a:cxn ang="0">
                  <a:pos x="75" y="39"/>
                </a:cxn>
                <a:cxn ang="0">
                  <a:pos x="52" y="27"/>
                </a:cxn>
                <a:cxn ang="0">
                  <a:pos x="8" y="3"/>
                </a:cxn>
                <a:cxn ang="0">
                  <a:pos x="0" y="0"/>
                </a:cxn>
                <a:cxn ang="0">
                  <a:pos x="0" y="71"/>
                </a:cxn>
                <a:cxn ang="0">
                  <a:pos x="12" y="75"/>
                </a:cxn>
                <a:cxn ang="0">
                  <a:pos x="25" y="68"/>
                </a:cxn>
                <a:cxn ang="0">
                  <a:pos x="32" y="59"/>
                </a:cxn>
                <a:cxn ang="0">
                  <a:pos x="56" y="65"/>
                </a:cxn>
                <a:cxn ang="0">
                  <a:pos x="80" y="87"/>
                </a:cxn>
                <a:cxn ang="0">
                  <a:pos x="104" y="91"/>
                </a:cxn>
                <a:cxn ang="0">
                  <a:pos x="102" y="84"/>
                </a:cxn>
                <a:cxn ang="0">
                  <a:pos x="121" y="25"/>
                </a:cxn>
                <a:cxn ang="0">
                  <a:pos x="108" y="33"/>
                </a:cxn>
                <a:cxn ang="0">
                  <a:pos x="84" y="34"/>
                </a:cxn>
                <a:cxn ang="0">
                  <a:pos x="102" y="42"/>
                </a:cxn>
                <a:cxn ang="0">
                  <a:pos x="125" y="30"/>
                </a:cxn>
                <a:cxn ang="0">
                  <a:pos x="129" y="20"/>
                </a:cxn>
                <a:cxn ang="0">
                  <a:pos x="121" y="25"/>
                </a:cxn>
                <a:cxn ang="0">
                  <a:pos x="133" y="12"/>
                </a:cxn>
                <a:cxn ang="0">
                  <a:pos x="129" y="13"/>
                </a:cxn>
                <a:cxn ang="0">
                  <a:pos x="136" y="23"/>
                </a:cxn>
                <a:cxn ang="0">
                  <a:pos x="133" y="12"/>
                </a:cxn>
              </a:cxnLst>
              <a:rect l="0" t="0" r="r" b="b"/>
              <a:pathLst>
                <a:path w="143" h="91">
                  <a:moveTo>
                    <a:pt x="102" y="84"/>
                  </a:moveTo>
                  <a:cubicBezTo>
                    <a:pt x="100" y="83"/>
                    <a:pt x="94" y="79"/>
                    <a:pt x="94" y="76"/>
                  </a:cubicBezTo>
                  <a:cubicBezTo>
                    <a:pt x="95" y="74"/>
                    <a:pt x="88" y="74"/>
                    <a:pt x="83" y="71"/>
                  </a:cubicBezTo>
                  <a:cubicBezTo>
                    <a:pt x="78" y="68"/>
                    <a:pt x="80" y="58"/>
                    <a:pt x="75" y="56"/>
                  </a:cubicBezTo>
                  <a:cubicBezTo>
                    <a:pt x="70" y="54"/>
                    <a:pt x="66" y="46"/>
                    <a:pt x="72" y="47"/>
                  </a:cubicBezTo>
                  <a:cubicBezTo>
                    <a:pt x="78" y="47"/>
                    <a:pt x="79" y="44"/>
                    <a:pt x="75" y="39"/>
                  </a:cubicBezTo>
                  <a:cubicBezTo>
                    <a:pt x="70" y="35"/>
                    <a:pt x="53" y="33"/>
                    <a:pt x="52" y="27"/>
                  </a:cubicBezTo>
                  <a:cubicBezTo>
                    <a:pt x="52" y="21"/>
                    <a:pt x="21" y="6"/>
                    <a:pt x="8" y="3"/>
                  </a:cubicBezTo>
                  <a:cubicBezTo>
                    <a:pt x="6" y="2"/>
                    <a:pt x="3" y="1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3" y="73"/>
                    <a:pt x="7" y="75"/>
                    <a:pt x="12" y="75"/>
                  </a:cubicBezTo>
                  <a:cubicBezTo>
                    <a:pt x="26" y="76"/>
                    <a:pt x="23" y="68"/>
                    <a:pt x="25" y="68"/>
                  </a:cubicBezTo>
                  <a:cubicBezTo>
                    <a:pt x="28" y="68"/>
                    <a:pt x="29" y="63"/>
                    <a:pt x="32" y="59"/>
                  </a:cubicBezTo>
                  <a:cubicBezTo>
                    <a:pt x="35" y="56"/>
                    <a:pt x="48" y="59"/>
                    <a:pt x="56" y="65"/>
                  </a:cubicBezTo>
                  <a:cubicBezTo>
                    <a:pt x="63" y="71"/>
                    <a:pt x="72" y="88"/>
                    <a:pt x="80" y="87"/>
                  </a:cubicBezTo>
                  <a:cubicBezTo>
                    <a:pt x="88" y="85"/>
                    <a:pt x="97" y="91"/>
                    <a:pt x="104" y="91"/>
                  </a:cubicBezTo>
                  <a:cubicBezTo>
                    <a:pt x="111" y="91"/>
                    <a:pt x="105" y="85"/>
                    <a:pt x="102" y="84"/>
                  </a:cubicBezTo>
                  <a:close/>
                  <a:moveTo>
                    <a:pt x="121" y="25"/>
                  </a:moveTo>
                  <a:cubicBezTo>
                    <a:pt x="121" y="28"/>
                    <a:pt x="116" y="29"/>
                    <a:pt x="108" y="33"/>
                  </a:cubicBezTo>
                  <a:cubicBezTo>
                    <a:pt x="99" y="36"/>
                    <a:pt x="84" y="29"/>
                    <a:pt x="84" y="34"/>
                  </a:cubicBezTo>
                  <a:cubicBezTo>
                    <a:pt x="83" y="37"/>
                    <a:pt x="93" y="42"/>
                    <a:pt x="102" y="42"/>
                  </a:cubicBezTo>
                  <a:cubicBezTo>
                    <a:pt x="111" y="42"/>
                    <a:pt x="125" y="33"/>
                    <a:pt x="125" y="30"/>
                  </a:cubicBezTo>
                  <a:cubicBezTo>
                    <a:pt x="125" y="28"/>
                    <a:pt x="131" y="23"/>
                    <a:pt x="129" y="20"/>
                  </a:cubicBezTo>
                  <a:cubicBezTo>
                    <a:pt x="126" y="18"/>
                    <a:pt x="121" y="22"/>
                    <a:pt x="121" y="25"/>
                  </a:cubicBezTo>
                  <a:close/>
                  <a:moveTo>
                    <a:pt x="133" y="12"/>
                  </a:moveTo>
                  <a:cubicBezTo>
                    <a:pt x="127" y="9"/>
                    <a:pt x="123" y="6"/>
                    <a:pt x="129" y="13"/>
                  </a:cubicBezTo>
                  <a:cubicBezTo>
                    <a:pt x="136" y="19"/>
                    <a:pt x="132" y="24"/>
                    <a:pt x="136" y="23"/>
                  </a:cubicBezTo>
                  <a:cubicBezTo>
                    <a:pt x="143" y="22"/>
                    <a:pt x="138" y="15"/>
                    <a:pt x="133" y="1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4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352441" y="3927413"/>
              <a:ext cx="54966" cy="10613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" y="11"/>
                </a:cxn>
                <a:cxn ang="0">
                  <a:pos x="1" y="26"/>
                </a:cxn>
                <a:cxn ang="0">
                  <a:pos x="6" y="43"/>
                </a:cxn>
                <a:cxn ang="0">
                  <a:pos x="24" y="27"/>
                </a:cxn>
                <a:cxn ang="0">
                  <a:pos x="5" y="0"/>
                </a:cxn>
              </a:cxnLst>
              <a:rect l="0" t="0" r="r" b="b"/>
              <a:pathLst>
                <a:path w="24" h="47">
                  <a:moveTo>
                    <a:pt x="5" y="0"/>
                  </a:moveTo>
                  <a:cubicBezTo>
                    <a:pt x="2" y="1"/>
                    <a:pt x="3" y="7"/>
                    <a:pt x="1" y="11"/>
                  </a:cubicBezTo>
                  <a:cubicBezTo>
                    <a:pt x="0" y="15"/>
                    <a:pt x="0" y="20"/>
                    <a:pt x="1" y="26"/>
                  </a:cubicBezTo>
                  <a:cubicBezTo>
                    <a:pt x="1" y="32"/>
                    <a:pt x="1" y="39"/>
                    <a:pt x="6" y="43"/>
                  </a:cubicBezTo>
                  <a:cubicBezTo>
                    <a:pt x="13" y="47"/>
                    <a:pt x="23" y="36"/>
                    <a:pt x="24" y="27"/>
                  </a:cubicBezTo>
                  <a:cubicBezTo>
                    <a:pt x="24" y="17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393396" y="4477063"/>
              <a:ext cx="191431" cy="379069"/>
            </a:xfrm>
            <a:custGeom>
              <a:avLst/>
              <a:gdLst/>
              <a:ahLst/>
              <a:cxnLst>
                <a:cxn ang="0">
                  <a:pos x="71" y="5"/>
                </a:cxn>
                <a:cxn ang="0">
                  <a:pos x="67" y="9"/>
                </a:cxn>
                <a:cxn ang="0">
                  <a:pos x="65" y="17"/>
                </a:cxn>
                <a:cxn ang="0">
                  <a:pos x="59" y="22"/>
                </a:cxn>
                <a:cxn ang="0">
                  <a:pos x="53" y="27"/>
                </a:cxn>
                <a:cxn ang="0">
                  <a:pos x="53" y="33"/>
                </a:cxn>
                <a:cxn ang="0">
                  <a:pos x="44" y="40"/>
                </a:cxn>
                <a:cxn ang="0">
                  <a:pos x="29" y="48"/>
                </a:cxn>
                <a:cxn ang="0">
                  <a:pos x="14" y="50"/>
                </a:cxn>
                <a:cxn ang="0">
                  <a:pos x="10" y="65"/>
                </a:cxn>
                <a:cxn ang="0">
                  <a:pos x="11" y="86"/>
                </a:cxn>
                <a:cxn ang="0">
                  <a:pos x="8" y="109"/>
                </a:cxn>
                <a:cxn ang="0">
                  <a:pos x="4" y="136"/>
                </a:cxn>
                <a:cxn ang="0">
                  <a:pos x="11" y="157"/>
                </a:cxn>
                <a:cxn ang="0">
                  <a:pos x="31" y="162"/>
                </a:cxn>
                <a:cxn ang="0">
                  <a:pos x="43" y="158"/>
                </a:cxn>
                <a:cxn ang="0">
                  <a:pos x="59" y="110"/>
                </a:cxn>
                <a:cxn ang="0">
                  <a:pos x="72" y="66"/>
                </a:cxn>
                <a:cxn ang="0">
                  <a:pos x="74" y="54"/>
                </a:cxn>
                <a:cxn ang="0">
                  <a:pos x="77" y="47"/>
                </a:cxn>
                <a:cxn ang="0">
                  <a:pos x="83" y="45"/>
                </a:cxn>
                <a:cxn ang="0">
                  <a:pos x="79" y="24"/>
                </a:cxn>
                <a:cxn ang="0">
                  <a:pos x="71" y="5"/>
                </a:cxn>
              </a:cxnLst>
              <a:rect l="0" t="0" r="r" b="b"/>
              <a:pathLst>
                <a:path w="84" h="166">
                  <a:moveTo>
                    <a:pt x="71" y="5"/>
                  </a:moveTo>
                  <a:cubicBezTo>
                    <a:pt x="70" y="0"/>
                    <a:pt x="68" y="7"/>
                    <a:pt x="67" y="9"/>
                  </a:cubicBezTo>
                  <a:cubicBezTo>
                    <a:pt x="66" y="10"/>
                    <a:pt x="65" y="14"/>
                    <a:pt x="65" y="17"/>
                  </a:cubicBezTo>
                  <a:cubicBezTo>
                    <a:pt x="66" y="19"/>
                    <a:pt x="61" y="22"/>
                    <a:pt x="59" y="22"/>
                  </a:cubicBezTo>
                  <a:cubicBezTo>
                    <a:pt x="56" y="21"/>
                    <a:pt x="52" y="23"/>
                    <a:pt x="53" y="27"/>
                  </a:cubicBezTo>
                  <a:cubicBezTo>
                    <a:pt x="54" y="30"/>
                    <a:pt x="51" y="30"/>
                    <a:pt x="53" y="33"/>
                  </a:cubicBezTo>
                  <a:cubicBezTo>
                    <a:pt x="54" y="36"/>
                    <a:pt x="49" y="39"/>
                    <a:pt x="44" y="40"/>
                  </a:cubicBezTo>
                  <a:cubicBezTo>
                    <a:pt x="40" y="40"/>
                    <a:pt x="34" y="48"/>
                    <a:pt x="29" y="48"/>
                  </a:cubicBezTo>
                  <a:cubicBezTo>
                    <a:pt x="24" y="47"/>
                    <a:pt x="19" y="51"/>
                    <a:pt x="14" y="50"/>
                  </a:cubicBezTo>
                  <a:cubicBezTo>
                    <a:pt x="10" y="50"/>
                    <a:pt x="13" y="59"/>
                    <a:pt x="10" y="65"/>
                  </a:cubicBezTo>
                  <a:cubicBezTo>
                    <a:pt x="6" y="71"/>
                    <a:pt x="8" y="78"/>
                    <a:pt x="11" y="86"/>
                  </a:cubicBezTo>
                  <a:cubicBezTo>
                    <a:pt x="14" y="93"/>
                    <a:pt x="16" y="99"/>
                    <a:pt x="8" y="109"/>
                  </a:cubicBezTo>
                  <a:cubicBezTo>
                    <a:pt x="0" y="118"/>
                    <a:pt x="1" y="129"/>
                    <a:pt x="4" y="136"/>
                  </a:cubicBezTo>
                  <a:cubicBezTo>
                    <a:pt x="7" y="142"/>
                    <a:pt x="7" y="152"/>
                    <a:pt x="11" y="157"/>
                  </a:cubicBezTo>
                  <a:cubicBezTo>
                    <a:pt x="16" y="162"/>
                    <a:pt x="28" y="166"/>
                    <a:pt x="31" y="162"/>
                  </a:cubicBezTo>
                  <a:cubicBezTo>
                    <a:pt x="35" y="158"/>
                    <a:pt x="39" y="162"/>
                    <a:pt x="43" y="158"/>
                  </a:cubicBezTo>
                  <a:cubicBezTo>
                    <a:pt x="47" y="153"/>
                    <a:pt x="54" y="127"/>
                    <a:pt x="59" y="110"/>
                  </a:cubicBezTo>
                  <a:cubicBezTo>
                    <a:pt x="65" y="93"/>
                    <a:pt x="72" y="71"/>
                    <a:pt x="72" y="66"/>
                  </a:cubicBezTo>
                  <a:cubicBezTo>
                    <a:pt x="71" y="62"/>
                    <a:pt x="76" y="59"/>
                    <a:pt x="74" y="54"/>
                  </a:cubicBezTo>
                  <a:cubicBezTo>
                    <a:pt x="72" y="49"/>
                    <a:pt x="74" y="43"/>
                    <a:pt x="77" y="47"/>
                  </a:cubicBezTo>
                  <a:cubicBezTo>
                    <a:pt x="79" y="51"/>
                    <a:pt x="82" y="51"/>
                    <a:pt x="83" y="45"/>
                  </a:cubicBezTo>
                  <a:cubicBezTo>
                    <a:pt x="84" y="40"/>
                    <a:pt x="79" y="32"/>
                    <a:pt x="79" y="24"/>
                  </a:cubicBezTo>
                  <a:cubicBezTo>
                    <a:pt x="79" y="16"/>
                    <a:pt x="72" y="9"/>
                    <a:pt x="71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1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6385814" y="3675331"/>
              <a:ext cx="308942" cy="187640"/>
            </a:xfrm>
            <a:custGeom>
              <a:avLst/>
              <a:gdLst/>
              <a:ahLst/>
              <a:cxnLst>
                <a:cxn ang="0">
                  <a:pos x="95" y="3"/>
                </a:cxn>
                <a:cxn ang="0">
                  <a:pos x="73" y="4"/>
                </a:cxn>
                <a:cxn ang="0">
                  <a:pos x="56" y="19"/>
                </a:cxn>
                <a:cxn ang="0">
                  <a:pos x="48" y="22"/>
                </a:cxn>
                <a:cxn ang="0">
                  <a:pos x="32" y="20"/>
                </a:cxn>
                <a:cxn ang="0">
                  <a:pos x="18" y="19"/>
                </a:cxn>
                <a:cxn ang="0">
                  <a:pos x="10" y="17"/>
                </a:cxn>
                <a:cxn ang="0">
                  <a:pos x="5" y="21"/>
                </a:cxn>
                <a:cxn ang="0">
                  <a:pos x="6" y="28"/>
                </a:cxn>
                <a:cxn ang="0">
                  <a:pos x="0" y="30"/>
                </a:cxn>
                <a:cxn ang="0">
                  <a:pos x="1" y="37"/>
                </a:cxn>
                <a:cxn ang="0">
                  <a:pos x="5" y="55"/>
                </a:cxn>
                <a:cxn ang="0">
                  <a:pos x="9" y="72"/>
                </a:cxn>
                <a:cxn ang="0">
                  <a:pos x="29" y="70"/>
                </a:cxn>
                <a:cxn ang="0">
                  <a:pos x="44" y="65"/>
                </a:cxn>
                <a:cxn ang="0">
                  <a:pos x="56" y="59"/>
                </a:cxn>
                <a:cxn ang="0">
                  <a:pos x="67" y="57"/>
                </a:cxn>
                <a:cxn ang="0">
                  <a:pos x="76" y="51"/>
                </a:cxn>
                <a:cxn ang="0">
                  <a:pos x="100" y="43"/>
                </a:cxn>
                <a:cxn ang="0">
                  <a:pos x="111" y="32"/>
                </a:cxn>
                <a:cxn ang="0">
                  <a:pos x="120" y="28"/>
                </a:cxn>
                <a:cxn ang="0">
                  <a:pos x="106" y="0"/>
                </a:cxn>
                <a:cxn ang="0">
                  <a:pos x="95" y="3"/>
                </a:cxn>
                <a:cxn ang="0">
                  <a:pos x="123" y="78"/>
                </a:cxn>
                <a:cxn ang="0">
                  <a:pos x="134" y="76"/>
                </a:cxn>
                <a:cxn ang="0">
                  <a:pos x="123" y="78"/>
                </a:cxn>
              </a:cxnLst>
              <a:rect l="0" t="0" r="r" b="b"/>
              <a:pathLst>
                <a:path w="135" h="82">
                  <a:moveTo>
                    <a:pt x="95" y="3"/>
                  </a:moveTo>
                  <a:cubicBezTo>
                    <a:pt x="90" y="4"/>
                    <a:pt x="75" y="3"/>
                    <a:pt x="73" y="4"/>
                  </a:cubicBezTo>
                  <a:cubicBezTo>
                    <a:pt x="71" y="5"/>
                    <a:pt x="58" y="15"/>
                    <a:pt x="56" y="19"/>
                  </a:cubicBezTo>
                  <a:cubicBezTo>
                    <a:pt x="54" y="24"/>
                    <a:pt x="51" y="25"/>
                    <a:pt x="48" y="22"/>
                  </a:cubicBezTo>
                  <a:cubicBezTo>
                    <a:pt x="45" y="20"/>
                    <a:pt x="33" y="21"/>
                    <a:pt x="32" y="20"/>
                  </a:cubicBezTo>
                  <a:cubicBezTo>
                    <a:pt x="31" y="19"/>
                    <a:pt x="23" y="18"/>
                    <a:pt x="18" y="19"/>
                  </a:cubicBezTo>
                  <a:cubicBezTo>
                    <a:pt x="14" y="19"/>
                    <a:pt x="12" y="17"/>
                    <a:pt x="10" y="17"/>
                  </a:cubicBezTo>
                  <a:cubicBezTo>
                    <a:pt x="8" y="18"/>
                    <a:pt x="6" y="20"/>
                    <a:pt x="5" y="21"/>
                  </a:cubicBezTo>
                  <a:cubicBezTo>
                    <a:pt x="4" y="23"/>
                    <a:pt x="6" y="26"/>
                    <a:pt x="6" y="28"/>
                  </a:cubicBezTo>
                  <a:cubicBezTo>
                    <a:pt x="5" y="28"/>
                    <a:pt x="3" y="29"/>
                    <a:pt x="0" y="30"/>
                  </a:cubicBezTo>
                  <a:cubicBezTo>
                    <a:pt x="1" y="33"/>
                    <a:pt x="2" y="35"/>
                    <a:pt x="1" y="37"/>
                  </a:cubicBezTo>
                  <a:cubicBezTo>
                    <a:pt x="0" y="41"/>
                    <a:pt x="1" y="50"/>
                    <a:pt x="5" y="55"/>
                  </a:cubicBezTo>
                  <a:cubicBezTo>
                    <a:pt x="8" y="61"/>
                    <a:pt x="7" y="70"/>
                    <a:pt x="9" y="72"/>
                  </a:cubicBezTo>
                  <a:cubicBezTo>
                    <a:pt x="10" y="74"/>
                    <a:pt x="23" y="73"/>
                    <a:pt x="29" y="70"/>
                  </a:cubicBezTo>
                  <a:cubicBezTo>
                    <a:pt x="35" y="66"/>
                    <a:pt x="39" y="65"/>
                    <a:pt x="44" y="65"/>
                  </a:cubicBezTo>
                  <a:cubicBezTo>
                    <a:pt x="48" y="65"/>
                    <a:pt x="54" y="61"/>
                    <a:pt x="56" y="59"/>
                  </a:cubicBezTo>
                  <a:cubicBezTo>
                    <a:pt x="57" y="57"/>
                    <a:pt x="64" y="57"/>
                    <a:pt x="67" y="57"/>
                  </a:cubicBezTo>
                  <a:cubicBezTo>
                    <a:pt x="70" y="58"/>
                    <a:pt x="73" y="54"/>
                    <a:pt x="76" y="51"/>
                  </a:cubicBezTo>
                  <a:cubicBezTo>
                    <a:pt x="79" y="48"/>
                    <a:pt x="89" y="47"/>
                    <a:pt x="100" y="43"/>
                  </a:cubicBezTo>
                  <a:cubicBezTo>
                    <a:pt x="110" y="40"/>
                    <a:pt x="108" y="35"/>
                    <a:pt x="111" y="32"/>
                  </a:cubicBezTo>
                  <a:cubicBezTo>
                    <a:pt x="113" y="30"/>
                    <a:pt x="116" y="30"/>
                    <a:pt x="120" y="28"/>
                  </a:cubicBezTo>
                  <a:cubicBezTo>
                    <a:pt x="115" y="18"/>
                    <a:pt x="109" y="6"/>
                    <a:pt x="106" y="0"/>
                  </a:cubicBezTo>
                  <a:cubicBezTo>
                    <a:pt x="101" y="1"/>
                    <a:pt x="97" y="3"/>
                    <a:pt x="95" y="3"/>
                  </a:cubicBezTo>
                  <a:close/>
                  <a:moveTo>
                    <a:pt x="123" y="78"/>
                  </a:moveTo>
                  <a:cubicBezTo>
                    <a:pt x="127" y="82"/>
                    <a:pt x="134" y="77"/>
                    <a:pt x="134" y="76"/>
                  </a:cubicBezTo>
                  <a:cubicBezTo>
                    <a:pt x="135" y="74"/>
                    <a:pt x="119" y="73"/>
                    <a:pt x="123" y="7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2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9261056" y="4319749"/>
              <a:ext cx="208488" cy="149733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5" y="19"/>
                </a:cxn>
                <a:cxn ang="0">
                  <a:pos x="1" y="3"/>
                </a:cxn>
                <a:cxn ang="0">
                  <a:pos x="22" y="17"/>
                </a:cxn>
                <a:cxn ang="0">
                  <a:pos x="32" y="24"/>
                </a:cxn>
                <a:cxn ang="0">
                  <a:pos x="22" y="17"/>
                </a:cxn>
                <a:cxn ang="0">
                  <a:pos x="60" y="37"/>
                </a:cxn>
                <a:cxn ang="0">
                  <a:pos x="44" y="28"/>
                </a:cxn>
                <a:cxn ang="0">
                  <a:pos x="60" y="37"/>
                </a:cxn>
                <a:cxn ang="0">
                  <a:pos x="58" y="47"/>
                </a:cxn>
                <a:cxn ang="0">
                  <a:pos x="69" y="54"/>
                </a:cxn>
                <a:cxn ang="0">
                  <a:pos x="58" y="47"/>
                </a:cxn>
                <a:cxn ang="0">
                  <a:pos x="78" y="58"/>
                </a:cxn>
                <a:cxn ang="0">
                  <a:pos x="89" y="63"/>
                </a:cxn>
                <a:cxn ang="0">
                  <a:pos x="78" y="58"/>
                </a:cxn>
                <a:cxn ang="0">
                  <a:pos x="70" y="36"/>
                </a:cxn>
                <a:cxn ang="0">
                  <a:pos x="79" y="51"/>
                </a:cxn>
                <a:cxn ang="0">
                  <a:pos x="70" y="36"/>
                </a:cxn>
              </a:cxnLst>
              <a:rect l="0" t="0" r="r" b="b"/>
              <a:pathLst>
                <a:path w="92" h="66">
                  <a:moveTo>
                    <a:pt x="1" y="3"/>
                  </a:moveTo>
                  <a:cubicBezTo>
                    <a:pt x="0" y="6"/>
                    <a:pt x="11" y="21"/>
                    <a:pt x="15" y="19"/>
                  </a:cubicBezTo>
                  <a:cubicBezTo>
                    <a:pt x="22" y="14"/>
                    <a:pt x="2" y="0"/>
                    <a:pt x="1" y="3"/>
                  </a:cubicBezTo>
                  <a:close/>
                  <a:moveTo>
                    <a:pt x="22" y="17"/>
                  </a:moveTo>
                  <a:cubicBezTo>
                    <a:pt x="22" y="18"/>
                    <a:pt x="30" y="26"/>
                    <a:pt x="32" y="24"/>
                  </a:cubicBezTo>
                  <a:cubicBezTo>
                    <a:pt x="34" y="23"/>
                    <a:pt x="23" y="14"/>
                    <a:pt x="22" y="17"/>
                  </a:cubicBezTo>
                  <a:close/>
                  <a:moveTo>
                    <a:pt x="60" y="37"/>
                  </a:moveTo>
                  <a:cubicBezTo>
                    <a:pt x="63" y="35"/>
                    <a:pt x="44" y="25"/>
                    <a:pt x="44" y="28"/>
                  </a:cubicBezTo>
                  <a:cubicBezTo>
                    <a:pt x="44" y="31"/>
                    <a:pt x="57" y="38"/>
                    <a:pt x="60" y="37"/>
                  </a:cubicBezTo>
                  <a:close/>
                  <a:moveTo>
                    <a:pt x="58" y="47"/>
                  </a:moveTo>
                  <a:cubicBezTo>
                    <a:pt x="59" y="52"/>
                    <a:pt x="66" y="55"/>
                    <a:pt x="69" y="54"/>
                  </a:cubicBezTo>
                  <a:cubicBezTo>
                    <a:pt x="72" y="52"/>
                    <a:pt x="57" y="42"/>
                    <a:pt x="58" y="47"/>
                  </a:cubicBezTo>
                  <a:close/>
                  <a:moveTo>
                    <a:pt x="78" y="58"/>
                  </a:moveTo>
                  <a:cubicBezTo>
                    <a:pt x="79" y="60"/>
                    <a:pt x="85" y="66"/>
                    <a:pt x="89" y="63"/>
                  </a:cubicBezTo>
                  <a:cubicBezTo>
                    <a:pt x="92" y="61"/>
                    <a:pt x="78" y="56"/>
                    <a:pt x="78" y="58"/>
                  </a:cubicBezTo>
                  <a:close/>
                  <a:moveTo>
                    <a:pt x="70" y="36"/>
                  </a:moveTo>
                  <a:cubicBezTo>
                    <a:pt x="67" y="42"/>
                    <a:pt x="77" y="51"/>
                    <a:pt x="79" y="51"/>
                  </a:cubicBezTo>
                  <a:cubicBezTo>
                    <a:pt x="80" y="52"/>
                    <a:pt x="72" y="32"/>
                    <a:pt x="70" y="3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3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9261056" y="4319749"/>
              <a:ext cx="208488" cy="149733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5" y="19"/>
                </a:cxn>
                <a:cxn ang="0">
                  <a:pos x="1" y="3"/>
                </a:cxn>
                <a:cxn ang="0">
                  <a:pos x="22" y="17"/>
                </a:cxn>
                <a:cxn ang="0">
                  <a:pos x="32" y="24"/>
                </a:cxn>
                <a:cxn ang="0">
                  <a:pos x="22" y="17"/>
                </a:cxn>
                <a:cxn ang="0">
                  <a:pos x="60" y="37"/>
                </a:cxn>
                <a:cxn ang="0">
                  <a:pos x="44" y="28"/>
                </a:cxn>
                <a:cxn ang="0">
                  <a:pos x="60" y="37"/>
                </a:cxn>
                <a:cxn ang="0">
                  <a:pos x="58" y="47"/>
                </a:cxn>
                <a:cxn ang="0">
                  <a:pos x="69" y="54"/>
                </a:cxn>
                <a:cxn ang="0">
                  <a:pos x="58" y="47"/>
                </a:cxn>
                <a:cxn ang="0">
                  <a:pos x="78" y="58"/>
                </a:cxn>
                <a:cxn ang="0">
                  <a:pos x="89" y="63"/>
                </a:cxn>
                <a:cxn ang="0">
                  <a:pos x="78" y="58"/>
                </a:cxn>
                <a:cxn ang="0">
                  <a:pos x="70" y="36"/>
                </a:cxn>
                <a:cxn ang="0">
                  <a:pos x="79" y="51"/>
                </a:cxn>
                <a:cxn ang="0">
                  <a:pos x="70" y="36"/>
                </a:cxn>
              </a:cxnLst>
              <a:rect l="0" t="0" r="r" b="b"/>
              <a:pathLst>
                <a:path w="92" h="66">
                  <a:moveTo>
                    <a:pt x="1" y="3"/>
                  </a:moveTo>
                  <a:cubicBezTo>
                    <a:pt x="0" y="6"/>
                    <a:pt x="11" y="21"/>
                    <a:pt x="15" y="19"/>
                  </a:cubicBezTo>
                  <a:cubicBezTo>
                    <a:pt x="22" y="14"/>
                    <a:pt x="2" y="0"/>
                    <a:pt x="1" y="3"/>
                  </a:cubicBezTo>
                  <a:close/>
                  <a:moveTo>
                    <a:pt x="22" y="17"/>
                  </a:moveTo>
                  <a:cubicBezTo>
                    <a:pt x="22" y="18"/>
                    <a:pt x="30" y="26"/>
                    <a:pt x="32" y="24"/>
                  </a:cubicBezTo>
                  <a:cubicBezTo>
                    <a:pt x="34" y="23"/>
                    <a:pt x="23" y="14"/>
                    <a:pt x="22" y="17"/>
                  </a:cubicBezTo>
                  <a:close/>
                  <a:moveTo>
                    <a:pt x="60" y="37"/>
                  </a:moveTo>
                  <a:cubicBezTo>
                    <a:pt x="63" y="35"/>
                    <a:pt x="44" y="25"/>
                    <a:pt x="44" y="28"/>
                  </a:cubicBezTo>
                  <a:cubicBezTo>
                    <a:pt x="44" y="31"/>
                    <a:pt x="57" y="38"/>
                    <a:pt x="60" y="37"/>
                  </a:cubicBezTo>
                  <a:close/>
                  <a:moveTo>
                    <a:pt x="58" y="47"/>
                  </a:moveTo>
                  <a:cubicBezTo>
                    <a:pt x="59" y="52"/>
                    <a:pt x="66" y="55"/>
                    <a:pt x="69" y="54"/>
                  </a:cubicBezTo>
                  <a:cubicBezTo>
                    <a:pt x="72" y="52"/>
                    <a:pt x="57" y="42"/>
                    <a:pt x="58" y="47"/>
                  </a:cubicBezTo>
                  <a:close/>
                  <a:moveTo>
                    <a:pt x="78" y="58"/>
                  </a:moveTo>
                  <a:cubicBezTo>
                    <a:pt x="79" y="60"/>
                    <a:pt x="85" y="66"/>
                    <a:pt x="89" y="63"/>
                  </a:cubicBezTo>
                  <a:cubicBezTo>
                    <a:pt x="92" y="61"/>
                    <a:pt x="78" y="56"/>
                    <a:pt x="78" y="58"/>
                  </a:cubicBezTo>
                  <a:close/>
                  <a:moveTo>
                    <a:pt x="70" y="36"/>
                  </a:moveTo>
                  <a:cubicBezTo>
                    <a:pt x="67" y="42"/>
                    <a:pt x="77" y="51"/>
                    <a:pt x="79" y="51"/>
                  </a:cubicBezTo>
                  <a:cubicBezTo>
                    <a:pt x="80" y="52"/>
                    <a:pt x="72" y="32"/>
                    <a:pt x="70" y="3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4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8178812" y="4456213"/>
              <a:ext cx="1055709" cy="940092"/>
            </a:xfrm>
            <a:custGeom>
              <a:avLst/>
              <a:gdLst/>
              <a:ahLst/>
              <a:cxnLst>
                <a:cxn ang="0">
                  <a:pos x="457" y="180"/>
                </a:cxn>
                <a:cxn ang="0">
                  <a:pos x="438" y="160"/>
                </a:cxn>
                <a:cxn ang="0">
                  <a:pos x="424" y="139"/>
                </a:cxn>
                <a:cxn ang="0">
                  <a:pos x="410" y="124"/>
                </a:cxn>
                <a:cxn ang="0">
                  <a:pos x="378" y="93"/>
                </a:cxn>
                <a:cxn ang="0">
                  <a:pos x="367" y="53"/>
                </a:cxn>
                <a:cxn ang="0">
                  <a:pos x="347" y="33"/>
                </a:cxn>
                <a:cxn ang="0">
                  <a:pos x="329" y="10"/>
                </a:cxn>
                <a:cxn ang="0">
                  <a:pos x="324" y="51"/>
                </a:cxn>
                <a:cxn ang="0">
                  <a:pos x="297" y="76"/>
                </a:cxn>
                <a:cxn ang="0">
                  <a:pos x="265" y="59"/>
                </a:cxn>
                <a:cxn ang="0">
                  <a:pos x="259" y="35"/>
                </a:cxn>
                <a:cxn ang="0">
                  <a:pos x="268" y="17"/>
                </a:cxn>
                <a:cxn ang="0">
                  <a:pos x="251" y="19"/>
                </a:cxn>
                <a:cxn ang="0">
                  <a:pos x="222" y="13"/>
                </a:cxn>
                <a:cxn ang="0">
                  <a:pos x="194" y="32"/>
                </a:cxn>
                <a:cxn ang="0">
                  <a:pos x="184" y="51"/>
                </a:cxn>
                <a:cxn ang="0">
                  <a:pos x="167" y="44"/>
                </a:cxn>
                <a:cxn ang="0">
                  <a:pos x="147" y="46"/>
                </a:cxn>
                <a:cxn ang="0">
                  <a:pos x="131" y="55"/>
                </a:cxn>
                <a:cxn ang="0">
                  <a:pos x="123" y="73"/>
                </a:cxn>
                <a:cxn ang="0">
                  <a:pos x="106" y="75"/>
                </a:cxn>
                <a:cxn ang="0">
                  <a:pos x="69" y="110"/>
                </a:cxn>
                <a:cxn ang="0">
                  <a:pos x="34" y="121"/>
                </a:cxn>
                <a:cxn ang="0">
                  <a:pos x="13" y="130"/>
                </a:cxn>
                <a:cxn ang="0">
                  <a:pos x="6" y="169"/>
                </a:cxn>
                <a:cxn ang="0">
                  <a:pos x="9" y="187"/>
                </a:cxn>
                <a:cxn ang="0">
                  <a:pos x="22" y="227"/>
                </a:cxn>
                <a:cxn ang="0">
                  <a:pos x="23" y="277"/>
                </a:cxn>
                <a:cxn ang="0">
                  <a:pos x="56" y="294"/>
                </a:cxn>
                <a:cxn ang="0">
                  <a:pos x="104" y="280"/>
                </a:cxn>
                <a:cxn ang="0">
                  <a:pos x="157" y="260"/>
                </a:cxn>
                <a:cxn ang="0">
                  <a:pos x="219" y="256"/>
                </a:cxn>
                <a:cxn ang="0">
                  <a:pos x="240" y="268"/>
                </a:cxn>
                <a:cxn ang="0">
                  <a:pos x="262" y="287"/>
                </a:cxn>
                <a:cxn ang="0">
                  <a:pos x="278" y="285"/>
                </a:cxn>
                <a:cxn ang="0">
                  <a:pos x="288" y="289"/>
                </a:cxn>
                <a:cxn ang="0">
                  <a:pos x="304" y="317"/>
                </a:cxn>
                <a:cxn ang="0">
                  <a:pos x="344" y="344"/>
                </a:cxn>
                <a:cxn ang="0">
                  <a:pos x="365" y="341"/>
                </a:cxn>
                <a:cxn ang="0">
                  <a:pos x="379" y="348"/>
                </a:cxn>
                <a:cxn ang="0">
                  <a:pos x="419" y="330"/>
                </a:cxn>
                <a:cxn ang="0">
                  <a:pos x="443" y="266"/>
                </a:cxn>
                <a:cxn ang="0">
                  <a:pos x="458" y="228"/>
                </a:cxn>
                <a:cxn ang="0">
                  <a:pos x="210" y="11"/>
                </a:cxn>
                <a:cxn ang="0">
                  <a:pos x="266" y="307"/>
                </a:cxn>
                <a:cxn ang="0">
                  <a:pos x="379" y="376"/>
                </a:cxn>
                <a:cxn ang="0">
                  <a:pos x="380" y="411"/>
                </a:cxn>
                <a:cxn ang="0">
                  <a:pos x="395" y="402"/>
                </a:cxn>
                <a:cxn ang="0">
                  <a:pos x="379" y="376"/>
                </a:cxn>
              </a:cxnLst>
              <a:rect l="0" t="0" r="r" b="b"/>
              <a:pathLst>
                <a:path w="463" h="412">
                  <a:moveTo>
                    <a:pt x="460" y="207"/>
                  </a:moveTo>
                  <a:cubicBezTo>
                    <a:pt x="462" y="205"/>
                    <a:pt x="459" y="197"/>
                    <a:pt x="457" y="198"/>
                  </a:cubicBezTo>
                  <a:cubicBezTo>
                    <a:pt x="456" y="200"/>
                    <a:pt x="456" y="186"/>
                    <a:pt x="457" y="180"/>
                  </a:cubicBezTo>
                  <a:cubicBezTo>
                    <a:pt x="458" y="173"/>
                    <a:pt x="457" y="174"/>
                    <a:pt x="454" y="177"/>
                  </a:cubicBezTo>
                  <a:cubicBezTo>
                    <a:pt x="451" y="181"/>
                    <a:pt x="447" y="171"/>
                    <a:pt x="447" y="169"/>
                  </a:cubicBezTo>
                  <a:cubicBezTo>
                    <a:pt x="446" y="166"/>
                    <a:pt x="442" y="159"/>
                    <a:pt x="438" y="160"/>
                  </a:cubicBezTo>
                  <a:cubicBezTo>
                    <a:pt x="434" y="161"/>
                    <a:pt x="436" y="154"/>
                    <a:pt x="432" y="155"/>
                  </a:cubicBezTo>
                  <a:cubicBezTo>
                    <a:pt x="428" y="156"/>
                    <a:pt x="428" y="149"/>
                    <a:pt x="428" y="143"/>
                  </a:cubicBezTo>
                  <a:cubicBezTo>
                    <a:pt x="429" y="137"/>
                    <a:pt x="426" y="142"/>
                    <a:pt x="424" y="139"/>
                  </a:cubicBezTo>
                  <a:cubicBezTo>
                    <a:pt x="422" y="137"/>
                    <a:pt x="420" y="139"/>
                    <a:pt x="417" y="140"/>
                  </a:cubicBezTo>
                  <a:cubicBezTo>
                    <a:pt x="415" y="141"/>
                    <a:pt x="414" y="135"/>
                    <a:pt x="415" y="132"/>
                  </a:cubicBezTo>
                  <a:cubicBezTo>
                    <a:pt x="415" y="130"/>
                    <a:pt x="414" y="127"/>
                    <a:pt x="410" y="124"/>
                  </a:cubicBezTo>
                  <a:cubicBezTo>
                    <a:pt x="407" y="121"/>
                    <a:pt x="406" y="119"/>
                    <a:pt x="407" y="116"/>
                  </a:cubicBezTo>
                  <a:cubicBezTo>
                    <a:pt x="407" y="112"/>
                    <a:pt x="385" y="101"/>
                    <a:pt x="381" y="100"/>
                  </a:cubicBezTo>
                  <a:cubicBezTo>
                    <a:pt x="376" y="99"/>
                    <a:pt x="380" y="94"/>
                    <a:pt x="378" y="93"/>
                  </a:cubicBezTo>
                  <a:cubicBezTo>
                    <a:pt x="376" y="91"/>
                    <a:pt x="375" y="84"/>
                    <a:pt x="375" y="79"/>
                  </a:cubicBezTo>
                  <a:cubicBezTo>
                    <a:pt x="375" y="73"/>
                    <a:pt x="368" y="72"/>
                    <a:pt x="368" y="67"/>
                  </a:cubicBezTo>
                  <a:cubicBezTo>
                    <a:pt x="369" y="63"/>
                    <a:pt x="366" y="58"/>
                    <a:pt x="367" y="53"/>
                  </a:cubicBezTo>
                  <a:cubicBezTo>
                    <a:pt x="367" y="48"/>
                    <a:pt x="360" y="47"/>
                    <a:pt x="359" y="44"/>
                  </a:cubicBezTo>
                  <a:cubicBezTo>
                    <a:pt x="359" y="42"/>
                    <a:pt x="355" y="44"/>
                    <a:pt x="351" y="45"/>
                  </a:cubicBezTo>
                  <a:cubicBezTo>
                    <a:pt x="346" y="45"/>
                    <a:pt x="347" y="39"/>
                    <a:pt x="347" y="33"/>
                  </a:cubicBezTo>
                  <a:cubicBezTo>
                    <a:pt x="348" y="28"/>
                    <a:pt x="345" y="18"/>
                    <a:pt x="342" y="15"/>
                  </a:cubicBezTo>
                  <a:cubicBezTo>
                    <a:pt x="338" y="13"/>
                    <a:pt x="338" y="3"/>
                    <a:pt x="336" y="2"/>
                  </a:cubicBezTo>
                  <a:cubicBezTo>
                    <a:pt x="335" y="0"/>
                    <a:pt x="329" y="7"/>
                    <a:pt x="329" y="10"/>
                  </a:cubicBezTo>
                  <a:cubicBezTo>
                    <a:pt x="329" y="13"/>
                    <a:pt x="329" y="17"/>
                    <a:pt x="326" y="19"/>
                  </a:cubicBezTo>
                  <a:cubicBezTo>
                    <a:pt x="324" y="21"/>
                    <a:pt x="328" y="29"/>
                    <a:pt x="325" y="31"/>
                  </a:cubicBezTo>
                  <a:cubicBezTo>
                    <a:pt x="322" y="34"/>
                    <a:pt x="325" y="45"/>
                    <a:pt x="324" y="51"/>
                  </a:cubicBezTo>
                  <a:cubicBezTo>
                    <a:pt x="323" y="58"/>
                    <a:pt x="323" y="64"/>
                    <a:pt x="320" y="69"/>
                  </a:cubicBezTo>
                  <a:cubicBezTo>
                    <a:pt x="317" y="73"/>
                    <a:pt x="317" y="80"/>
                    <a:pt x="311" y="82"/>
                  </a:cubicBezTo>
                  <a:cubicBezTo>
                    <a:pt x="305" y="84"/>
                    <a:pt x="297" y="79"/>
                    <a:pt x="297" y="76"/>
                  </a:cubicBezTo>
                  <a:cubicBezTo>
                    <a:pt x="297" y="73"/>
                    <a:pt x="291" y="71"/>
                    <a:pt x="287" y="71"/>
                  </a:cubicBezTo>
                  <a:cubicBezTo>
                    <a:pt x="284" y="72"/>
                    <a:pt x="282" y="67"/>
                    <a:pt x="276" y="63"/>
                  </a:cubicBezTo>
                  <a:cubicBezTo>
                    <a:pt x="271" y="58"/>
                    <a:pt x="266" y="64"/>
                    <a:pt x="265" y="59"/>
                  </a:cubicBezTo>
                  <a:cubicBezTo>
                    <a:pt x="263" y="54"/>
                    <a:pt x="261" y="53"/>
                    <a:pt x="257" y="50"/>
                  </a:cubicBezTo>
                  <a:cubicBezTo>
                    <a:pt x="253" y="47"/>
                    <a:pt x="254" y="47"/>
                    <a:pt x="258" y="45"/>
                  </a:cubicBezTo>
                  <a:cubicBezTo>
                    <a:pt x="262" y="42"/>
                    <a:pt x="261" y="38"/>
                    <a:pt x="259" y="35"/>
                  </a:cubicBezTo>
                  <a:cubicBezTo>
                    <a:pt x="257" y="32"/>
                    <a:pt x="261" y="33"/>
                    <a:pt x="266" y="30"/>
                  </a:cubicBezTo>
                  <a:cubicBezTo>
                    <a:pt x="271" y="27"/>
                    <a:pt x="266" y="24"/>
                    <a:pt x="270" y="22"/>
                  </a:cubicBezTo>
                  <a:cubicBezTo>
                    <a:pt x="274" y="21"/>
                    <a:pt x="272" y="18"/>
                    <a:pt x="268" y="17"/>
                  </a:cubicBezTo>
                  <a:cubicBezTo>
                    <a:pt x="264" y="16"/>
                    <a:pt x="265" y="21"/>
                    <a:pt x="263" y="21"/>
                  </a:cubicBezTo>
                  <a:cubicBezTo>
                    <a:pt x="262" y="22"/>
                    <a:pt x="260" y="15"/>
                    <a:pt x="259" y="15"/>
                  </a:cubicBezTo>
                  <a:cubicBezTo>
                    <a:pt x="258" y="16"/>
                    <a:pt x="253" y="22"/>
                    <a:pt x="251" y="19"/>
                  </a:cubicBezTo>
                  <a:cubicBezTo>
                    <a:pt x="248" y="16"/>
                    <a:pt x="234" y="13"/>
                    <a:pt x="229" y="12"/>
                  </a:cubicBezTo>
                  <a:cubicBezTo>
                    <a:pt x="223" y="11"/>
                    <a:pt x="221" y="4"/>
                    <a:pt x="218" y="6"/>
                  </a:cubicBezTo>
                  <a:cubicBezTo>
                    <a:pt x="215" y="7"/>
                    <a:pt x="219" y="9"/>
                    <a:pt x="222" y="13"/>
                  </a:cubicBezTo>
                  <a:cubicBezTo>
                    <a:pt x="226" y="17"/>
                    <a:pt x="210" y="20"/>
                    <a:pt x="205" y="18"/>
                  </a:cubicBezTo>
                  <a:cubicBezTo>
                    <a:pt x="200" y="17"/>
                    <a:pt x="206" y="22"/>
                    <a:pt x="202" y="22"/>
                  </a:cubicBezTo>
                  <a:cubicBezTo>
                    <a:pt x="198" y="21"/>
                    <a:pt x="197" y="28"/>
                    <a:pt x="194" y="32"/>
                  </a:cubicBezTo>
                  <a:cubicBezTo>
                    <a:pt x="191" y="35"/>
                    <a:pt x="193" y="38"/>
                    <a:pt x="189" y="40"/>
                  </a:cubicBezTo>
                  <a:cubicBezTo>
                    <a:pt x="186" y="42"/>
                    <a:pt x="186" y="45"/>
                    <a:pt x="190" y="50"/>
                  </a:cubicBezTo>
                  <a:cubicBezTo>
                    <a:pt x="194" y="54"/>
                    <a:pt x="188" y="55"/>
                    <a:pt x="184" y="51"/>
                  </a:cubicBezTo>
                  <a:cubicBezTo>
                    <a:pt x="180" y="47"/>
                    <a:pt x="177" y="47"/>
                    <a:pt x="177" y="51"/>
                  </a:cubicBezTo>
                  <a:cubicBezTo>
                    <a:pt x="177" y="56"/>
                    <a:pt x="172" y="54"/>
                    <a:pt x="173" y="49"/>
                  </a:cubicBezTo>
                  <a:cubicBezTo>
                    <a:pt x="174" y="44"/>
                    <a:pt x="168" y="46"/>
                    <a:pt x="167" y="44"/>
                  </a:cubicBezTo>
                  <a:cubicBezTo>
                    <a:pt x="166" y="41"/>
                    <a:pt x="161" y="36"/>
                    <a:pt x="157" y="37"/>
                  </a:cubicBezTo>
                  <a:cubicBezTo>
                    <a:pt x="154" y="37"/>
                    <a:pt x="154" y="40"/>
                    <a:pt x="151" y="40"/>
                  </a:cubicBezTo>
                  <a:cubicBezTo>
                    <a:pt x="148" y="40"/>
                    <a:pt x="147" y="42"/>
                    <a:pt x="147" y="46"/>
                  </a:cubicBezTo>
                  <a:cubicBezTo>
                    <a:pt x="148" y="49"/>
                    <a:pt x="142" y="45"/>
                    <a:pt x="139" y="46"/>
                  </a:cubicBezTo>
                  <a:cubicBezTo>
                    <a:pt x="135" y="46"/>
                    <a:pt x="139" y="51"/>
                    <a:pt x="137" y="51"/>
                  </a:cubicBezTo>
                  <a:cubicBezTo>
                    <a:pt x="135" y="51"/>
                    <a:pt x="135" y="55"/>
                    <a:pt x="131" y="55"/>
                  </a:cubicBezTo>
                  <a:cubicBezTo>
                    <a:pt x="128" y="55"/>
                    <a:pt x="129" y="62"/>
                    <a:pt x="129" y="66"/>
                  </a:cubicBezTo>
                  <a:cubicBezTo>
                    <a:pt x="130" y="69"/>
                    <a:pt x="124" y="64"/>
                    <a:pt x="121" y="65"/>
                  </a:cubicBezTo>
                  <a:cubicBezTo>
                    <a:pt x="118" y="66"/>
                    <a:pt x="122" y="69"/>
                    <a:pt x="123" y="73"/>
                  </a:cubicBezTo>
                  <a:cubicBezTo>
                    <a:pt x="124" y="78"/>
                    <a:pt x="121" y="77"/>
                    <a:pt x="119" y="79"/>
                  </a:cubicBezTo>
                  <a:cubicBezTo>
                    <a:pt x="117" y="81"/>
                    <a:pt x="115" y="74"/>
                    <a:pt x="115" y="71"/>
                  </a:cubicBezTo>
                  <a:cubicBezTo>
                    <a:pt x="115" y="67"/>
                    <a:pt x="110" y="70"/>
                    <a:pt x="106" y="75"/>
                  </a:cubicBezTo>
                  <a:cubicBezTo>
                    <a:pt x="101" y="80"/>
                    <a:pt x="107" y="87"/>
                    <a:pt x="105" y="88"/>
                  </a:cubicBezTo>
                  <a:cubicBezTo>
                    <a:pt x="103" y="90"/>
                    <a:pt x="94" y="98"/>
                    <a:pt x="89" y="104"/>
                  </a:cubicBezTo>
                  <a:cubicBezTo>
                    <a:pt x="84" y="111"/>
                    <a:pt x="73" y="107"/>
                    <a:pt x="69" y="110"/>
                  </a:cubicBezTo>
                  <a:cubicBezTo>
                    <a:pt x="66" y="113"/>
                    <a:pt x="62" y="111"/>
                    <a:pt x="58" y="113"/>
                  </a:cubicBezTo>
                  <a:cubicBezTo>
                    <a:pt x="55" y="116"/>
                    <a:pt x="48" y="121"/>
                    <a:pt x="48" y="118"/>
                  </a:cubicBezTo>
                  <a:cubicBezTo>
                    <a:pt x="47" y="115"/>
                    <a:pt x="38" y="117"/>
                    <a:pt x="34" y="121"/>
                  </a:cubicBezTo>
                  <a:cubicBezTo>
                    <a:pt x="30" y="125"/>
                    <a:pt x="24" y="129"/>
                    <a:pt x="20" y="129"/>
                  </a:cubicBezTo>
                  <a:cubicBezTo>
                    <a:pt x="16" y="129"/>
                    <a:pt x="16" y="136"/>
                    <a:pt x="14" y="137"/>
                  </a:cubicBezTo>
                  <a:cubicBezTo>
                    <a:pt x="12" y="139"/>
                    <a:pt x="13" y="132"/>
                    <a:pt x="13" y="130"/>
                  </a:cubicBezTo>
                  <a:cubicBezTo>
                    <a:pt x="13" y="129"/>
                    <a:pt x="9" y="133"/>
                    <a:pt x="7" y="139"/>
                  </a:cubicBezTo>
                  <a:cubicBezTo>
                    <a:pt x="5" y="144"/>
                    <a:pt x="11" y="146"/>
                    <a:pt x="8" y="151"/>
                  </a:cubicBezTo>
                  <a:cubicBezTo>
                    <a:pt x="4" y="157"/>
                    <a:pt x="0" y="162"/>
                    <a:pt x="6" y="169"/>
                  </a:cubicBezTo>
                  <a:cubicBezTo>
                    <a:pt x="11" y="176"/>
                    <a:pt x="14" y="181"/>
                    <a:pt x="12" y="184"/>
                  </a:cubicBezTo>
                  <a:cubicBezTo>
                    <a:pt x="10" y="188"/>
                    <a:pt x="7" y="177"/>
                    <a:pt x="5" y="179"/>
                  </a:cubicBezTo>
                  <a:cubicBezTo>
                    <a:pt x="4" y="180"/>
                    <a:pt x="10" y="184"/>
                    <a:pt x="9" y="187"/>
                  </a:cubicBezTo>
                  <a:cubicBezTo>
                    <a:pt x="7" y="189"/>
                    <a:pt x="2" y="178"/>
                    <a:pt x="1" y="181"/>
                  </a:cubicBezTo>
                  <a:cubicBezTo>
                    <a:pt x="0" y="183"/>
                    <a:pt x="12" y="200"/>
                    <a:pt x="12" y="206"/>
                  </a:cubicBezTo>
                  <a:cubicBezTo>
                    <a:pt x="12" y="212"/>
                    <a:pt x="22" y="218"/>
                    <a:pt x="22" y="227"/>
                  </a:cubicBezTo>
                  <a:cubicBezTo>
                    <a:pt x="21" y="236"/>
                    <a:pt x="30" y="251"/>
                    <a:pt x="32" y="253"/>
                  </a:cubicBezTo>
                  <a:cubicBezTo>
                    <a:pt x="33" y="255"/>
                    <a:pt x="28" y="261"/>
                    <a:pt x="29" y="268"/>
                  </a:cubicBezTo>
                  <a:cubicBezTo>
                    <a:pt x="30" y="275"/>
                    <a:pt x="27" y="277"/>
                    <a:pt x="23" y="277"/>
                  </a:cubicBezTo>
                  <a:cubicBezTo>
                    <a:pt x="18" y="277"/>
                    <a:pt x="21" y="284"/>
                    <a:pt x="26" y="285"/>
                  </a:cubicBezTo>
                  <a:cubicBezTo>
                    <a:pt x="30" y="285"/>
                    <a:pt x="29" y="289"/>
                    <a:pt x="34" y="292"/>
                  </a:cubicBezTo>
                  <a:cubicBezTo>
                    <a:pt x="39" y="296"/>
                    <a:pt x="52" y="294"/>
                    <a:pt x="56" y="294"/>
                  </a:cubicBezTo>
                  <a:cubicBezTo>
                    <a:pt x="60" y="294"/>
                    <a:pt x="61" y="288"/>
                    <a:pt x="67" y="288"/>
                  </a:cubicBezTo>
                  <a:cubicBezTo>
                    <a:pt x="73" y="287"/>
                    <a:pt x="72" y="286"/>
                    <a:pt x="75" y="282"/>
                  </a:cubicBezTo>
                  <a:cubicBezTo>
                    <a:pt x="78" y="279"/>
                    <a:pt x="91" y="280"/>
                    <a:pt x="104" y="280"/>
                  </a:cubicBezTo>
                  <a:cubicBezTo>
                    <a:pt x="117" y="281"/>
                    <a:pt x="123" y="277"/>
                    <a:pt x="125" y="272"/>
                  </a:cubicBezTo>
                  <a:cubicBezTo>
                    <a:pt x="127" y="267"/>
                    <a:pt x="136" y="267"/>
                    <a:pt x="140" y="263"/>
                  </a:cubicBezTo>
                  <a:cubicBezTo>
                    <a:pt x="144" y="260"/>
                    <a:pt x="147" y="259"/>
                    <a:pt x="157" y="260"/>
                  </a:cubicBezTo>
                  <a:cubicBezTo>
                    <a:pt x="167" y="260"/>
                    <a:pt x="176" y="255"/>
                    <a:pt x="182" y="253"/>
                  </a:cubicBezTo>
                  <a:cubicBezTo>
                    <a:pt x="188" y="250"/>
                    <a:pt x="200" y="251"/>
                    <a:pt x="206" y="250"/>
                  </a:cubicBezTo>
                  <a:cubicBezTo>
                    <a:pt x="212" y="248"/>
                    <a:pt x="213" y="257"/>
                    <a:pt x="219" y="256"/>
                  </a:cubicBezTo>
                  <a:cubicBezTo>
                    <a:pt x="226" y="256"/>
                    <a:pt x="229" y="258"/>
                    <a:pt x="233" y="258"/>
                  </a:cubicBezTo>
                  <a:cubicBezTo>
                    <a:pt x="236" y="258"/>
                    <a:pt x="236" y="261"/>
                    <a:pt x="239" y="261"/>
                  </a:cubicBezTo>
                  <a:cubicBezTo>
                    <a:pt x="243" y="262"/>
                    <a:pt x="242" y="265"/>
                    <a:pt x="240" y="268"/>
                  </a:cubicBezTo>
                  <a:cubicBezTo>
                    <a:pt x="238" y="272"/>
                    <a:pt x="245" y="271"/>
                    <a:pt x="250" y="278"/>
                  </a:cubicBezTo>
                  <a:cubicBezTo>
                    <a:pt x="255" y="284"/>
                    <a:pt x="250" y="285"/>
                    <a:pt x="253" y="290"/>
                  </a:cubicBezTo>
                  <a:cubicBezTo>
                    <a:pt x="255" y="295"/>
                    <a:pt x="257" y="294"/>
                    <a:pt x="262" y="287"/>
                  </a:cubicBezTo>
                  <a:cubicBezTo>
                    <a:pt x="267" y="280"/>
                    <a:pt x="272" y="285"/>
                    <a:pt x="273" y="279"/>
                  </a:cubicBezTo>
                  <a:cubicBezTo>
                    <a:pt x="274" y="273"/>
                    <a:pt x="279" y="266"/>
                    <a:pt x="283" y="269"/>
                  </a:cubicBezTo>
                  <a:cubicBezTo>
                    <a:pt x="286" y="272"/>
                    <a:pt x="280" y="273"/>
                    <a:pt x="278" y="285"/>
                  </a:cubicBezTo>
                  <a:cubicBezTo>
                    <a:pt x="276" y="296"/>
                    <a:pt x="272" y="290"/>
                    <a:pt x="271" y="293"/>
                  </a:cubicBezTo>
                  <a:cubicBezTo>
                    <a:pt x="270" y="297"/>
                    <a:pt x="281" y="298"/>
                    <a:pt x="281" y="292"/>
                  </a:cubicBezTo>
                  <a:cubicBezTo>
                    <a:pt x="281" y="286"/>
                    <a:pt x="283" y="284"/>
                    <a:pt x="288" y="289"/>
                  </a:cubicBezTo>
                  <a:cubicBezTo>
                    <a:pt x="292" y="295"/>
                    <a:pt x="285" y="299"/>
                    <a:pt x="286" y="302"/>
                  </a:cubicBezTo>
                  <a:cubicBezTo>
                    <a:pt x="287" y="304"/>
                    <a:pt x="292" y="301"/>
                    <a:pt x="294" y="301"/>
                  </a:cubicBezTo>
                  <a:cubicBezTo>
                    <a:pt x="299" y="301"/>
                    <a:pt x="305" y="311"/>
                    <a:pt x="304" y="317"/>
                  </a:cubicBezTo>
                  <a:cubicBezTo>
                    <a:pt x="303" y="322"/>
                    <a:pt x="301" y="327"/>
                    <a:pt x="310" y="331"/>
                  </a:cubicBezTo>
                  <a:cubicBezTo>
                    <a:pt x="318" y="335"/>
                    <a:pt x="315" y="336"/>
                    <a:pt x="321" y="336"/>
                  </a:cubicBezTo>
                  <a:cubicBezTo>
                    <a:pt x="328" y="336"/>
                    <a:pt x="341" y="341"/>
                    <a:pt x="344" y="344"/>
                  </a:cubicBezTo>
                  <a:cubicBezTo>
                    <a:pt x="348" y="347"/>
                    <a:pt x="357" y="342"/>
                    <a:pt x="358" y="336"/>
                  </a:cubicBezTo>
                  <a:cubicBezTo>
                    <a:pt x="360" y="330"/>
                    <a:pt x="367" y="336"/>
                    <a:pt x="363" y="338"/>
                  </a:cubicBezTo>
                  <a:cubicBezTo>
                    <a:pt x="360" y="340"/>
                    <a:pt x="365" y="344"/>
                    <a:pt x="365" y="341"/>
                  </a:cubicBezTo>
                  <a:cubicBezTo>
                    <a:pt x="365" y="338"/>
                    <a:pt x="367" y="335"/>
                    <a:pt x="368" y="339"/>
                  </a:cubicBezTo>
                  <a:cubicBezTo>
                    <a:pt x="369" y="343"/>
                    <a:pt x="374" y="343"/>
                    <a:pt x="376" y="346"/>
                  </a:cubicBezTo>
                  <a:cubicBezTo>
                    <a:pt x="377" y="349"/>
                    <a:pt x="379" y="351"/>
                    <a:pt x="379" y="348"/>
                  </a:cubicBezTo>
                  <a:cubicBezTo>
                    <a:pt x="379" y="346"/>
                    <a:pt x="380" y="344"/>
                    <a:pt x="384" y="342"/>
                  </a:cubicBezTo>
                  <a:cubicBezTo>
                    <a:pt x="388" y="341"/>
                    <a:pt x="391" y="338"/>
                    <a:pt x="395" y="334"/>
                  </a:cubicBezTo>
                  <a:cubicBezTo>
                    <a:pt x="399" y="331"/>
                    <a:pt x="417" y="330"/>
                    <a:pt x="419" y="330"/>
                  </a:cubicBezTo>
                  <a:cubicBezTo>
                    <a:pt x="420" y="330"/>
                    <a:pt x="421" y="315"/>
                    <a:pt x="422" y="307"/>
                  </a:cubicBezTo>
                  <a:cubicBezTo>
                    <a:pt x="423" y="300"/>
                    <a:pt x="430" y="298"/>
                    <a:pt x="431" y="290"/>
                  </a:cubicBezTo>
                  <a:cubicBezTo>
                    <a:pt x="432" y="282"/>
                    <a:pt x="441" y="267"/>
                    <a:pt x="443" y="266"/>
                  </a:cubicBezTo>
                  <a:cubicBezTo>
                    <a:pt x="445" y="265"/>
                    <a:pt x="449" y="263"/>
                    <a:pt x="450" y="258"/>
                  </a:cubicBezTo>
                  <a:cubicBezTo>
                    <a:pt x="450" y="253"/>
                    <a:pt x="456" y="248"/>
                    <a:pt x="456" y="242"/>
                  </a:cubicBezTo>
                  <a:cubicBezTo>
                    <a:pt x="456" y="237"/>
                    <a:pt x="459" y="230"/>
                    <a:pt x="458" y="228"/>
                  </a:cubicBezTo>
                  <a:cubicBezTo>
                    <a:pt x="458" y="226"/>
                    <a:pt x="456" y="221"/>
                    <a:pt x="460" y="217"/>
                  </a:cubicBezTo>
                  <a:cubicBezTo>
                    <a:pt x="463" y="213"/>
                    <a:pt x="458" y="208"/>
                    <a:pt x="460" y="207"/>
                  </a:cubicBezTo>
                  <a:close/>
                  <a:moveTo>
                    <a:pt x="210" y="11"/>
                  </a:moveTo>
                  <a:cubicBezTo>
                    <a:pt x="209" y="8"/>
                    <a:pt x="191" y="11"/>
                    <a:pt x="195" y="14"/>
                  </a:cubicBezTo>
                  <a:cubicBezTo>
                    <a:pt x="198" y="16"/>
                    <a:pt x="210" y="14"/>
                    <a:pt x="210" y="11"/>
                  </a:cubicBezTo>
                  <a:close/>
                  <a:moveTo>
                    <a:pt x="266" y="307"/>
                  </a:moveTo>
                  <a:cubicBezTo>
                    <a:pt x="269" y="309"/>
                    <a:pt x="278" y="309"/>
                    <a:pt x="279" y="305"/>
                  </a:cubicBezTo>
                  <a:cubicBezTo>
                    <a:pt x="281" y="302"/>
                    <a:pt x="263" y="305"/>
                    <a:pt x="266" y="307"/>
                  </a:cubicBezTo>
                  <a:close/>
                  <a:moveTo>
                    <a:pt x="379" y="376"/>
                  </a:moveTo>
                  <a:cubicBezTo>
                    <a:pt x="372" y="377"/>
                    <a:pt x="362" y="370"/>
                    <a:pt x="360" y="371"/>
                  </a:cubicBezTo>
                  <a:cubicBezTo>
                    <a:pt x="357" y="372"/>
                    <a:pt x="368" y="389"/>
                    <a:pt x="365" y="393"/>
                  </a:cubicBezTo>
                  <a:cubicBezTo>
                    <a:pt x="361" y="398"/>
                    <a:pt x="375" y="410"/>
                    <a:pt x="380" y="411"/>
                  </a:cubicBezTo>
                  <a:cubicBezTo>
                    <a:pt x="385" y="412"/>
                    <a:pt x="383" y="406"/>
                    <a:pt x="386" y="406"/>
                  </a:cubicBezTo>
                  <a:cubicBezTo>
                    <a:pt x="389" y="407"/>
                    <a:pt x="388" y="403"/>
                    <a:pt x="389" y="401"/>
                  </a:cubicBezTo>
                  <a:cubicBezTo>
                    <a:pt x="389" y="398"/>
                    <a:pt x="392" y="403"/>
                    <a:pt x="395" y="402"/>
                  </a:cubicBezTo>
                  <a:cubicBezTo>
                    <a:pt x="398" y="400"/>
                    <a:pt x="394" y="390"/>
                    <a:pt x="398" y="390"/>
                  </a:cubicBezTo>
                  <a:cubicBezTo>
                    <a:pt x="402" y="390"/>
                    <a:pt x="399" y="377"/>
                    <a:pt x="398" y="372"/>
                  </a:cubicBezTo>
                  <a:cubicBezTo>
                    <a:pt x="397" y="368"/>
                    <a:pt x="386" y="376"/>
                    <a:pt x="379" y="37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5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9560521" y="5125271"/>
              <a:ext cx="322209" cy="382860"/>
            </a:xfrm>
            <a:custGeom>
              <a:avLst/>
              <a:gdLst/>
              <a:ahLst/>
              <a:cxnLst>
                <a:cxn ang="0">
                  <a:pos x="87" y="81"/>
                </a:cxn>
                <a:cxn ang="0">
                  <a:pos x="78" y="84"/>
                </a:cxn>
                <a:cxn ang="0">
                  <a:pos x="67" y="79"/>
                </a:cxn>
                <a:cxn ang="0">
                  <a:pos x="61" y="89"/>
                </a:cxn>
                <a:cxn ang="0">
                  <a:pos x="52" y="105"/>
                </a:cxn>
                <a:cxn ang="0">
                  <a:pos x="21" y="125"/>
                </a:cxn>
                <a:cxn ang="0">
                  <a:pos x="7" y="139"/>
                </a:cxn>
                <a:cxn ang="0">
                  <a:pos x="4" y="151"/>
                </a:cxn>
                <a:cxn ang="0">
                  <a:pos x="14" y="156"/>
                </a:cxn>
                <a:cxn ang="0">
                  <a:pos x="22" y="159"/>
                </a:cxn>
                <a:cxn ang="0">
                  <a:pos x="43" y="154"/>
                </a:cxn>
                <a:cxn ang="0">
                  <a:pos x="50" y="141"/>
                </a:cxn>
                <a:cxn ang="0">
                  <a:pos x="56" y="129"/>
                </a:cxn>
                <a:cxn ang="0">
                  <a:pos x="69" y="122"/>
                </a:cxn>
                <a:cxn ang="0">
                  <a:pos x="72" y="116"/>
                </a:cxn>
                <a:cxn ang="0">
                  <a:pos x="80" y="105"/>
                </a:cxn>
                <a:cxn ang="0">
                  <a:pos x="89" y="90"/>
                </a:cxn>
                <a:cxn ang="0">
                  <a:pos x="87" y="81"/>
                </a:cxn>
                <a:cxn ang="0">
                  <a:pos x="15" y="167"/>
                </a:cxn>
                <a:cxn ang="0">
                  <a:pos x="19" y="162"/>
                </a:cxn>
                <a:cxn ang="0">
                  <a:pos x="15" y="167"/>
                </a:cxn>
                <a:cxn ang="0">
                  <a:pos x="128" y="41"/>
                </a:cxn>
                <a:cxn ang="0">
                  <a:pos x="117" y="40"/>
                </a:cxn>
                <a:cxn ang="0">
                  <a:pos x="110" y="33"/>
                </a:cxn>
                <a:cxn ang="0">
                  <a:pos x="105" y="24"/>
                </a:cxn>
                <a:cxn ang="0">
                  <a:pos x="105" y="30"/>
                </a:cxn>
                <a:cxn ang="0">
                  <a:pos x="100" y="28"/>
                </a:cxn>
                <a:cxn ang="0">
                  <a:pos x="96" y="20"/>
                </a:cxn>
                <a:cxn ang="0">
                  <a:pos x="92" y="10"/>
                </a:cxn>
                <a:cxn ang="0">
                  <a:pos x="78" y="0"/>
                </a:cxn>
                <a:cxn ang="0">
                  <a:pos x="81" y="12"/>
                </a:cxn>
                <a:cxn ang="0">
                  <a:pos x="89" y="20"/>
                </a:cxn>
                <a:cxn ang="0">
                  <a:pos x="96" y="29"/>
                </a:cxn>
                <a:cxn ang="0">
                  <a:pos x="94" y="46"/>
                </a:cxn>
                <a:cxn ang="0">
                  <a:pos x="85" y="56"/>
                </a:cxn>
                <a:cxn ang="0">
                  <a:pos x="100" y="69"/>
                </a:cxn>
                <a:cxn ang="0">
                  <a:pos x="97" y="87"/>
                </a:cxn>
                <a:cxn ang="0">
                  <a:pos x="107" y="89"/>
                </a:cxn>
                <a:cxn ang="0">
                  <a:pos x="119" y="71"/>
                </a:cxn>
                <a:cxn ang="0">
                  <a:pos x="123" y="60"/>
                </a:cxn>
                <a:cxn ang="0">
                  <a:pos x="130" y="57"/>
                </a:cxn>
                <a:cxn ang="0">
                  <a:pos x="135" y="50"/>
                </a:cxn>
                <a:cxn ang="0">
                  <a:pos x="139" y="40"/>
                </a:cxn>
                <a:cxn ang="0">
                  <a:pos x="128" y="41"/>
                </a:cxn>
              </a:cxnLst>
              <a:rect l="0" t="0" r="r" b="b"/>
              <a:pathLst>
                <a:path w="141" h="168">
                  <a:moveTo>
                    <a:pt x="87" y="81"/>
                  </a:moveTo>
                  <a:cubicBezTo>
                    <a:pt x="84" y="79"/>
                    <a:pt x="82" y="82"/>
                    <a:pt x="78" y="84"/>
                  </a:cubicBezTo>
                  <a:cubicBezTo>
                    <a:pt x="74" y="86"/>
                    <a:pt x="72" y="76"/>
                    <a:pt x="67" y="79"/>
                  </a:cubicBezTo>
                  <a:cubicBezTo>
                    <a:pt x="62" y="83"/>
                    <a:pt x="67" y="85"/>
                    <a:pt x="61" y="89"/>
                  </a:cubicBezTo>
                  <a:cubicBezTo>
                    <a:pt x="56" y="94"/>
                    <a:pt x="58" y="95"/>
                    <a:pt x="52" y="105"/>
                  </a:cubicBezTo>
                  <a:cubicBezTo>
                    <a:pt x="46" y="115"/>
                    <a:pt x="24" y="120"/>
                    <a:pt x="21" y="125"/>
                  </a:cubicBezTo>
                  <a:cubicBezTo>
                    <a:pt x="18" y="131"/>
                    <a:pt x="7" y="135"/>
                    <a:pt x="7" y="139"/>
                  </a:cubicBezTo>
                  <a:cubicBezTo>
                    <a:pt x="7" y="143"/>
                    <a:pt x="0" y="146"/>
                    <a:pt x="4" y="151"/>
                  </a:cubicBezTo>
                  <a:cubicBezTo>
                    <a:pt x="7" y="155"/>
                    <a:pt x="11" y="152"/>
                    <a:pt x="14" y="156"/>
                  </a:cubicBezTo>
                  <a:cubicBezTo>
                    <a:pt x="17" y="159"/>
                    <a:pt x="21" y="156"/>
                    <a:pt x="22" y="159"/>
                  </a:cubicBezTo>
                  <a:cubicBezTo>
                    <a:pt x="24" y="162"/>
                    <a:pt x="35" y="162"/>
                    <a:pt x="43" y="154"/>
                  </a:cubicBezTo>
                  <a:cubicBezTo>
                    <a:pt x="51" y="147"/>
                    <a:pt x="47" y="143"/>
                    <a:pt x="50" y="141"/>
                  </a:cubicBezTo>
                  <a:cubicBezTo>
                    <a:pt x="54" y="139"/>
                    <a:pt x="54" y="133"/>
                    <a:pt x="56" y="129"/>
                  </a:cubicBezTo>
                  <a:cubicBezTo>
                    <a:pt x="58" y="126"/>
                    <a:pt x="60" y="122"/>
                    <a:pt x="69" y="122"/>
                  </a:cubicBezTo>
                  <a:cubicBezTo>
                    <a:pt x="78" y="122"/>
                    <a:pt x="73" y="120"/>
                    <a:pt x="72" y="116"/>
                  </a:cubicBezTo>
                  <a:cubicBezTo>
                    <a:pt x="72" y="111"/>
                    <a:pt x="80" y="111"/>
                    <a:pt x="80" y="105"/>
                  </a:cubicBezTo>
                  <a:cubicBezTo>
                    <a:pt x="80" y="100"/>
                    <a:pt x="91" y="95"/>
                    <a:pt x="89" y="90"/>
                  </a:cubicBezTo>
                  <a:cubicBezTo>
                    <a:pt x="86" y="86"/>
                    <a:pt x="91" y="84"/>
                    <a:pt x="87" y="81"/>
                  </a:cubicBezTo>
                  <a:close/>
                  <a:moveTo>
                    <a:pt x="15" y="167"/>
                  </a:moveTo>
                  <a:cubicBezTo>
                    <a:pt x="17" y="168"/>
                    <a:pt x="22" y="166"/>
                    <a:pt x="19" y="162"/>
                  </a:cubicBezTo>
                  <a:cubicBezTo>
                    <a:pt x="16" y="158"/>
                    <a:pt x="11" y="166"/>
                    <a:pt x="15" y="167"/>
                  </a:cubicBezTo>
                  <a:close/>
                  <a:moveTo>
                    <a:pt x="128" y="41"/>
                  </a:moveTo>
                  <a:cubicBezTo>
                    <a:pt x="126" y="45"/>
                    <a:pt x="121" y="40"/>
                    <a:pt x="117" y="40"/>
                  </a:cubicBezTo>
                  <a:cubicBezTo>
                    <a:pt x="113" y="40"/>
                    <a:pt x="110" y="37"/>
                    <a:pt x="110" y="33"/>
                  </a:cubicBezTo>
                  <a:cubicBezTo>
                    <a:pt x="110" y="29"/>
                    <a:pt x="109" y="24"/>
                    <a:pt x="105" y="24"/>
                  </a:cubicBezTo>
                  <a:cubicBezTo>
                    <a:pt x="101" y="24"/>
                    <a:pt x="106" y="28"/>
                    <a:pt x="105" y="30"/>
                  </a:cubicBezTo>
                  <a:cubicBezTo>
                    <a:pt x="103" y="32"/>
                    <a:pt x="102" y="28"/>
                    <a:pt x="100" y="28"/>
                  </a:cubicBezTo>
                  <a:cubicBezTo>
                    <a:pt x="98" y="28"/>
                    <a:pt x="96" y="25"/>
                    <a:pt x="96" y="20"/>
                  </a:cubicBezTo>
                  <a:cubicBezTo>
                    <a:pt x="96" y="15"/>
                    <a:pt x="92" y="16"/>
                    <a:pt x="92" y="10"/>
                  </a:cubicBezTo>
                  <a:cubicBezTo>
                    <a:pt x="92" y="4"/>
                    <a:pt x="83" y="0"/>
                    <a:pt x="78" y="0"/>
                  </a:cubicBezTo>
                  <a:cubicBezTo>
                    <a:pt x="73" y="0"/>
                    <a:pt x="79" y="9"/>
                    <a:pt x="81" y="12"/>
                  </a:cubicBezTo>
                  <a:cubicBezTo>
                    <a:pt x="84" y="15"/>
                    <a:pt x="89" y="18"/>
                    <a:pt x="89" y="20"/>
                  </a:cubicBezTo>
                  <a:cubicBezTo>
                    <a:pt x="89" y="22"/>
                    <a:pt x="93" y="28"/>
                    <a:pt x="96" y="29"/>
                  </a:cubicBezTo>
                  <a:cubicBezTo>
                    <a:pt x="99" y="30"/>
                    <a:pt x="94" y="39"/>
                    <a:pt x="94" y="46"/>
                  </a:cubicBezTo>
                  <a:cubicBezTo>
                    <a:pt x="94" y="53"/>
                    <a:pt x="89" y="51"/>
                    <a:pt x="85" y="56"/>
                  </a:cubicBezTo>
                  <a:cubicBezTo>
                    <a:pt x="81" y="60"/>
                    <a:pt x="94" y="65"/>
                    <a:pt x="100" y="69"/>
                  </a:cubicBezTo>
                  <a:cubicBezTo>
                    <a:pt x="105" y="74"/>
                    <a:pt x="95" y="85"/>
                    <a:pt x="97" y="87"/>
                  </a:cubicBezTo>
                  <a:cubicBezTo>
                    <a:pt x="97" y="89"/>
                    <a:pt x="101" y="90"/>
                    <a:pt x="107" y="89"/>
                  </a:cubicBezTo>
                  <a:cubicBezTo>
                    <a:pt x="113" y="87"/>
                    <a:pt x="115" y="75"/>
                    <a:pt x="119" y="71"/>
                  </a:cubicBezTo>
                  <a:cubicBezTo>
                    <a:pt x="123" y="68"/>
                    <a:pt x="121" y="62"/>
                    <a:pt x="123" y="60"/>
                  </a:cubicBezTo>
                  <a:cubicBezTo>
                    <a:pt x="125" y="57"/>
                    <a:pt x="128" y="57"/>
                    <a:pt x="130" y="57"/>
                  </a:cubicBezTo>
                  <a:cubicBezTo>
                    <a:pt x="133" y="57"/>
                    <a:pt x="132" y="50"/>
                    <a:pt x="135" y="50"/>
                  </a:cubicBezTo>
                  <a:cubicBezTo>
                    <a:pt x="139" y="50"/>
                    <a:pt x="137" y="46"/>
                    <a:pt x="139" y="40"/>
                  </a:cubicBezTo>
                  <a:cubicBezTo>
                    <a:pt x="141" y="35"/>
                    <a:pt x="130" y="37"/>
                    <a:pt x="128" y="4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6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9842927" y="4604050"/>
              <a:ext cx="70128" cy="64442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17" y="20"/>
                </a:cxn>
                <a:cxn ang="0">
                  <a:pos x="4" y="24"/>
                </a:cxn>
                <a:cxn ang="0">
                  <a:pos x="20" y="10"/>
                </a:cxn>
                <a:cxn ang="0">
                  <a:pos x="31" y="4"/>
                </a:cxn>
                <a:cxn ang="0">
                  <a:pos x="20" y="10"/>
                </a:cxn>
              </a:cxnLst>
              <a:rect l="0" t="0" r="r" b="b"/>
              <a:pathLst>
                <a:path w="31" h="28">
                  <a:moveTo>
                    <a:pt x="4" y="24"/>
                  </a:moveTo>
                  <a:cubicBezTo>
                    <a:pt x="8" y="28"/>
                    <a:pt x="17" y="27"/>
                    <a:pt x="17" y="20"/>
                  </a:cubicBezTo>
                  <a:cubicBezTo>
                    <a:pt x="17" y="13"/>
                    <a:pt x="0" y="20"/>
                    <a:pt x="4" y="24"/>
                  </a:cubicBezTo>
                  <a:close/>
                  <a:moveTo>
                    <a:pt x="20" y="10"/>
                  </a:moveTo>
                  <a:cubicBezTo>
                    <a:pt x="22" y="11"/>
                    <a:pt x="31" y="8"/>
                    <a:pt x="31" y="4"/>
                  </a:cubicBezTo>
                  <a:cubicBezTo>
                    <a:pt x="31" y="0"/>
                    <a:pt x="15" y="9"/>
                    <a:pt x="20" y="1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649268" y="2996797"/>
              <a:ext cx="369593" cy="233128"/>
            </a:xfrm>
            <a:custGeom>
              <a:avLst/>
              <a:gdLst/>
              <a:ahLst/>
              <a:cxnLst>
                <a:cxn ang="0">
                  <a:pos x="161" y="64"/>
                </a:cxn>
                <a:cxn ang="0">
                  <a:pos x="151" y="61"/>
                </a:cxn>
                <a:cxn ang="0">
                  <a:pos x="139" y="53"/>
                </a:cxn>
                <a:cxn ang="0">
                  <a:pos x="126" y="45"/>
                </a:cxn>
                <a:cxn ang="0">
                  <a:pos x="115" y="37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88" y="18"/>
                </a:cxn>
                <a:cxn ang="0">
                  <a:pos x="84" y="6"/>
                </a:cxn>
                <a:cxn ang="0">
                  <a:pos x="76" y="3"/>
                </a:cxn>
                <a:cxn ang="0">
                  <a:pos x="68" y="1"/>
                </a:cxn>
                <a:cxn ang="0">
                  <a:pos x="63" y="4"/>
                </a:cxn>
                <a:cxn ang="0">
                  <a:pos x="59" y="8"/>
                </a:cxn>
                <a:cxn ang="0">
                  <a:pos x="51" y="14"/>
                </a:cxn>
                <a:cxn ang="0">
                  <a:pos x="47" y="19"/>
                </a:cxn>
                <a:cxn ang="0">
                  <a:pos x="39" y="17"/>
                </a:cxn>
                <a:cxn ang="0">
                  <a:pos x="31" y="15"/>
                </a:cxn>
                <a:cxn ang="0">
                  <a:pos x="17" y="5"/>
                </a:cxn>
                <a:cxn ang="0">
                  <a:pos x="6" y="11"/>
                </a:cxn>
                <a:cxn ang="0">
                  <a:pos x="11" y="9"/>
                </a:cxn>
                <a:cxn ang="0">
                  <a:pos x="20" y="19"/>
                </a:cxn>
                <a:cxn ang="0">
                  <a:pos x="25" y="26"/>
                </a:cxn>
                <a:cxn ang="0">
                  <a:pos x="14" y="28"/>
                </a:cxn>
                <a:cxn ang="0">
                  <a:pos x="3" y="28"/>
                </a:cxn>
                <a:cxn ang="0">
                  <a:pos x="6" y="38"/>
                </a:cxn>
                <a:cxn ang="0">
                  <a:pos x="6" y="45"/>
                </a:cxn>
                <a:cxn ang="0">
                  <a:pos x="13" y="47"/>
                </a:cxn>
                <a:cxn ang="0">
                  <a:pos x="15" y="56"/>
                </a:cxn>
                <a:cxn ang="0">
                  <a:pos x="15" y="71"/>
                </a:cxn>
                <a:cxn ang="0">
                  <a:pos x="24" y="70"/>
                </a:cxn>
                <a:cxn ang="0">
                  <a:pos x="34" y="63"/>
                </a:cxn>
                <a:cxn ang="0">
                  <a:pos x="42" y="62"/>
                </a:cxn>
                <a:cxn ang="0">
                  <a:pos x="55" y="62"/>
                </a:cxn>
                <a:cxn ang="0">
                  <a:pos x="64" y="66"/>
                </a:cxn>
                <a:cxn ang="0">
                  <a:pos x="69" y="68"/>
                </a:cxn>
                <a:cxn ang="0">
                  <a:pos x="79" y="71"/>
                </a:cxn>
                <a:cxn ang="0">
                  <a:pos x="84" y="75"/>
                </a:cxn>
                <a:cxn ang="0">
                  <a:pos x="91" y="82"/>
                </a:cxn>
                <a:cxn ang="0">
                  <a:pos x="99" y="83"/>
                </a:cxn>
                <a:cxn ang="0">
                  <a:pos x="101" y="97"/>
                </a:cxn>
                <a:cxn ang="0">
                  <a:pos x="104" y="96"/>
                </a:cxn>
                <a:cxn ang="0">
                  <a:pos x="112" y="99"/>
                </a:cxn>
                <a:cxn ang="0">
                  <a:pos x="122" y="95"/>
                </a:cxn>
                <a:cxn ang="0">
                  <a:pos x="138" y="86"/>
                </a:cxn>
                <a:cxn ang="0">
                  <a:pos x="144" y="75"/>
                </a:cxn>
                <a:cxn ang="0">
                  <a:pos x="153" y="69"/>
                </a:cxn>
                <a:cxn ang="0">
                  <a:pos x="162" y="71"/>
                </a:cxn>
                <a:cxn ang="0">
                  <a:pos x="161" y="64"/>
                </a:cxn>
              </a:cxnLst>
              <a:rect l="0" t="0" r="r" b="b"/>
              <a:pathLst>
                <a:path w="162" h="102">
                  <a:moveTo>
                    <a:pt x="161" y="64"/>
                  </a:moveTo>
                  <a:cubicBezTo>
                    <a:pt x="161" y="64"/>
                    <a:pt x="153" y="60"/>
                    <a:pt x="151" y="61"/>
                  </a:cubicBezTo>
                  <a:cubicBezTo>
                    <a:pt x="148" y="61"/>
                    <a:pt x="144" y="55"/>
                    <a:pt x="139" y="53"/>
                  </a:cubicBezTo>
                  <a:cubicBezTo>
                    <a:pt x="134" y="51"/>
                    <a:pt x="128" y="48"/>
                    <a:pt x="126" y="45"/>
                  </a:cubicBezTo>
                  <a:cubicBezTo>
                    <a:pt x="124" y="42"/>
                    <a:pt x="116" y="39"/>
                    <a:pt x="115" y="37"/>
                  </a:cubicBezTo>
                  <a:cubicBezTo>
                    <a:pt x="114" y="35"/>
                    <a:pt x="112" y="31"/>
                    <a:pt x="110" y="28"/>
                  </a:cubicBezTo>
                  <a:cubicBezTo>
                    <a:pt x="107" y="25"/>
                    <a:pt x="107" y="21"/>
                    <a:pt x="105" y="20"/>
                  </a:cubicBezTo>
                  <a:cubicBezTo>
                    <a:pt x="103" y="20"/>
                    <a:pt x="88" y="20"/>
                    <a:pt x="88" y="18"/>
                  </a:cubicBezTo>
                  <a:cubicBezTo>
                    <a:pt x="88" y="16"/>
                    <a:pt x="87" y="7"/>
                    <a:pt x="84" y="6"/>
                  </a:cubicBezTo>
                  <a:cubicBezTo>
                    <a:pt x="81" y="6"/>
                    <a:pt x="77" y="5"/>
                    <a:pt x="76" y="3"/>
                  </a:cubicBezTo>
                  <a:cubicBezTo>
                    <a:pt x="74" y="2"/>
                    <a:pt x="69" y="0"/>
                    <a:pt x="68" y="1"/>
                  </a:cubicBezTo>
                  <a:cubicBezTo>
                    <a:pt x="67" y="3"/>
                    <a:pt x="64" y="4"/>
                    <a:pt x="63" y="4"/>
                  </a:cubicBezTo>
                  <a:cubicBezTo>
                    <a:pt x="62" y="4"/>
                    <a:pt x="62" y="8"/>
                    <a:pt x="59" y="8"/>
                  </a:cubicBezTo>
                  <a:cubicBezTo>
                    <a:pt x="56" y="8"/>
                    <a:pt x="51" y="12"/>
                    <a:pt x="51" y="14"/>
                  </a:cubicBezTo>
                  <a:cubicBezTo>
                    <a:pt x="51" y="16"/>
                    <a:pt x="51" y="20"/>
                    <a:pt x="47" y="19"/>
                  </a:cubicBezTo>
                  <a:cubicBezTo>
                    <a:pt x="45" y="19"/>
                    <a:pt x="42" y="19"/>
                    <a:pt x="39" y="17"/>
                  </a:cubicBezTo>
                  <a:cubicBezTo>
                    <a:pt x="38" y="18"/>
                    <a:pt x="35" y="20"/>
                    <a:pt x="31" y="15"/>
                  </a:cubicBezTo>
                  <a:cubicBezTo>
                    <a:pt x="27" y="10"/>
                    <a:pt x="21" y="5"/>
                    <a:pt x="17" y="5"/>
                  </a:cubicBezTo>
                  <a:cubicBezTo>
                    <a:pt x="14" y="5"/>
                    <a:pt x="3" y="5"/>
                    <a:pt x="6" y="11"/>
                  </a:cubicBezTo>
                  <a:cubicBezTo>
                    <a:pt x="7" y="10"/>
                    <a:pt x="8" y="9"/>
                    <a:pt x="11" y="9"/>
                  </a:cubicBezTo>
                  <a:cubicBezTo>
                    <a:pt x="19" y="10"/>
                    <a:pt x="15" y="19"/>
                    <a:pt x="20" y="19"/>
                  </a:cubicBezTo>
                  <a:cubicBezTo>
                    <a:pt x="24" y="20"/>
                    <a:pt x="29" y="26"/>
                    <a:pt x="25" y="26"/>
                  </a:cubicBezTo>
                  <a:cubicBezTo>
                    <a:pt x="21" y="26"/>
                    <a:pt x="18" y="30"/>
                    <a:pt x="14" y="28"/>
                  </a:cubicBezTo>
                  <a:cubicBezTo>
                    <a:pt x="10" y="27"/>
                    <a:pt x="5" y="24"/>
                    <a:pt x="3" y="28"/>
                  </a:cubicBezTo>
                  <a:cubicBezTo>
                    <a:pt x="2" y="33"/>
                    <a:pt x="0" y="38"/>
                    <a:pt x="6" y="38"/>
                  </a:cubicBezTo>
                  <a:cubicBezTo>
                    <a:pt x="11" y="37"/>
                    <a:pt x="10" y="41"/>
                    <a:pt x="6" y="45"/>
                  </a:cubicBezTo>
                  <a:cubicBezTo>
                    <a:pt x="3" y="48"/>
                    <a:pt x="12" y="44"/>
                    <a:pt x="13" y="47"/>
                  </a:cubicBezTo>
                  <a:cubicBezTo>
                    <a:pt x="13" y="51"/>
                    <a:pt x="16" y="51"/>
                    <a:pt x="15" y="56"/>
                  </a:cubicBezTo>
                  <a:cubicBezTo>
                    <a:pt x="14" y="60"/>
                    <a:pt x="15" y="66"/>
                    <a:pt x="15" y="71"/>
                  </a:cubicBezTo>
                  <a:cubicBezTo>
                    <a:pt x="19" y="71"/>
                    <a:pt x="23" y="71"/>
                    <a:pt x="24" y="70"/>
                  </a:cubicBezTo>
                  <a:cubicBezTo>
                    <a:pt x="26" y="67"/>
                    <a:pt x="31" y="63"/>
                    <a:pt x="34" y="63"/>
                  </a:cubicBezTo>
                  <a:cubicBezTo>
                    <a:pt x="37" y="63"/>
                    <a:pt x="41" y="64"/>
                    <a:pt x="42" y="62"/>
                  </a:cubicBezTo>
                  <a:cubicBezTo>
                    <a:pt x="44" y="59"/>
                    <a:pt x="54" y="60"/>
                    <a:pt x="55" y="62"/>
                  </a:cubicBezTo>
                  <a:cubicBezTo>
                    <a:pt x="57" y="64"/>
                    <a:pt x="62" y="66"/>
                    <a:pt x="64" y="66"/>
                  </a:cubicBezTo>
                  <a:cubicBezTo>
                    <a:pt x="65" y="66"/>
                    <a:pt x="66" y="69"/>
                    <a:pt x="69" y="68"/>
                  </a:cubicBezTo>
                  <a:cubicBezTo>
                    <a:pt x="72" y="68"/>
                    <a:pt x="79" y="69"/>
                    <a:pt x="79" y="71"/>
                  </a:cubicBezTo>
                  <a:cubicBezTo>
                    <a:pt x="79" y="73"/>
                    <a:pt x="81" y="75"/>
                    <a:pt x="84" y="75"/>
                  </a:cubicBezTo>
                  <a:cubicBezTo>
                    <a:pt x="86" y="75"/>
                    <a:pt x="89" y="82"/>
                    <a:pt x="91" y="82"/>
                  </a:cubicBezTo>
                  <a:cubicBezTo>
                    <a:pt x="94" y="81"/>
                    <a:pt x="99" y="81"/>
                    <a:pt x="99" y="83"/>
                  </a:cubicBezTo>
                  <a:cubicBezTo>
                    <a:pt x="99" y="84"/>
                    <a:pt x="100" y="92"/>
                    <a:pt x="101" y="97"/>
                  </a:cubicBezTo>
                  <a:cubicBezTo>
                    <a:pt x="102" y="96"/>
                    <a:pt x="103" y="96"/>
                    <a:pt x="104" y="96"/>
                  </a:cubicBezTo>
                  <a:cubicBezTo>
                    <a:pt x="105" y="97"/>
                    <a:pt x="111" y="96"/>
                    <a:pt x="112" y="99"/>
                  </a:cubicBezTo>
                  <a:cubicBezTo>
                    <a:pt x="113" y="102"/>
                    <a:pt x="122" y="100"/>
                    <a:pt x="122" y="95"/>
                  </a:cubicBezTo>
                  <a:cubicBezTo>
                    <a:pt x="121" y="90"/>
                    <a:pt x="136" y="90"/>
                    <a:pt x="138" y="86"/>
                  </a:cubicBezTo>
                  <a:cubicBezTo>
                    <a:pt x="139" y="81"/>
                    <a:pt x="141" y="73"/>
                    <a:pt x="144" y="75"/>
                  </a:cubicBezTo>
                  <a:cubicBezTo>
                    <a:pt x="148" y="76"/>
                    <a:pt x="150" y="69"/>
                    <a:pt x="153" y="69"/>
                  </a:cubicBezTo>
                  <a:cubicBezTo>
                    <a:pt x="156" y="70"/>
                    <a:pt x="158" y="72"/>
                    <a:pt x="162" y="71"/>
                  </a:cubicBezTo>
                  <a:lnTo>
                    <a:pt x="161" y="64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425617" y="3080192"/>
              <a:ext cx="507953" cy="430244"/>
            </a:xfrm>
            <a:custGeom>
              <a:avLst/>
              <a:gdLst/>
              <a:ahLst/>
              <a:cxnLst>
                <a:cxn ang="0">
                  <a:pos x="217" y="162"/>
                </a:cxn>
                <a:cxn ang="0">
                  <a:pos x="212" y="150"/>
                </a:cxn>
                <a:cxn ang="0">
                  <a:pos x="200" y="140"/>
                </a:cxn>
                <a:cxn ang="0">
                  <a:pos x="192" y="130"/>
                </a:cxn>
                <a:cxn ang="0">
                  <a:pos x="204" y="114"/>
                </a:cxn>
                <a:cxn ang="0">
                  <a:pos x="193" y="108"/>
                </a:cxn>
                <a:cxn ang="0">
                  <a:pos x="191" y="95"/>
                </a:cxn>
                <a:cxn ang="0">
                  <a:pos x="191" y="83"/>
                </a:cxn>
                <a:cxn ang="0">
                  <a:pos x="192" y="74"/>
                </a:cxn>
                <a:cxn ang="0">
                  <a:pos x="197" y="65"/>
                </a:cxn>
                <a:cxn ang="0">
                  <a:pos x="199" y="60"/>
                </a:cxn>
                <a:cxn ang="0">
                  <a:pos x="197" y="46"/>
                </a:cxn>
                <a:cxn ang="0">
                  <a:pos x="189" y="45"/>
                </a:cxn>
                <a:cxn ang="0">
                  <a:pos x="182" y="38"/>
                </a:cxn>
                <a:cxn ang="0">
                  <a:pos x="177" y="34"/>
                </a:cxn>
                <a:cxn ang="0">
                  <a:pos x="167" y="31"/>
                </a:cxn>
                <a:cxn ang="0">
                  <a:pos x="162" y="29"/>
                </a:cxn>
                <a:cxn ang="0">
                  <a:pos x="153" y="25"/>
                </a:cxn>
                <a:cxn ang="0">
                  <a:pos x="140" y="25"/>
                </a:cxn>
                <a:cxn ang="0">
                  <a:pos x="132" y="26"/>
                </a:cxn>
                <a:cxn ang="0">
                  <a:pos x="122" y="33"/>
                </a:cxn>
                <a:cxn ang="0">
                  <a:pos x="113" y="34"/>
                </a:cxn>
                <a:cxn ang="0">
                  <a:pos x="113" y="40"/>
                </a:cxn>
                <a:cxn ang="0">
                  <a:pos x="88" y="46"/>
                </a:cxn>
                <a:cxn ang="0">
                  <a:pos x="68" y="33"/>
                </a:cxn>
                <a:cxn ang="0">
                  <a:pos x="54" y="20"/>
                </a:cxn>
                <a:cxn ang="0">
                  <a:pos x="46" y="14"/>
                </a:cxn>
                <a:cxn ang="0">
                  <a:pos x="44" y="4"/>
                </a:cxn>
                <a:cxn ang="0">
                  <a:pos x="21" y="14"/>
                </a:cxn>
                <a:cxn ang="0">
                  <a:pos x="13" y="9"/>
                </a:cxn>
                <a:cxn ang="0">
                  <a:pos x="7" y="1"/>
                </a:cxn>
                <a:cxn ang="0">
                  <a:pos x="3" y="6"/>
                </a:cxn>
                <a:cxn ang="0">
                  <a:pos x="3" y="16"/>
                </a:cxn>
                <a:cxn ang="0">
                  <a:pos x="3" y="28"/>
                </a:cxn>
                <a:cxn ang="0">
                  <a:pos x="9" y="37"/>
                </a:cxn>
                <a:cxn ang="0">
                  <a:pos x="13" y="46"/>
                </a:cxn>
                <a:cxn ang="0">
                  <a:pos x="19" y="52"/>
                </a:cxn>
                <a:cxn ang="0">
                  <a:pos x="23" y="56"/>
                </a:cxn>
                <a:cxn ang="0">
                  <a:pos x="22" y="63"/>
                </a:cxn>
                <a:cxn ang="0">
                  <a:pos x="17" y="72"/>
                </a:cxn>
                <a:cxn ang="0">
                  <a:pos x="19" y="82"/>
                </a:cxn>
                <a:cxn ang="0">
                  <a:pos x="24" y="88"/>
                </a:cxn>
                <a:cxn ang="0">
                  <a:pos x="37" y="97"/>
                </a:cxn>
                <a:cxn ang="0">
                  <a:pos x="42" y="103"/>
                </a:cxn>
                <a:cxn ang="0">
                  <a:pos x="41" y="111"/>
                </a:cxn>
                <a:cxn ang="0">
                  <a:pos x="45" y="119"/>
                </a:cxn>
                <a:cxn ang="0">
                  <a:pos x="51" y="127"/>
                </a:cxn>
                <a:cxn ang="0">
                  <a:pos x="54" y="127"/>
                </a:cxn>
                <a:cxn ang="0">
                  <a:pos x="59" y="126"/>
                </a:cxn>
                <a:cxn ang="0">
                  <a:pos x="67" y="125"/>
                </a:cxn>
                <a:cxn ang="0">
                  <a:pos x="79" y="143"/>
                </a:cxn>
                <a:cxn ang="0">
                  <a:pos x="85" y="153"/>
                </a:cxn>
                <a:cxn ang="0">
                  <a:pos x="99" y="160"/>
                </a:cxn>
                <a:cxn ang="0">
                  <a:pos x="125" y="170"/>
                </a:cxn>
                <a:cxn ang="0">
                  <a:pos x="143" y="165"/>
                </a:cxn>
                <a:cxn ang="0">
                  <a:pos x="151" y="180"/>
                </a:cxn>
                <a:cxn ang="0">
                  <a:pos x="191" y="187"/>
                </a:cxn>
                <a:cxn ang="0">
                  <a:pos x="202" y="188"/>
                </a:cxn>
                <a:cxn ang="0">
                  <a:pos x="202" y="185"/>
                </a:cxn>
                <a:cxn ang="0">
                  <a:pos x="209" y="174"/>
                </a:cxn>
                <a:cxn ang="0">
                  <a:pos x="220" y="171"/>
                </a:cxn>
                <a:cxn ang="0">
                  <a:pos x="217" y="162"/>
                </a:cxn>
              </a:cxnLst>
              <a:rect l="0" t="0" r="r" b="b"/>
              <a:pathLst>
                <a:path w="223" h="188">
                  <a:moveTo>
                    <a:pt x="217" y="162"/>
                  </a:moveTo>
                  <a:cubicBezTo>
                    <a:pt x="214" y="161"/>
                    <a:pt x="217" y="152"/>
                    <a:pt x="212" y="150"/>
                  </a:cubicBezTo>
                  <a:cubicBezTo>
                    <a:pt x="206" y="148"/>
                    <a:pt x="201" y="144"/>
                    <a:pt x="200" y="140"/>
                  </a:cubicBezTo>
                  <a:cubicBezTo>
                    <a:pt x="199" y="136"/>
                    <a:pt x="192" y="133"/>
                    <a:pt x="192" y="130"/>
                  </a:cubicBezTo>
                  <a:cubicBezTo>
                    <a:pt x="193" y="128"/>
                    <a:pt x="206" y="119"/>
                    <a:pt x="204" y="114"/>
                  </a:cubicBezTo>
                  <a:cubicBezTo>
                    <a:pt x="202" y="109"/>
                    <a:pt x="194" y="110"/>
                    <a:pt x="193" y="108"/>
                  </a:cubicBezTo>
                  <a:cubicBezTo>
                    <a:pt x="192" y="107"/>
                    <a:pt x="193" y="100"/>
                    <a:pt x="191" y="95"/>
                  </a:cubicBezTo>
                  <a:cubicBezTo>
                    <a:pt x="189" y="91"/>
                    <a:pt x="193" y="86"/>
                    <a:pt x="191" y="83"/>
                  </a:cubicBezTo>
                  <a:cubicBezTo>
                    <a:pt x="189" y="81"/>
                    <a:pt x="192" y="75"/>
                    <a:pt x="192" y="74"/>
                  </a:cubicBezTo>
                  <a:cubicBezTo>
                    <a:pt x="193" y="72"/>
                    <a:pt x="197" y="69"/>
                    <a:pt x="197" y="65"/>
                  </a:cubicBezTo>
                  <a:cubicBezTo>
                    <a:pt x="197" y="62"/>
                    <a:pt x="198" y="60"/>
                    <a:pt x="199" y="60"/>
                  </a:cubicBezTo>
                  <a:cubicBezTo>
                    <a:pt x="198" y="55"/>
                    <a:pt x="197" y="47"/>
                    <a:pt x="197" y="46"/>
                  </a:cubicBezTo>
                  <a:cubicBezTo>
                    <a:pt x="197" y="44"/>
                    <a:pt x="192" y="44"/>
                    <a:pt x="189" y="45"/>
                  </a:cubicBezTo>
                  <a:cubicBezTo>
                    <a:pt x="187" y="45"/>
                    <a:pt x="184" y="38"/>
                    <a:pt x="182" y="38"/>
                  </a:cubicBezTo>
                  <a:cubicBezTo>
                    <a:pt x="179" y="38"/>
                    <a:pt x="177" y="36"/>
                    <a:pt x="177" y="34"/>
                  </a:cubicBezTo>
                  <a:cubicBezTo>
                    <a:pt x="177" y="32"/>
                    <a:pt x="170" y="31"/>
                    <a:pt x="167" y="31"/>
                  </a:cubicBezTo>
                  <a:cubicBezTo>
                    <a:pt x="164" y="32"/>
                    <a:pt x="163" y="29"/>
                    <a:pt x="162" y="29"/>
                  </a:cubicBezTo>
                  <a:cubicBezTo>
                    <a:pt x="160" y="29"/>
                    <a:pt x="155" y="27"/>
                    <a:pt x="153" y="25"/>
                  </a:cubicBezTo>
                  <a:cubicBezTo>
                    <a:pt x="152" y="23"/>
                    <a:pt x="142" y="22"/>
                    <a:pt x="140" y="25"/>
                  </a:cubicBezTo>
                  <a:cubicBezTo>
                    <a:pt x="139" y="27"/>
                    <a:pt x="135" y="26"/>
                    <a:pt x="132" y="26"/>
                  </a:cubicBezTo>
                  <a:cubicBezTo>
                    <a:pt x="129" y="26"/>
                    <a:pt x="124" y="30"/>
                    <a:pt x="122" y="33"/>
                  </a:cubicBezTo>
                  <a:cubicBezTo>
                    <a:pt x="121" y="34"/>
                    <a:pt x="117" y="34"/>
                    <a:pt x="113" y="34"/>
                  </a:cubicBezTo>
                  <a:cubicBezTo>
                    <a:pt x="113" y="37"/>
                    <a:pt x="113" y="39"/>
                    <a:pt x="113" y="40"/>
                  </a:cubicBezTo>
                  <a:cubicBezTo>
                    <a:pt x="111" y="43"/>
                    <a:pt x="98" y="45"/>
                    <a:pt x="88" y="46"/>
                  </a:cubicBezTo>
                  <a:cubicBezTo>
                    <a:pt x="79" y="46"/>
                    <a:pt x="78" y="33"/>
                    <a:pt x="68" y="33"/>
                  </a:cubicBezTo>
                  <a:cubicBezTo>
                    <a:pt x="60" y="33"/>
                    <a:pt x="54" y="26"/>
                    <a:pt x="54" y="20"/>
                  </a:cubicBezTo>
                  <a:cubicBezTo>
                    <a:pt x="50" y="18"/>
                    <a:pt x="45" y="15"/>
                    <a:pt x="46" y="14"/>
                  </a:cubicBezTo>
                  <a:cubicBezTo>
                    <a:pt x="47" y="12"/>
                    <a:pt x="49" y="1"/>
                    <a:pt x="44" y="4"/>
                  </a:cubicBezTo>
                  <a:cubicBezTo>
                    <a:pt x="38" y="6"/>
                    <a:pt x="31" y="15"/>
                    <a:pt x="21" y="14"/>
                  </a:cubicBezTo>
                  <a:cubicBezTo>
                    <a:pt x="11" y="12"/>
                    <a:pt x="18" y="11"/>
                    <a:pt x="13" y="9"/>
                  </a:cubicBezTo>
                  <a:cubicBezTo>
                    <a:pt x="9" y="7"/>
                    <a:pt x="12" y="2"/>
                    <a:pt x="7" y="1"/>
                  </a:cubicBezTo>
                  <a:cubicBezTo>
                    <a:pt x="2" y="0"/>
                    <a:pt x="5" y="6"/>
                    <a:pt x="3" y="6"/>
                  </a:cubicBezTo>
                  <a:cubicBezTo>
                    <a:pt x="0" y="6"/>
                    <a:pt x="2" y="14"/>
                    <a:pt x="3" y="16"/>
                  </a:cubicBezTo>
                  <a:cubicBezTo>
                    <a:pt x="4" y="18"/>
                    <a:pt x="1" y="27"/>
                    <a:pt x="3" y="28"/>
                  </a:cubicBezTo>
                  <a:cubicBezTo>
                    <a:pt x="5" y="28"/>
                    <a:pt x="9" y="35"/>
                    <a:pt x="9" y="37"/>
                  </a:cubicBezTo>
                  <a:cubicBezTo>
                    <a:pt x="8" y="38"/>
                    <a:pt x="13" y="43"/>
                    <a:pt x="13" y="46"/>
                  </a:cubicBezTo>
                  <a:cubicBezTo>
                    <a:pt x="13" y="49"/>
                    <a:pt x="17" y="52"/>
                    <a:pt x="19" y="52"/>
                  </a:cubicBezTo>
                  <a:cubicBezTo>
                    <a:pt x="21" y="52"/>
                    <a:pt x="24" y="54"/>
                    <a:pt x="23" y="56"/>
                  </a:cubicBezTo>
                  <a:cubicBezTo>
                    <a:pt x="22" y="59"/>
                    <a:pt x="25" y="63"/>
                    <a:pt x="22" y="63"/>
                  </a:cubicBezTo>
                  <a:cubicBezTo>
                    <a:pt x="19" y="63"/>
                    <a:pt x="20" y="71"/>
                    <a:pt x="17" y="72"/>
                  </a:cubicBezTo>
                  <a:cubicBezTo>
                    <a:pt x="15" y="73"/>
                    <a:pt x="17" y="81"/>
                    <a:pt x="19" y="82"/>
                  </a:cubicBezTo>
                  <a:cubicBezTo>
                    <a:pt x="21" y="83"/>
                    <a:pt x="25" y="85"/>
                    <a:pt x="24" y="88"/>
                  </a:cubicBezTo>
                  <a:cubicBezTo>
                    <a:pt x="24" y="91"/>
                    <a:pt x="34" y="96"/>
                    <a:pt x="37" y="97"/>
                  </a:cubicBezTo>
                  <a:cubicBezTo>
                    <a:pt x="40" y="97"/>
                    <a:pt x="40" y="102"/>
                    <a:pt x="42" y="103"/>
                  </a:cubicBezTo>
                  <a:cubicBezTo>
                    <a:pt x="44" y="105"/>
                    <a:pt x="41" y="109"/>
                    <a:pt x="41" y="111"/>
                  </a:cubicBezTo>
                  <a:cubicBezTo>
                    <a:pt x="42" y="113"/>
                    <a:pt x="46" y="115"/>
                    <a:pt x="45" y="119"/>
                  </a:cubicBezTo>
                  <a:cubicBezTo>
                    <a:pt x="45" y="121"/>
                    <a:pt x="48" y="124"/>
                    <a:pt x="51" y="127"/>
                  </a:cubicBezTo>
                  <a:cubicBezTo>
                    <a:pt x="52" y="127"/>
                    <a:pt x="53" y="127"/>
                    <a:pt x="54" y="127"/>
                  </a:cubicBezTo>
                  <a:cubicBezTo>
                    <a:pt x="57" y="127"/>
                    <a:pt x="57" y="124"/>
                    <a:pt x="59" y="126"/>
                  </a:cubicBezTo>
                  <a:cubicBezTo>
                    <a:pt x="62" y="128"/>
                    <a:pt x="65" y="126"/>
                    <a:pt x="67" y="125"/>
                  </a:cubicBezTo>
                  <a:cubicBezTo>
                    <a:pt x="70" y="125"/>
                    <a:pt x="76" y="137"/>
                    <a:pt x="79" y="143"/>
                  </a:cubicBezTo>
                  <a:cubicBezTo>
                    <a:pt x="82" y="149"/>
                    <a:pt x="81" y="151"/>
                    <a:pt x="85" y="153"/>
                  </a:cubicBezTo>
                  <a:cubicBezTo>
                    <a:pt x="89" y="156"/>
                    <a:pt x="93" y="155"/>
                    <a:pt x="99" y="160"/>
                  </a:cubicBezTo>
                  <a:cubicBezTo>
                    <a:pt x="104" y="166"/>
                    <a:pt x="119" y="170"/>
                    <a:pt x="125" y="170"/>
                  </a:cubicBezTo>
                  <a:cubicBezTo>
                    <a:pt x="131" y="170"/>
                    <a:pt x="135" y="164"/>
                    <a:pt x="143" y="165"/>
                  </a:cubicBezTo>
                  <a:cubicBezTo>
                    <a:pt x="150" y="167"/>
                    <a:pt x="149" y="176"/>
                    <a:pt x="151" y="180"/>
                  </a:cubicBezTo>
                  <a:cubicBezTo>
                    <a:pt x="154" y="183"/>
                    <a:pt x="185" y="186"/>
                    <a:pt x="191" y="187"/>
                  </a:cubicBezTo>
                  <a:cubicBezTo>
                    <a:pt x="193" y="188"/>
                    <a:pt x="197" y="188"/>
                    <a:pt x="202" y="188"/>
                  </a:cubicBezTo>
                  <a:cubicBezTo>
                    <a:pt x="202" y="187"/>
                    <a:pt x="202" y="186"/>
                    <a:pt x="202" y="185"/>
                  </a:cubicBezTo>
                  <a:cubicBezTo>
                    <a:pt x="202" y="180"/>
                    <a:pt x="206" y="176"/>
                    <a:pt x="209" y="174"/>
                  </a:cubicBezTo>
                  <a:cubicBezTo>
                    <a:pt x="213" y="172"/>
                    <a:pt x="216" y="171"/>
                    <a:pt x="220" y="171"/>
                  </a:cubicBezTo>
                  <a:cubicBezTo>
                    <a:pt x="223" y="170"/>
                    <a:pt x="220" y="163"/>
                    <a:pt x="217" y="16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59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6491954" y="2572239"/>
              <a:ext cx="1046231" cy="492790"/>
            </a:xfrm>
            <a:custGeom>
              <a:avLst/>
              <a:gdLst/>
              <a:ahLst/>
              <a:cxnLst>
                <a:cxn ang="0">
                  <a:pos x="444" y="89"/>
                </a:cxn>
                <a:cxn ang="0">
                  <a:pos x="429" y="75"/>
                </a:cxn>
                <a:cxn ang="0">
                  <a:pos x="399" y="70"/>
                </a:cxn>
                <a:cxn ang="0">
                  <a:pos x="372" y="51"/>
                </a:cxn>
                <a:cxn ang="0">
                  <a:pos x="341" y="17"/>
                </a:cxn>
                <a:cxn ang="0">
                  <a:pos x="310" y="30"/>
                </a:cxn>
                <a:cxn ang="0">
                  <a:pos x="302" y="21"/>
                </a:cxn>
                <a:cxn ang="0">
                  <a:pos x="285" y="19"/>
                </a:cxn>
                <a:cxn ang="0">
                  <a:pos x="277" y="2"/>
                </a:cxn>
                <a:cxn ang="0">
                  <a:pos x="237" y="10"/>
                </a:cxn>
                <a:cxn ang="0">
                  <a:pos x="193" y="20"/>
                </a:cxn>
                <a:cxn ang="0">
                  <a:pos x="170" y="31"/>
                </a:cxn>
                <a:cxn ang="0">
                  <a:pos x="166" y="46"/>
                </a:cxn>
                <a:cxn ang="0">
                  <a:pos x="170" y="61"/>
                </a:cxn>
                <a:cxn ang="0">
                  <a:pos x="158" y="69"/>
                </a:cxn>
                <a:cxn ang="0">
                  <a:pos x="141" y="68"/>
                </a:cxn>
                <a:cxn ang="0">
                  <a:pos x="112" y="70"/>
                </a:cxn>
                <a:cxn ang="0">
                  <a:pos x="92" y="70"/>
                </a:cxn>
                <a:cxn ang="0">
                  <a:pos x="62" y="58"/>
                </a:cxn>
                <a:cxn ang="0">
                  <a:pos x="35" y="66"/>
                </a:cxn>
                <a:cxn ang="0">
                  <a:pos x="25" y="84"/>
                </a:cxn>
                <a:cxn ang="0">
                  <a:pos x="4" y="88"/>
                </a:cxn>
                <a:cxn ang="0">
                  <a:pos x="1" y="104"/>
                </a:cxn>
                <a:cxn ang="0">
                  <a:pos x="17" y="114"/>
                </a:cxn>
                <a:cxn ang="0">
                  <a:pos x="28" y="134"/>
                </a:cxn>
                <a:cxn ang="0">
                  <a:pos x="58" y="127"/>
                </a:cxn>
                <a:cxn ang="0">
                  <a:pos x="65" y="150"/>
                </a:cxn>
                <a:cxn ang="0">
                  <a:pos x="44" y="165"/>
                </a:cxn>
                <a:cxn ang="0">
                  <a:pos x="64" y="185"/>
                </a:cxn>
                <a:cxn ang="0">
                  <a:pos x="75" y="197"/>
                </a:cxn>
                <a:cxn ang="0">
                  <a:pos x="108" y="203"/>
                </a:cxn>
                <a:cxn ang="0">
                  <a:pos x="139" y="144"/>
                </a:cxn>
                <a:cxn ang="0">
                  <a:pos x="157" y="146"/>
                </a:cxn>
                <a:cxn ang="0">
                  <a:pos x="191" y="174"/>
                </a:cxn>
                <a:cxn ang="0">
                  <a:pos x="225" y="192"/>
                </a:cxn>
                <a:cxn ang="0">
                  <a:pos x="250" y="212"/>
                </a:cxn>
                <a:cxn ang="0">
                  <a:pos x="274" y="201"/>
                </a:cxn>
                <a:cxn ang="0">
                  <a:pos x="299" y="187"/>
                </a:cxn>
                <a:cxn ang="0">
                  <a:pos x="336" y="185"/>
                </a:cxn>
                <a:cxn ang="0">
                  <a:pos x="385" y="193"/>
                </a:cxn>
                <a:cxn ang="0">
                  <a:pos x="386" y="167"/>
                </a:cxn>
                <a:cxn ang="0">
                  <a:pos x="401" y="151"/>
                </a:cxn>
                <a:cxn ang="0">
                  <a:pos x="416" y="126"/>
                </a:cxn>
                <a:cxn ang="0">
                  <a:pos x="445" y="123"/>
                </a:cxn>
                <a:cxn ang="0">
                  <a:pos x="455" y="99"/>
                </a:cxn>
                <a:cxn ang="0">
                  <a:pos x="171" y="137"/>
                </a:cxn>
                <a:cxn ang="0">
                  <a:pos x="361" y="136"/>
                </a:cxn>
                <a:cxn ang="0">
                  <a:pos x="315" y="136"/>
                </a:cxn>
                <a:cxn ang="0">
                  <a:pos x="361" y="136"/>
                </a:cxn>
              </a:cxnLst>
              <a:rect l="0" t="0" r="r" b="b"/>
              <a:pathLst>
                <a:path w="459" h="216">
                  <a:moveTo>
                    <a:pt x="457" y="88"/>
                  </a:moveTo>
                  <a:cubicBezTo>
                    <a:pt x="456" y="86"/>
                    <a:pt x="454" y="87"/>
                    <a:pt x="453" y="88"/>
                  </a:cubicBezTo>
                  <a:cubicBezTo>
                    <a:pt x="451" y="89"/>
                    <a:pt x="446" y="89"/>
                    <a:pt x="444" y="89"/>
                  </a:cubicBezTo>
                  <a:cubicBezTo>
                    <a:pt x="442" y="89"/>
                    <a:pt x="438" y="87"/>
                    <a:pt x="438" y="85"/>
                  </a:cubicBezTo>
                  <a:cubicBezTo>
                    <a:pt x="438" y="83"/>
                    <a:pt x="438" y="80"/>
                    <a:pt x="436" y="80"/>
                  </a:cubicBezTo>
                  <a:cubicBezTo>
                    <a:pt x="434" y="80"/>
                    <a:pt x="431" y="79"/>
                    <a:pt x="429" y="75"/>
                  </a:cubicBezTo>
                  <a:cubicBezTo>
                    <a:pt x="427" y="70"/>
                    <a:pt x="424" y="70"/>
                    <a:pt x="421" y="69"/>
                  </a:cubicBezTo>
                  <a:cubicBezTo>
                    <a:pt x="419" y="67"/>
                    <a:pt x="413" y="71"/>
                    <a:pt x="410" y="72"/>
                  </a:cubicBezTo>
                  <a:cubicBezTo>
                    <a:pt x="407" y="73"/>
                    <a:pt x="403" y="71"/>
                    <a:pt x="399" y="70"/>
                  </a:cubicBezTo>
                  <a:cubicBezTo>
                    <a:pt x="396" y="69"/>
                    <a:pt x="394" y="63"/>
                    <a:pt x="390" y="64"/>
                  </a:cubicBezTo>
                  <a:cubicBezTo>
                    <a:pt x="387" y="65"/>
                    <a:pt x="386" y="71"/>
                    <a:pt x="384" y="71"/>
                  </a:cubicBezTo>
                  <a:cubicBezTo>
                    <a:pt x="381" y="71"/>
                    <a:pt x="377" y="58"/>
                    <a:pt x="372" y="51"/>
                  </a:cubicBezTo>
                  <a:cubicBezTo>
                    <a:pt x="367" y="44"/>
                    <a:pt x="359" y="29"/>
                    <a:pt x="351" y="26"/>
                  </a:cubicBezTo>
                  <a:cubicBezTo>
                    <a:pt x="344" y="24"/>
                    <a:pt x="346" y="20"/>
                    <a:pt x="348" y="18"/>
                  </a:cubicBezTo>
                  <a:cubicBezTo>
                    <a:pt x="350" y="16"/>
                    <a:pt x="344" y="15"/>
                    <a:pt x="341" y="17"/>
                  </a:cubicBezTo>
                  <a:cubicBezTo>
                    <a:pt x="338" y="19"/>
                    <a:pt x="334" y="22"/>
                    <a:pt x="330" y="23"/>
                  </a:cubicBezTo>
                  <a:cubicBezTo>
                    <a:pt x="327" y="24"/>
                    <a:pt x="322" y="29"/>
                    <a:pt x="318" y="28"/>
                  </a:cubicBezTo>
                  <a:cubicBezTo>
                    <a:pt x="314" y="27"/>
                    <a:pt x="313" y="33"/>
                    <a:pt x="310" y="30"/>
                  </a:cubicBezTo>
                  <a:cubicBezTo>
                    <a:pt x="307" y="27"/>
                    <a:pt x="314" y="25"/>
                    <a:pt x="314" y="23"/>
                  </a:cubicBezTo>
                  <a:cubicBezTo>
                    <a:pt x="314" y="20"/>
                    <a:pt x="309" y="23"/>
                    <a:pt x="308" y="22"/>
                  </a:cubicBezTo>
                  <a:cubicBezTo>
                    <a:pt x="306" y="20"/>
                    <a:pt x="302" y="19"/>
                    <a:pt x="302" y="21"/>
                  </a:cubicBezTo>
                  <a:cubicBezTo>
                    <a:pt x="302" y="23"/>
                    <a:pt x="299" y="22"/>
                    <a:pt x="299" y="20"/>
                  </a:cubicBezTo>
                  <a:cubicBezTo>
                    <a:pt x="299" y="19"/>
                    <a:pt x="297" y="15"/>
                    <a:pt x="295" y="18"/>
                  </a:cubicBezTo>
                  <a:cubicBezTo>
                    <a:pt x="293" y="20"/>
                    <a:pt x="286" y="21"/>
                    <a:pt x="285" y="19"/>
                  </a:cubicBezTo>
                  <a:cubicBezTo>
                    <a:pt x="283" y="18"/>
                    <a:pt x="286" y="17"/>
                    <a:pt x="286" y="15"/>
                  </a:cubicBezTo>
                  <a:cubicBezTo>
                    <a:pt x="286" y="12"/>
                    <a:pt x="283" y="9"/>
                    <a:pt x="284" y="7"/>
                  </a:cubicBezTo>
                  <a:cubicBezTo>
                    <a:pt x="284" y="4"/>
                    <a:pt x="279" y="1"/>
                    <a:pt x="277" y="2"/>
                  </a:cubicBezTo>
                  <a:cubicBezTo>
                    <a:pt x="274" y="3"/>
                    <a:pt x="271" y="2"/>
                    <a:pt x="268" y="1"/>
                  </a:cubicBezTo>
                  <a:cubicBezTo>
                    <a:pt x="265" y="0"/>
                    <a:pt x="254" y="2"/>
                    <a:pt x="254" y="4"/>
                  </a:cubicBezTo>
                  <a:cubicBezTo>
                    <a:pt x="253" y="7"/>
                    <a:pt x="240" y="9"/>
                    <a:pt x="237" y="10"/>
                  </a:cubicBezTo>
                  <a:cubicBezTo>
                    <a:pt x="235" y="11"/>
                    <a:pt x="225" y="12"/>
                    <a:pt x="221" y="13"/>
                  </a:cubicBezTo>
                  <a:cubicBezTo>
                    <a:pt x="218" y="13"/>
                    <a:pt x="214" y="16"/>
                    <a:pt x="210" y="16"/>
                  </a:cubicBezTo>
                  <a:cubicBezTo>
                    <a:pt x="205" y="16"/>
                    <a:pt x="197" y="17"/>
                    <a:pt x="193" y="20"/>
                  </a:cubicBezTo>
                  <a:cubicBezTo>
                    <a:pt x="189" y="23"/>
                    <a:pt x="182" y="20"/>
                    <a:pt x="179" y="21"/>
                  </a:cubicBezTo>
                  <a:cubicBezTo>
                    <a:pt x="176" y="22"/>
                    <a:pt x="171" y="21"/>
                    <a:pt x="170" y="22"/>
                  </a:cubicBezTo>
                  <a:cubicBezTo>
                    <a:pt x="168" y="23"/>
                    <a:pt x="169" y="29"/>
                    <a:pt x="170" y="31"/>
                  </a:cubicBezTo>
                  <a:cubicBezTo>
                    <a:pt x="172" y="34"/>
                    <a:pt x="180" y="35"/>
                    <a:pt x="180" y="36"/>
                  </a:cubicBezTo>
                  <a:cubicBezTo>
                    <a:pt x="181" y="38"/>
                    <a:pt x="172" y="38"/>
                    <a:pt x="168" y="38"/>
                  </a:cubicBezTo>
                  <a:cubicBezTo>
                    <a:pt x="164" y="39"/>
                    <a:pt x="165" y="44"/>
                    <a:pt x="166" y="46"/>
                  </a:cubicBezTo>
                  <a:cubicBezTo>
                    <a:pt x="167" y="49"/>
                    <a:pt x="162" y="51"/>
                    <a:pt x="159" y="52"/>
                  </a:cubicBezTo>
                  <a:cubicBezTo>
                    <a:pt x="156" y="53"/>
                    <a:pt x="159" y="58"/>
                    <a:pt x="162" y="58"/>
                  </a:cubicBezTo>
                  <a:cubicBezTo>
                    <a:pt x="165" y="58"/>
                    <a:pt x="168" y="61"/>
                    <a:pt x="170" y="61"/>
                  </a:cubicBezTo>
                  <a:cubicBezTo>
                    <a:pt x="173" y="61"/>
                    <a:pt x="173" y="66"/>
                    <a:pt x="173" y="69"/>
                  </a:cubicBezTo>
                  <a:cubicBezTo>
                    <a:pt x="173" y="72"/>
                    <a:pt x="170" y="73"/>
                    <a:pt x="166" y="73"/>
                  </a:cubicBezTo>
                  <a:cubicBezTo>
                    <a:pt x="162" y="73"/>
                    <a:pt x="160" y="70"/>
                    <a:pt x="158" y="69"/>
                  </a:cubicBezTo>
                  <a:cubicBezTo>
                    <a:pt x="155" y="69"/>
                    <a:pt x="156" y="74"/>
                    <a:pt x="154" y="75"/>
                  </a:cubicBezTo>
                  <a:cubicBezTo>
                    <a:pt x="152" y="76"/>
                    <a:pt x="151" y="71"/>
                    <a:pt x="148" y="71"/>
                  </a:cubicBezTo>
                  <a:cubicBezTo>
                    <a:pt x="145" y="71"/>
                    <a:pt x="142" y="71"/>
                    <a:pt x="141" y="68"/>
                  </a:cubicBezTo>
                  <a:cubicBezTo>
                    <a:pt x="140" y="65"/>
                    <a:pt x="133" y="64"/>
                    <a:pt x="130" y="67"/>
                  </a:cubicBezTo>
                  <a:cubicBezTo>
                    <a:pt x="127" y="70"/>
                    <a:pt x="126" y="69"/>
                    <a:pt x="123" y="67"/>
                  </a:cubicBezTo>
                  <a:cubicBezTo>
                    <a:pt x="121" y="65"/>
                    <a:pt x="113" y="68"/>
                    <a:pt x="112" y="70"/>
                  </a:cubicBezTo>
                  <a:cubicBezTo>
                    <a:pt x="111" y="73"/>
                    <a:pt x="106" y="74"/>
                    <a:pt x="102" y="71"/>
                  </a:cubicBezTo>
                  <a:cubicBezTo>
                    <a:pt x="98" y="69"/>
                    <a:pt x="95" y="68"/>
                    <a:pt x="95" y="71"/>
                  </a:cubicBezTo>
                  <a:cubicBezTo>
                    <a:pt x="95" y="75"/>
                    <a:pt x="92" y="72"/>
                    <a:pt x="92" y="70"/>
                  </a:cubicBezTo>
                  <a:cubicBezTo>
                    <a:pt x="92" y="68"/>
                    <a:pt x="86" y="64"/>
                    <a:pt x="83" y="62"/>
                  </a:cubicBezTo>
                  <a:cubicBezTo>
                    <a:pt x="80" y="60"/>
                    <a:pt x="70" y="60"/>
                    <a:pt x="70" y="58"/>
                  </a:cubicBezTo>
                  <a:cubicBezTo>
                    <a:pt x="69" y="56"/>
                    <a:pt x="63" y="54"/>
                    <a:pt x="62" y="58"/>
                  </a:cubicBezTo>
                  <a:cubicBezTo>
                    <a:pt x="60" y="61"/>
                    <a:pt x="58" y="59"/>
                    <a:pt x="56" y="58"/>
                  </a:cubicBezTo>
                  <a:cubicBezTo>
                    <a:pt x="54" y="57"/>
                    <a:pt x="49" y="59"/>
                    <a:pt x="47" y="60"/>
                  </a:cubicBezTo>
                  <a:cubicBezTo>
                    <a:pt x="45" y="61"/>
                    <a:pt x="39" y="66"/>
                    <a:pt x="35" y="66"/>
                  </a:cubicBezTo>
                  <a:cubicBezTo>
                    <a:pt x="32" y="66"/>
                    <a:pt x="34" y="70"/>
                    <a:pt x="29" y="71"/>
                  </a:cubicBezTo>
                  <a:cubicBezTo>
                    <a:pt x="25" y="72"/>
                    <a:pt x="26" y="75"/>
                    <a:pt x="26" y="77"/>
                  </a:cubicBezTo>
                  <a:cubicBezTo>
                    <a:pt x="27" y="79"/>
                    <a:pt x="29" y="83"/>
                    <a:pt x="25" y="84"/>
                  </a:cubicBezTo>
                  <a:cubicBezTo>
                    <a:pt x="21" y="86"/>
                    <a:pt x="20" y="79"/>
                    <a:pt x="16" y="77"/>
                  </a:cubicBezTo>
                  <a:cubicBezTo>
                    <a:pt x="13" y="74"/>
                    <a:pt x="10" y="77"/>
                    <a:pt x="10" y="81"/>
                  </a:cubicBezTo>
                  <a:cubicBezTo>
                    <a:pt x="10" y="84"/>
                    <a:pt x="6" y="84"/>
                    <a:pt x="4" y="88"/>
                  </a:cubicBezTo>
                  <a:cubicBezTo>
                    <a:pt x="2" y="91"/>
                    <a:pt x="7" y="92"/>
                    <a:pt x="7" y="93"/>
                  </a:cubicBezTo>
                  <a:cubicBezTo>
                    <a:pt x="7" y="95"/>
                    <a:pt x="4" y="96"/>
                    <a:pt x="3" y="97"/>
                  </a:cubicBezTo>
                  <a:cubicBezTo>
                    <a:pt x="2" y="97"/>
                    <a:pt x="0" y="102"/>
                    <a:pt x="1" y="104"/>
                  </a:cubicBezTo>
                  <a:cubicBezTo>
                    <a:pt x="2" y="105"/>
                    <a:pt x="8" y="105"/>
                    <a:pt x="7" y="108"/>
                  </a:cubicBezTo>
                  <a:cubicBezTo>
                    <a:pt x="7" y="112"/>
                    <a:pt x="6" y="115"/>
                    <a:pt x="9" y="114"/>
                  </a:cubicBezTo>
                  <a:cubicBezTo>
                    <a:pt x="12" y="113"/>
                    <a:pt x="15" y="114"/>
                    <a:pt x="17" y="114"/>
                  </a:cubicBezTo>
                  <a:cubicBezTo>
                    <a:pt x="19" y="114"/>
                    <a:pt x="21" y="118"/>
                    <a:pt x="24" y="122"/>
                  </a:cubicBezTo>
                  <a:cubicBezTo>
                    <a:pt x="28" y="126"/>
                    <a:pt x="29" y="128"/>
                    <a:pt x="26" y="129"/>
                  </a:cubicBezTo>
                  <a:cubicBezTo>
                    <a:pt x="22" y="130"/>
                    <a:pt x="24" y="132"/>
                    <a:pt x="28" y="134"/>
                  </a:cubicBezTo>
                  <a:cubicBezTo>
                    <a:pt x="30" y="134"/>
                    <a:pt x="31" y="135"/>
                    <a:pt x="32" y="136"/>
                  </a:cubicBezTo>
                  <a:cubicBezTo>
                    <a:pt x="33" y="135"/>
                    <a:pt x="33" y="135"/>
                    <a:pt x="34" y="134"/>
                  </a:cubicBezTo>
                  <a:cubicBezTo>
                    <a:pt x="40" y="129"/>
                    <a:pt x="50" y="125"/>
                    <a:pt x="58" y="127"/>
                  </a:cubicBezTo>
                  <a:cubicBezTo>
                    <a:pt x="65" y="129"/>
                    <a:pt x="72" y="125"/>
                    <a:pt x="75" y="130"/>
                  </a:cubicBezTo>
                  <a:cubicBezTo>
                    <a:pt x="78" y="135"/>
                    <a:pt x="75" y="143"/>
                    <a:pt x="76" y="147"/>
                  </a:cubicBezTo>
                  <a:cubicBezTo>
                    <a:pt x="78" y="150"/>
                    <a:pt x="70" y="150"/>
                    <a:pt x="65" y="150"/>
                  </a:cubicBezTo>
                  <a:cubicBezTo>
                    <a:pt x="60" y="149"/>
                    <a:pt x="50" y="152"/>
                    <a:pt x="51" y="155"/>
                  </a:cubicBezTo>
                  <a:cubicBezTo>
                    <a:pt x="53" y="158"/>
                    <a:pt x="56" y="165"/>
                    <a:pt x="50" y="161"/>
                  </a:cubicBezTo>
                  <a:cubicBezTo>
                    <a:pt x="43" y="157"/>
                    <a:pt x="40" y="165"/>
                    <a:pt x="44" y="165"/>
                  </a:cubicBezTo>
                  <a:cubicBezTo>
                    <a:pt x="48" y="165"/>
                    <a:pt x="53" y="169"/>
                    <a:pt x="53" y="172"/>
                  </a:cubicBezTo>
                  <a:cubicBezTo>
                    <a:pt x="53" y="175"/>
                    <a:pt x="53" y="182"/>
                    <a:pt x="56" y="181"/>
                  </a:cubicBezTo>
                  <a:cubicBezTo>
                    <a:pt x="60" y="180"/>
                    <a:pt x="60" y="186"/>
                    <a:pt x="64" y="185"/>
                  </a:cubicBezTo>
                  <a:cubicBezTo>
                    <a:pt x="69" y="185"/>
                    <a:pt x="73" y="187"/>
                    <a:pt x="70" y="191"/>
                  </a:cubicBezTo>
                  <a:cubicBezTo>
                    <a:pt x="66" y="195"/>
                    <a:pt x="72" y="207"/>
                    <a:pt x="73" y="205"/>
                  </a:cubicBezTo>
                  <a:cubicBezTo>
                    <a:pt x="74" y="203"/>
                    <a:pt x="73" y="199"/>
                    <a:pt x="75" y="197"/>
                  </a:cubicBezTo>
                  <a:cubicBezTo>
                    <a:pt x="72" y="191"/>
                    <a:pt x="83" y="191"/>
                    <a:pt x="86" y="191"/>
                  </a:cubicBezTo>
                  <a:cubicBezTo>
                    <a:pt x="90" y="191"/>
                    <a:pt x="96" y="196"/>
                    <a:pt x="100" y="201"/>
                  </a:cubicBezTo>
                  <a:cubicBezTo>
                    <a:pt x="104" y="207"/>
                    <a:pt x="108" y="203"/>
                    <a:pt x="108" y="203"/>
                  </a:cubicBezTo>
                  <a:cubicBezTo>
                    <a:pt x="110" y="153"/>
                    <a:pt x="110" y="153"/>
                    <a:pt x="110" y="153"/>
                  </a:cubicBezTo>
                  <a:cubicBezTo>
                    <a:pt x="138" y="146"/>
                    <a:pt x="138" y="146"/>
                    <a:pt x="138" y="146"/>
                  </a:cubicBezTo>
                  <a:cubicBezTo>
                    <a:pt x="138" y="145"/>
                    <a:pt x="139" y="144"/>
                    <a:pt x="139" y="144"/>
                  </a:cubicBezTo>
                  <a:cubicBezTo>
                    <a:pt x="143" y="139"/>
                    <a:pt x="148" y="143"/>
                    <a:pt x="149" y="144"/>
                  </a:cubicBezTo>
                  <a:cubicBezTo>
                    <a:pt x="151" y="145"/>
                    <a:pt x="150" y="139"/>
                    <a:pt x="154" y="139"/>
                  </a:cubicBezTo>
                  <a:cubicBezTo>
                    <a:pt x="158" y="139"/>
                    <a:pt x="154" y="146"/>
                    <a:pt x="157" y="146"/>
                  </a:cubicBezTo>
                  <a:cubicBezTo>
                    <a:pt x="159" y="146"/>
                    <a:pt x="164" y="154"/>
                    <a:pt x="163" y="160"/>
                  </a:cubicBezTo>
                  <a:cubicBezTo>
                    <a:pt x="167" y="164"/>
                    <a:pt x="175" y="173"/>
                    <a:pt x="176" y="175"/>
                  </a:cubicBezTo>
                  <a:cubicBezTo>
                    <a:pt x="177" y="177"/>
                    <a:pt x="188" y="173"/>
                    <a:pt x="191" y="174"/>
                  </a:cubicBezTo>
                  <a:cubicBezTo>
                    <a:pt x="193" y="175"/>
                    <a:pt x="210" y="175"/>
                    <a:pt x="213" y="175"/>
                  </a:cubicBezTo>
                  <a:cubicBezTo>
                    <a:pt x="216" y="175"/>
                    <a:pt x="219" y="181"/>
                    <a:pt x="222" y="181"/>
                  </a:cubicBezTo>
                  <a:cubicBezTo>
                    <a:pt x="226" y="182"/>
                    <a:pt x="224" y="188"/>
                    <a:pt x="225" y="192"/>
                  </a:cubicBezTo>
                  <a:cubicBezTo>
                    <a:pt x="225" y="196"/>
                    <a:pt x="231" y="200"/>
                    <a:pt x="231" y="204"/>
                  </a:cubicBezTo>
                  <a:cubicBezTo>
                    <a:pt x="232" y="207"/>
                    <a:pt x="237" y="205"/>
                    <a:pt x="241" y="206"/>
                  </a:cubicBezTo>
                  <a:cubicBezTo>
                    <a:pt x="244" y="207"/>
                    <a:pt x="250" y="209"/>
                    <a:pt x="250" y="212"/>
                  </a:cubicBezTo>
                  <a:cubicBezTo>
                    <a:pt x="251" y="216"/>
                    <a:pt x="255" y="213"/>
                    <a:pt x="256" y="210"/>
                  </a:cubicBezTo>
                  <a:cubicBezTo>
                    <a:pt x="256" y="208"/>
                    <a:pt x="260" y="204"/>
                    <a:pt x="267" y="201"/>
                  </a:cubicBezTo>
                  <a:cubicBezTo>
                    <a:pt x="270" y="200"/>
                    <a:pt x="272" y="200"/>
                    <a:pt x="274" y="201"/>
                  </a:cubicBezTo>
                  <a:cubicBezTo>
                    <a:pt x="275" y="198"/>
                    <a:pt x="276" y="195"/>
                    <a:pt x="277" y="195"/>
                  </a:cubicBezTo>
                  <a:cubicBezTo>
                    <a:pt x="279" y="194"/>
                    <a:pt x="284" y="190"/>
                    <a:pt x="284" y="187"/>
                  </a:cubicBezTo>
                  <a:cubicBezTo>
                    <a:pt x="284" y="184"/>
                    <a:pt x="293" y="184"/>
                    <a:pt x="299" y="187"/>
                  </a:cubicBezTo>
                  <a:cubicBezTo>
                    <a:pt x="305" y="190"/>
                    <a:pt x="309" y="190"/>
                    <a:pt x="309" y="185"/>
                  </a:cubicBezTo>
                  <a:cubicBezTo>
                    <a:pt x="310" y="180"/>
                    <a:pt x="318" y="179"/>
                    <a:pt x="321" y="180"/>
                  </a:cubicBezTo>
                  <a:cubicBezTo>
                    <a:pt x="324" y="182"/>
                    <a:pt x="332" y="186"/>
                    <a:pt x="336" y="185"/>
                  </a:cubicBezTo>
                  <a:cubicBezTo>
                    <a:pt x="340" y="183"/>
                    <a:pt x="360" y="185"/>
                    <a:pt x="365" y="186"/>
                  </a:cubicBezTo>
                  <a:cubicBezTo>
                    <a:pt x="370" y="188"/>
                    <a:pt x="371" y="184"/>
                    <a:pt x="376" y="189"/>
                  </a:cubicBezTo>
                  <a:cubicBezTo>
                    <a:pt x="379" y="193"/>
                    <a:pt x="381" y="190"/>
                    <a:pt x="385" y="193"/>
                  </a:cubicBezTo>
                  <a:cubicBezTo>
                    <a:pt x="385" y="192"/>
                    <a:pt x="385" y="190"/>
                    <a:pt x="385" y="188"/>
                  </a:cubicBezTo>
                  <a:cubicBezTo>
                    <a:pt x="385" y="185"/>
                    <a:pt x="390" y="182"/>
                    <a:pt x="391" y="180"/>
                  </a:cubicBezTo>
                  <a:cubicBezTo>
                    <a:pt x="392" y="177"/>
                    <a:pt x="386" y="170"/>
                    <a:pt x="386" y="167"/>
                  </a:cubicBezTo>
                  <a:cubicBezTo>
                    <a:pt x="386" y="165"/>
                    <a:pt x="386" y="159"/>
                    <a:pt x="384" y="158"/>
                  </a:cubicBezTo>
                  <a:cubicBezTo>
                    <a:pt x="381" y="156"/>
                    <a:pt x="389" y="153"/>
                    <a:pt x="390" y="153"/>
                  </a:cubicBezTo>
                  <a:cubicBezTo>
                    <a:pt x="394" y="153"/>
                    <a:pt x="399" y="149"/>
                    <a:pt x="401" y="151"/>
                  </a:cubicBezTo>
                  <a:cubicBezTo>
                    <a:pt x="403" y="153"/>
                    <a:pt x="406" y="153"/>
                    <a:pt x="409" y="153"/>
                  </a:cubicBezTo>
                  <a:cubicBezTo>
                    <a:pt x="412" y="153"/>
                    <a:pt x="411" y="149"/>
                    <a:pt x="409" y="148"/>
                  </a:cubicBezTo>
                  <a:cubicBezTo>
                    <a:pt x="407" y="146"/>
                    <a:pt x="415" y="131"/>
                    <a:pt x="416" y="126"/>
                  </a:cubicBezTo>
                  <a:cubicBezTo>
                    <a:pt x="417" y="121"/>
                    <a:pt x="420" y="126"/>
                    <a:pt x="424" y="126"/>
                  </a:cubicBezTo>
                  <a:cubicBezTo>
                    <a:pt x="427" y="127"/>
                    <a:pt x="432" y="126"/>
                    <a:pt x="434" y="127"/>
                  </a:cubicBezTo>
                  <a:cubicBezTo>
                    <a:pt x="436" y="128"/>
                    <a:pt x="443" y="126"/>
                    <a:pt x="445" y="123"/>
                  </a:cubicBezTo>
                  <a:cubicBezTo>
                    <a:pt x="446" y="121"/>
                    <a:pt x="443" y="120"/>
                    <a:pt x="443" y="114"/>
                  </a:cubicBezTo>
                  <a:cubicBezTo>
                    <a:pt x="443" y="108"/>
                    <a:pt x="447" y="106"/>
                    <a:pt x="450" y="106"/>
                  </a:cubicBezTo>
                  <a:cubicBezTo>
                    <a:pt x="454" y="106"/>
                    <a:pt x="455" y="102"/>
                    <a:pt x="455" y="99"/>
                  </a:cubicBezTo>
                  <a:cubicBezTo>
                    <a:pt x="455" y="97"/>
                    <a:pt x="458" y="95"/>
                    <a:pt x="459" y="92"/>
                  </a:cubicBezTo>
                  <a:cubicBezTo>
                    <a:pt x="458" y="91"/>
                    <a:pt x="457" y="89"/>
                    <a:pt x="457" y="88"/>
                  </a:cubicBezTo>
                  <a:close/>
                  <a:moveTo>
                    <a:pt x="171" y="137"/>
                  </a:moveTo>
                  <a:cubicBezTo>
                    <a:pt x="170" y="139"/>
                    <a:pt x="157" y="135"/>
                    <a:pt x="156" y="132"/>
                  </a:cubicBezTo>
                  <a:cubicBezTo>
                    <a:pt x="155" y="130"/>
                    <a:pt x="174" y="133"/>
                    <a:pt x="171" y="137"/>
                  </a:cubicBezTo>
                  <a:close/>
                  <a:moveTo>
                    <a:pt x="361" y="136"/>
                  </a:moveTo>
                  <a:cubicBezTo>
                    <a:pt x="351" y="136"/>
                    <a:pt x="331" y="131"/>
                    <a:pt x="322" y="140"/>
                  </a:cubicBezTo>
                  <a:cubicBezTo>
                    <a:pt x="314" y="149"/>
                    <a:pt x="320" y="154"/>
                    <a:pt x="316" y="154"/>
                  </a:cubicBezTo>
                  <a:cubicBezTo>
                    <a:pt x="312" y="155"/>
                    <a:pt x="310" y="141"/>
                    <a:pt x="315" y="136"/>
                  </a:cubicBezTo>
                  <a:cubicBezTo>
                    <a:pt x="320" y="131"/>
                    <a:pt x="335" y="129"/>
                    <a:pt x="344" y="132"/>
                  </a:cubicBezTo>
                  <a:cubicBezTo>
                    <a:pt x="353" y="134"/>
                    <a:pt x="370" y="130"/>
                    <a:pt x="372" y="130"/>
                  </a:cubicBezTo>
                  <a:cubicBezTo>
                    <a:pt x="375" y="131"/>
                    <a:pt x="370" y="136"/>
                    <a:pt x="361" y="13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0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802048" y="1359218"/>
              <a:ext cx="4395310" cy="1684963"/>
            </a:xfrm>
            <a:custGeom>
              <a:avLst/>
              <a:gdLst/>
              <a:ahLst/>
              <a:cxnLst>
                <a:cxn ang="0">
                  <a:pos x="814" y="12"/>
                </a:cxn>
                <a:cxn ang="0">
                  <a:pos x="840" y="45"/>
                </a:cxn>
                <a:cxn ang="0">
                  <a:pos x="912" y="61"/>
                </a:cxn>
                <a:cxn ang="0">
                  <a:pos x="822" y="28"/>
                </a:cxn>
                <a:cxn ang="0">
                  <a:pos x="1331" y="168"/>
                </a:cxn>
                <a:cxn ang="0">
                  <a:pos x="1358" y="198"/>
                </a:cxn>
                <a:cxn ang="0">
                  <a:pos x="1388" y="664"/>
                </a:cxn>
                <a:cxn ang="0">
                  <a:pos x="355" y="25"/>
                </a:cxn>
                <a:cxn ang="0">
                  <a:pos x="1886" y="330"/>
                </a:cxn>
                <a:cxn ang="0">
                  <a:pos x="1698" y="277"/>
                </a:cxn>
                <a:cxn ang="0">
                  <a:pos x="1580" y="268"/>
                </a:cxn>
                <a:cxn ang="0">
                  <a:pos x="1412" y="221"/>
                </a:cxn>
                <a:cxn ang="0">
                  <a:pos x="1319" y="241"/>
                </a:cxn>
                <a:cxn ang="0">
                  <a:pos x="1224" y="204"/>
                </a:cxn>
                <a:cxn ang="0">
                  <a:pos x="1101" y="196"/>
                </a:cxn>
                <a:cxn ang="0">
                  <a:pos x="989" y="193"/>
                </a:cxn>
                <a:cxn ang="0">
                  <a:pos x="1007" y="122"/>
                </a:cxn>
                <a:cxn ang="0">
                  <a:pos x="909" y="126"/>
                </a:cxn>
                <a:cxn ang="0">
                  <a:pos x="800" y="148"/>
                </a:cxn>
                <a:cxn ang="0">
                  <a:pos x="764" y="190"/>
                </a:cxn>
                <a:cxn ang="0">
                  <a:pos x="667" y="228"/>
                </a:cxn>
                <a:cxn ang="0">
                  <a:pos x="623" y="257"/>
                </a:cxn>
                <a:cxn ang="0">
                  <a:pos x="630" y="312"/>
                </a:cxn>
                <a:cxn ang="0">
                  <a:pos x="603" y="320"/>
                </a:cxn>
                <a:cxn ang="0">
                  <a:pos x="557" y="231"/>
                </a:cxn>
                <a:cxn ang="0">
                  <a:pos x="468" y="273"/>
                </a:cxn>
                <a:cxn ang="0">
                  <a:pos x="384" y="305"/>
                </a:cxn>
                <a:cxn ang="0">
                  <a:pos x="307" y="312"/>
                </a:cxn>
                <a:cxn ang="0">
                  <a:pos x="230" y="353"/>
                </a:cxn>
                <a:cxn ang="0">
                  <a:pos x="170" y="355"/>
                </a:cxn>
                <a:cxn ang="0">
                  <a:pos x="201" y="292"/>
                </a:cxn>
                <a:cxn ang="0">
                  <a:pos x="100" y="296"/>
                </a:cxn>
                <a:cxn ang="0">
                  <a:pos x="133" y="407"/>
                </a:cxn>
                <a:cxn ang="0">
                  <a:pos x="89" y="497"/>
                </a:cxn>
                <a:cxn ang="0">
                  <a:pos x="134" y="574"/>
                </a:cxn>
                <a:cxn ang="0">
                  <a:pos x="223" y="617"/>
                </a:cxn>
                <a:cxn ang="0">
                  <a:pos x="193" y="682"/>
                </a:cxn>
                <a:cxn ang="0">
                  <a:pos x="326" y="731"/>
                </a:cxn>
                <a:cxn ang="0">
                  <a:pos x="312" y="613"/>
                </a:cxn>
                <a:cxn ang="0">
                  <a:pos x="425" y="599"/>
                </a:cxn>
                <a:cxn ang="0">
                  <a:pos x="472" y="554"/>
                </a:cxn>
                <a:cxn ang="0">
                  <a:pos x="610" y="554"/>
                </a:cxn>
                <a:cxn ang="0">
                  <a:pos x="738" y="612"/>
                </a:cxn>
                <a:cxn ang="0">
                  <a:pos x="849" y="616"/>
                </a:cxn>
                <a:cxn ang="0">
                  <a:pos x="939" y="614"/>
                </a:cxn>
                <a:cxn ang="0">
                  <a:pos x="1099" y="622"/>
                </a:cxn>
                <a:cxn ang="0">
                  <a:pos x="1210" y="615"/>
                </a:cxn>
                <a:cxn ang="0">
                  <a:pos x="1251" y="689"/>
                </a:cxn>
                <a:cxn ang="0">
                  <a:pos x="1365" y="573"/>
                </a:cxn>
                <a:cxn ang="0">
                  <a:pos x="1310" y="530"/>
                </a:cxn>
                <a:cxn ang="0">
                  <a:pos x="1484" y="473"/>
                </a:cxn>
                <a:cxn ang="0">
                  <a:pos x="1584" y="440"/>
                </a:cxn>
                <a:cxn ang="0">
                  <a:pos x="1544" y="494"/>
                </a:cxn>
                <a:cxn ang="0">
                  <a:pos x="1607" y="521"/>
                </a:cxn>
                <a:cxn ang="0">
                  <a:pos x="1697" y="458"/>
                </a:cxn>
                <a:cxn ang="0">
                  <a:pos x="1766" y="373"/>
                </a:cxn>
                <a:cxn ang="0">
                  <a:pos x="1875" y="379"/>
                </a:cxn>
                <a:cxn ang="0">
                  <a:pos x="993" y="567"/>
                </a:cxn>
                <a:cxn ang="0">
                  <a:pos x="386" y="247"/>
                </a:cxn>
                <a:cxn ang="0">
                  <a:pos x="485" y="133"/>
                </a:cxn>
                <a:cxn ang="0">
                  <a:pos x="415" y="39"/>
                </a:cxn>
                <a:cxn ang="0">
                  <a:pos x="464" y="16"/>
                </a:cxn>
              </a:cxnLst>
              <a:rect l="0" t="0" r="r" b="b"/>
              <a:pathLst>
                <a:path w="1926" h="739">
                  <a:moveTo>
                    <a:pt x="29" y="534"/>
                  </a:moveTo>
                  <a:cubicBezTo>
                    <a:pt x="28" y="535"/>
                    <a:pt x="24" y="534"/>
                    <a:pt x="23" y="532"/>
                  </a:cubicBezTo>
                  <a:cubicBezTo>
                    <a:pt x="22" y="530"/>
                    <a:pt x="18" y="531"/>
                    <a:pt x="16" y="531"/>
                  </a:cubicBezTo>
                  <a:cubicBezTo>
                    <a:pt x="16" y="532"/>
                    <a:pt x="17" y="532"/>
                    <a:pt x="18" y="533"/>
                  </a:cubicBezTo>
                  <a:cubicBezTo>
                    <a:pt x="19" y="536"/>
                    <a:pt x="12" y="536"/>
                    <a:pt x="14" y="539"/>
                  </a:cubicBezTo>
                  <a:cubicBezTo>
                    <a:pt x="16" y="542"/>
                    <a:pt x="9" y="542"/>
                    <a:pt x="9" y="539"/>
                  </a:cubicBezTo>
                  <a:cubicBezTo>
                    <a:pt x="9" y="536"/>
                    <a:pt x="1" y="537"/>
                    <a:pt x="1" y="540"/>
                  </a:cubicBezTo>
                  <a:cubicBezTo>
                    <a:pt x="1" y="540"/>
                    <a:pt x="1" y="541"/>
                    <a:pt x="0" y="542"/>
                  </a:cubicBezTo>
                  <a:cubicBezTo>
                    <a:pt x="2" y="543"/>
                    <a:pt x="5" y="544"/>
                    <a:pt x="6" y="544"/>
                  </a:cubicBezTo>
                  <a:cubicBezTo>
                    <a:pt x="7" y="545"/>
                    <a:pt x="27" y="547"/>
                    <a:pt x="35" y="545"/>
                  </a:cubicBezTo>
                  <a:cubicBezTo>
                    <a:pt x="35" y="544"/>
                    <a:pt x="36" y="540"/>
                    <a:pt x="36" y="538"/>
                  </a:cubicBezTo>
                  <a:cubicBezTo>
                    <a:pt x="36" y="536"/>
                    <a:pt x="31" y="534"/>
                    <a:pt x="29" y="534"/>
                  </a:cubicBezTo>
                  <a:close/>
                  <a:moveTo>
                    <a:pt x="814" y="12"/>
                  </a:moveTo>
                  <a:cubicBezTo>
                    <a:pt x="815" y="7"/>
                    <a:pt x="793" y="9"/>
                    <a:pt x="799" y="14"/>
                  </a:cubicBezTo>
                  <a:cubicBezTo>
                    <a:pt x="801" y="16"/>
                    <a:pt x="812" y="17"/>
                    <a:pt x="814" y="12"/>
                  </a:cubicBezTo>
                  <a:close/>
                  <a:moveTo>
                    <a:pt x="512" y="21"/>
                  </a:moveTo>
                  <a:cubicBezTo>
                    <a:pt x="524" y="20"/>
                    <a:pt x="524" y="13"/>
                    <a:pt x="517" y="11"/>
                  </a:cubicBezTo>
                  <a:cubicBezTo>
                    <a:pt x="511" y="10"/>
                    <a:pt x="510" y="15"/>
                    <a:pt x="506" y="15"/>
                  </a:cubicBezTo>
                  <a:cubicBezTo>
                    <a:pt x="503" y="15"/>
                    <a:pt x="490" y="17"/>
                    <a:pt x="493" y="20"/>
                  </a:cubicBezTo>
                  <a:cubicBezTo>
                    <a:pt x="496" y="23"/>
                    <a:pt x="505" y="22"/>
                    <a:pt x="512" y="21"/>
                  </a:cubicBezTo>
                  <a:close/>
                  <a:moveTo>
                    <a:pt x="840" y="45"/>
                  </a:moveTo>
                  <a:cubicBezTo>
                    <a:pt x="840" y="49"/>
                    <a:pt x="829" y="53"/>
                    <a:pt x="832" y="55"/>
                  </a:cubicBezTo>
                  <a:cubicBezTo>
                    <a:pt x="835" y="58"/>
                    <a:pt x="837" y="57"/>
                    <a:pt x="841" y="58"/>
                  </a:cubicBezTo>
                  <a:cubicBezTo>
                    <a:pt x="844" y="58"/>
                    <a:pt x="846" y="67"/>
                    <a:pt x="852" y="65"/>
                  </a:cubicBezTo>
                  <a:cubicBezTo>
                    <a:pt x="858" y="64"/>
                    <a:pt x="874" y="72"/>
                    <a:pt x="884" y="72"/>
                  </a:cubicBezTo>
                  <a:cubicBezTo>
                    <a:pt x="893" y="72"/>
                    <a:pt x="894" y="64"/>
                    <a:pt x="891" y="64"/>
                  </a:cubicBezTo>
                  <a:cubicBezTo>
                    <a:pt x="888" y="63"/>
                    <a:pt x="891" y="59"/>
                    <a:pt x="896" y="51"/>
                  </a:cubicBezTo>
                  <a:cubicBezTo>
                    <a:pt x="902" y="43"/>
                    <a:pt x="880" y="38"/>
                    <a:pt x="880" y="44"/>
                  </a:cubicBezTo>
                  <a:cubicBezTo>
                    <a:pt x="880" y="50"/>
                    <a:pt x="873" y="42"/>
                    <a:pt x="871" y="39"/>
                  </a:cubicBezTo>
                  <a:cubicBezTo>
                    <a:pt x="869" y="35"/>
                    <a:pt x="840" y="42"/>
                    <a:pt x="840" y="45"/>
                  </a:cubicBezTo>
                  <a:close/>
                  <a:moveTo>
                    <a:pt x="576" y="206"/>
                  </a:moveTo>
                  <a:cubicBezTo>
                    <a:pt x="580" y="207"/>
                    <a:pt x="592" y="205"/>
                    <a:pt x="593" y="202"/>
                  </a:cubicBezTo>
                  <a:cubicBezTo>
                    <a:pt x="595" y="200"/>
                    <a:pt x="589" y="197"/>
                    <a:pt x="581" y="197"/>
                  </a:cubicBezTo>
                  <a:cubicBezTo>
                    <a:pt x="573" y="197"/>
                    <a:pt x="572" y="206"/>
                    <a:pt x="576" y="206"/>
                  </a:cubicBezTo>
                  <a:close/>
                  <a:moveTo>
                    <a:pt x="673" y="211"/>
                  </a:moveTo>
                  <a:cubicBezTo>
                    <a:pt x="679" y="214"/>
                    <a:pt x="683" y="213"/>
                    <a:pt x="682" y="208"/>
                  </a:cubicBezTo>
                  <a:cubicBezTo>
                    <a:pt x="681" y="202"/>
                    <a:pt x="669" y="209"/>
                    <a:pt x="673" y="211"/>
                  </a:cubicBezTo>
                  <a:close/>
                  <a:moveTo>
                    <a:pt x="892" y="92"/>
                  </a:moveTo>
                  <a:cubicBezTo>
                    <a:pt x="896" y="95"/>
                    <a:pt x="911" y="89"/>
                    <a:pt x="921" y="89"/>
                  </a:cubicBezTo>
                  <a:cubicBezTo>
                    <a:pt x="931" y="90"/>
                    <a:pt x="959" y="82"/>
                    <a:pt x="960" y="76"/>
                  </a:cubicBezTo>
                  <a:cubicBezTo>
                    <a:pt x="961" y="71"/>
                    <a:pt x="950" y="71"/>
                    <a:pt x="946" y="67"/>
                  </a:cubicBezTo>
                  <a:cubicBezTo>
                    <a:pt x="941" y="62"/>
                    <a:pt x="932" y="66"/>
                    <a:pt x="929" y="70"/>
                  </a:cubicBezTo>
                  <a:cubicBezTo>
                    <a:pt x="927" y="74"/>
                    <a:pt x="924" y="70"/>
                    <a:pt x="931" y="64"/>
                  </a:cubicBezTo>
                  <a:cubicBezTo>
                    <a:pt x="937" y="58"/>
                    <a:pt x="924" y="53"/>
                    <a:pt x="924" y="57"/>
                  </a:cubicBezTo>
                  <a:cubicBezTo>
                    <a:pt x="924" y="61"/>
                    <a:pt x="912" y="57"/>
                    <a:pt x="912" y="61"/>
                  </a:cubicBezTo>
                  <a:cubicBezTo>
                    <a:pt x="912" y="65"/>
                    <a:pt x="908" y="66"/>
                    <a:pt x="908" y="70"/>
                  </a:cubicBezTo>
                  <a:cubicBezTo>
                    <a:pt x="908" y="74"/>
                    <a:pt x="900" y="68"/>
                    <a:pt x="900" y="76"/>
                  </a:cubicBezTo>
                  <a:cubicBezTo>
                    <a:pt x="899" y="85"/>
                    <a:pt x="887" y="89"/>
                    <a:pt x="892" y="92"/>
                  </a:cubicBezTo>
                  <a:close/>
                  <a:moveTo>
                    <a:pt x="822" y="36"/>
                  </a:moveTo>
                  <a:cubicBezTo>
                    <a:pt x="829" y="39"/>
                    <a:pt x="826" y="40"/>
                    <a:pt x="820" y="40"/>
                  </a:cubicBezTo>
                  <a:cubicBezTo>
                    <a:pt x="813" y="40"/>
                    <a:pt x="807" y="42"/>
                    <a:pt x="812" y="44"/>
                  </a:cubicBezTo>
                  <a:cubicBezTo>
                    <a:pt x="815" y="46"/>
                    <a:pt x="815" y="49"/>
                    <a:pt x="822" y="51"/>
                  </a:cubicBezTo>
                  <a:cubicBezTo>
                    <a:pt x="829" y="53"/>
                    <a:pt x="836" y="47"/>
                    <a:pt x="835" y="43"/>
                  </a:cubicBezTo>
                  <a:cubicBezTo>
                    <a:pt x="834" y="39"/>
                    <a:pt x="859" y="35"/>
                    <a:pt x="866" y="34"/>
                  </a:cubicBezTo>
                  <a:cubicBezTo>
                    <a:pt x="873" y="32"/>
                    <a:pt x="862" y="25"/>
                    <a:pt x="869" y="24"/>
                  </a:cubicBezTo>
                  <a:cubicBezTo>
                    <a:pt x="876" y="24"/>
                    <a:pt x="873" y="20"/>
                    <a:pt x="864" y="19"/>
                  </a:cubicBezTo>
                  <a:cubicBezTo>
                    <a:pt x="855" y="18"/>
                    <a:pt x="859" y="10"/>
                    <a:pt x="856" y="7"/>
                  </a:cubicBezTo>
                  <a:cubicBezTo>
                    <a:pt x="853" y="5"/>
                    <a:pt x="851" y="11"/>
                    <a:pt x="840" y="13"/>
                  </a:cubicBezTo>
                  <a:cubicBezTo>
                    <a:pt x="828" y="15"/>
                    <a:pt x="822" y="18"/>
                    <a:pt x="827" y="21"/>
                  </a:cubicBezTo>
                  <a:cubicBezTo>
                    <a:pt x="832" y="23"/>
                    <a:pt x="827" y="29"/>
                    <a:pt x="822" y="28"/>
                  </a:cubicBezTo>
                  <a:cubicBezTo>
                    <a:pt x="817" y="28"/>
                    <a:pt x="816" y="33"/>
                    <a:pt x="822" y="36"/>
                  </a:cubicBezTo>
                  <a:close/>
                  <a:moveTo>
                    <a:pt x="1423" y="161"/>
                  </a:moveTo>
                  <a:cubicBezTo>
                    <a:pt x="1431" y="161"/>
                    <a:pt x="1435" y="169"/>
                    <a:pt x="1450" y="170"/>
                  </a:cubicBezTo>
                  <a:cubicBezTo>
                    <a:pt x="1465" y="171"/>
                    <a:pt x="1477" y="168"/>
                    <a:pt x="1477" y="165"/>
                  </a:cubicBezTo>
                  <a:cubicBezTo>
                    <a:pt x="1477" y="161"/>
                    <a:pt x="1463" y="156"/>
                    <a:pt x="1459" y="159"/>
                  </a:cubicBezTo>
                  <a:cubicBezTo>
                    <a:pt x="1454" y="162"/>
                    <a:pt x="1451" y="155"/>
                    <a:pt x="1446" y="156"/>
                  </a:cubicBezTo>
                  <a:cubicBezTo>
                    <a:pt x="1440" y="158"/>
                    <a:pt x="1433" y="158"/>
                    <a:pt x="1430" y="153"/>
                  </a:cubicBezTo>
                  <a:cubicBezTo>
                    <a:pt x="1428" y="148"/>
                    <a:pt x="1419" y="160"/>
                    <a:pt x="1423" y="161"/>
                  </a:cubicBezTo>
                  <a:close/>
                  <a:moveTo>
                    <a:pt x="1795" y="254"/>
                  </a:moveTo>
                  <a:cubicBezTo>
                    <a:pt x="1801" y="257"/>
                    <a:pt x="1805" y="250"/>
                    <a:pt x="1811" y="254"/>
                  </a:cubicBezTo>
                  <a:cubicBezTo>
                    <a:pt x="1816" y="257"/>
                    <a:pt x="1829" y="252"/>
                    <a:pt x="1834" y="251"/>
                  </a:cubicBezTo>
                  <a:cubicBezTo>
                    <a:pt x="1840" y="250"/>
                    <a:pt x="1837" y="243"/>
                    <a:pt x="1822" y="241"/>
                  </a:cubicBezTo>
                  <a:cubicBezTo>
                    <a:pt x="1807" y="239"/>
                    <a:pt x="1788" y="250"/>
                    <a:pt x="1795" y="254"/>
                  </a:cubicBezTo>
                  <a:close/>
                  <a:moveTo>
                    <a:pt x="1322" y="161"/>
                  </a:moveTo>
                  <a:cubicBezTo>
                    <a:pt x="1326" y="163"/>
                    <a:pt x="1328" y="166"/>
                    <a:pt x="1331" y="168"/>
                  </a:cubicBezTo>
                  <a:cubicBezTo>
                    <a:pt x="1333" y="171"/>
                    <a:pt x="1343" y="167"/>
                    <a:pt x="1347" y="166"/>
                  </a:cubicBezTo>
                  <a:cubicBezTo>
                    <a:pt x="1351" y="164"/>
                    <a:pt x="1352" y="172"/>
                    <a:pt x="1358" y="168"/>
                  </a:cubicBezTo>
                  <a:cubicBezTo>
                    <a:pt x="1364" y="164"/>
                    <a:pt x="1371" y="166"/>
                    <a:pt x="1378" y="166"/>
                  </a:cubicBezTo>
                  <a:cubicBezTo>
                    <a:pt x="1385" y="166"/>
                    <a:pt x="1377" y="157"/>
                    <a:pt x="1377" y="153"/>
                  </a:cubicBezTo>
                  <a:cubicBezTo>
                    <a:pt x="1377" y="149"/>
                    <a:pt x="1386" y="151"/>
                    <a:pt x="1383" y="155"/>
                  </a:cubicBezTo>
                  <a:cubicBezTo>
                    <a:pt x="1380" y="158"/>
                    <a:pt x="1387" y="166"/>
                    <a:pt x="1398" y="165"/>
                  </a:cubicBezTo>
                  <a:cubicBezTo>
                    <a:pt x="1408" y="164"/>
                    <a:pt x="1400" y="158"/>
                    <a:pt x="1406" y="155"/>
                  </a:cubicBezTo>
                  <a:cubicBezTo>
                    <a:pt x="1411" y="153"/>
                    <a:pt x="1410" y="150"/>
                    <a:pt x="1403" y="146"/>
                  </a:cubicBezTo>
                  <a:cubicBezTo>
                    <a:pt x="1395" y="141"/>
                    <a:pt x="1385" y="144"/>
                    <a:pt x="1378" y="141"/>
                  </a:cubicBezTo>
                  <a:cubicBezTo>
                    <a:pt x="1371" y="138"/>
                    <a:pt x="1363" y="138"/>
                    <a:pt x="1362" y="145"/>
                  </a:cubicBezTo>
                  <a:cubicBezTo>
                    <a:pt x="1362" y="152"/>
                    <a:pt x="1348" y="137"/>
                    <a:pt x="1341" y="135"/>
                  </a:cubicBezTo>
                  <a:cubicBezTo>
                    <a:pt x="1333" y="132"/>
                    <a:pt x="1311" y="155"/>
                    <a:pt x="1322" y="161"/>
                  </a:cubicBezTo>
                  <a:close/>
                  <a:moveTo>
                    <a:pt x="1391" y="204"/>
                  </a:moveTo>
                  <a:cubicBezTo>
                    <a:pt x="1397" y="202"/>
                    <a:pt x="1387" y="191"/>
                    <a:pt x="1377" y="190"/>
                  </a:cubicBezTo>
                  <a:cubicBezTo>
                    <a:pt x="1366" y="188"/>
                    <a:pt x="1357" y="196"/>
                    <a:pt x="1358" y="198"/>
                  </a:cubicBezTo>
                  <a:cubicBezTo>
                    <a:pt x="1361" y="203"/>
                    <a:pt x="1385" y="205"/>
                    <a:pt x="1391" y="204"/>
                  </a:cubicBezTo>
                  <a:close/>
                  <a:moveTo>
                    <a:pt x="1365" y="182"/>
                  </a:moveTo>
                  <a:cubicBezTo>
                    <a:pt x="1365" y="177"/>
                    <a:pt x="1347" y="183"/>
                    <a:pt x="1354" y="186"/>
                  </a:cubicBezTo>
                  <a:cubicBezTo>
                    <a:pt x="1358" y="187"/>
                    <a:pt x="1365" y="187"/>
                    <a:pt x="1365" y="182"/>
                  </a:cubicBezTo>
                  <a:close/>
                  <a:moveTo>
                    <a:pt x="1389" y="589"/>
                  </a:moveTo>
                  <a:cubicBezTo>
                    <a:pt x="1385" y="579"/>
                    <a:pt x="1394" y="570"/>
                    <a:pt x="1387" y="565"/>
                  </a:cubicBezTo>
                  <a:cubicBezTo>
                    <a:pt x="1381" y="560"/>
                    <a:pt x="1383" y="549"/>
                    <a:pt x="1380" y="551"/>
                  </a:cubicBezTo>
                  <a:cubicBezTo>
                    <a:pt x="1377" y="553"/>
                    <a:pt x="1380" y="562"/>
                    <a:pt x="1375" y="563"/>
                  </a:cubicBezTo>
                  <a:cubicBezTo>
                    <a:pt x="1369" y="564"/>
                    <a:pt x="1374" y="569"/>
                    <a:pt x="1372" y="575"/>
                  </a:cubicBezTo>
                  <a:cubicBezTo>
                    <a:pt x="1370" y="582"/>
                    <a:pt x="1373" y="592"/>
                    <a:pt x="1376" y="598"/>
                  </a:cubicBezTo>
                  <a:cubicBezTo>
                    <a:pt x="1379" y="604"/>
                    <a:pt x="1372" y="636"/>
                    <a:pt x="1375" y="641"/>
                  </a:cubicBezTo>
                  <a:cubicBezTo>
                    <a:pt x="1378" y="646"/>
                    <a:pt x="1371" y="670"/>
                    <a:pt x="1373" y="673"/>
                  </a:cubicBezTo>
                  <a:cubicBezTo>
                    <a:pt x="1377" y="677"/>
                    <a:pt x="1374" y="666"/>
                    <a:pt x="1380" y="665"/>
                  </a:cubicBezTo>
                  <a:cubicBezTo>
                    <a:pt x="1386" y="664"/>
                    <a:pt x="1386" y="672"/>
                    <a:pt x="1390" y="674"/>
                  </a:cubicBezTo>
                  <a:cubicBezTo>
                    <a:pt x="1394" y="675"/>
                    <a:pt x="1391" y="663"/>
                    <a:pt x="1388" y="664"/>
                  </a:cubicBezTo>
                  <a:cubicBezTo>
                    <a:pt x="1385" y="664"/>
                    <a:pt x="1382" y="656"/>
                    <a:pt x="1380" y="650"/>
                  </a:cubicBezTo>
                  <a:cubicBezTo>
                    <a:pt x="1379" y="645"/>
                    <a:pt x="1384" y="639"/>
                    <a:pt x="1384" y="632"/>
                  </a:cubicBezTo>
                  <a:cubicBezTo>
                    <a:pt x="1384" y="625"/>
                    <a:pt x="1392" y="626"/>
                    <a:pt x="1397" y="631"/>
                  </a:cubicBezTo>
                  <a:cubicBezTo>
                    <a:pt x="1402" y="636"/>
                    <a:pt x="1403" y="632"/>
                    <a:pt x="1401" y="629"/>
                  </a:cubicBezTo>
                  <a:cubicBezTo>
                    <a:pt x="1399" y="625"/>
                    <a:pt x="1392" y="598"/>
                    <a:pt x="1389" y="589"/>
                  </a:cubicBezTo>
                  <a:close/>
                  <a:moveTo>
                    <a:pt x="326" y="292"/>
                  </a:moveTo>
                  <a:cubicBezTo>
                    <a:pt x="335" y="300"/>
                    <a:pt x="343" y="288"/>
                    <a:pt x="347" y="287"/>
                  </a:cubicBezTo>
                  <a:cubicBezTo>
                    <a:pt x="351" y="287"/>
                    <a:pt x="344" y="282"/>
                    <a:pt x="337" y="280"/>
                  </a:cubicBezTo>
                  <a:cubicBezTo>
                    <a:pt x="330" y="278"/>
                    <a:pt x="319" y="285"/>
                    <a:pt x="326" y="292"/>
                  </a:cubicBezTo>
                  <a:close/>
                  <a:moveTo>
                    <a:pt x="340" y="22"/>
                  </a:moveTo>
                  <a:cubicBezTo>
                    <a:pt x="345" y="26"/>
                    <a:pt x="327" y="25"/>
                    <a:pt x="325" y="28"/>
                  </a:cubicBezTo>
                  <a:cubicBezTo>
                    <a:pt x="323" y="31"/>
                    <a:pt x="312" y="30"/>
                    <a:pt x="314" y="34"/>
                  </a:cubicBezTo>
                  <a:cubicBezTo>
                    <a:pt x="316" y="38"/>
                    <a:pt x="333" y="38"/>
                    <a:pt x="333" y="35"/>
                  </a:cubicBezTo>
                  <a:cubicBezTo>
                    <a:pt x="333" y="32"/>
                    <a:pt x="342" y="35"/>
                    <a:pt x="342" y="32"/>
                  </a:cubicBezTo>
                  <a:cubicBezTo>
                    <a:pt x="342" y="29"/>
                    <a:pt x="346" y="25"/>
                    <a:pt x="355" y="25"/>
                  </a:cubicBezTo>
                  <a:cubicBezTo>
                    <a:pt x="365" y="24"/>
                    <a:pt x="365" y="21"/>
                    <a:pt x="356" y="17"/>
                  </a:cubicBezTo>
                  <a:cubicBezTo>
                    <a:pt x="347" y="13"/>
                    <a:pt x="336" y="19"/>
                    <a:pt x="340" y="22"/>
                  </a:cubicBezTo>
                  <a:close/>
                  <a:moveTo>
                    <a:pt x="309" y="25"/>
                  </a:moveTo>
                  <a:cubicBezTo>
                    <a:pt x="317" y="18"/>
                    <a:pt x="327" y="25"/>
                    <a:pt x="328" y="22"/>
                  </a:cubicBezTo>
                  <a:cubicBezTo>
                    <a:pt x="329" y="18"/>
                    <a:pt x="314" y="17"/>
                    <a:pt x="308" y="20"/>
                  </a:cubicBezTo>
                  <a:cubicBezTo>
                    <a:pt x="302" y="23"/>
                    <a:pt x="289" y="21"/>
                    <a:pt x="291" y="25"/>
                  </a:cubicBezTo>
                  <a:cubicBezTo>
                    <a:pt x="292" y="27"/>
                    <a:pt x="301" y="32"/>
                    <a:pt x="309" y="25"/>
                  </a:cubicBezTo>
                  <a:close/>
                  <a:moveTo>
                    <a:pt x="1036" y="176"/>
                  </a:moveTo>
                  <a:cubicBezTo>
                    <a:pt x="1034" y="178"/>
                    <a:pt x="1027" y="178"/>
                    <a:pt x="1029" y="181"/>
                  </a:cubicBezTo>
                  <a:cubicBezTo>
                    <a:pt x="1032" y="185"/>
                    <a:pt x="1049" y="183"/>
                    <a:pt x="1049" y="178"/>
                  </a:cubicBezTo>
                  <a:cubicBezTo>
                    <a:pt x="1050" y="172"/>
                    <a:pt x="1037" y="173"/>
                    <a:pt x="1036" y="176"/>
                  </a:cubicBezTo>
                  <a:close/>
                  <a:moveTo>
                    <a:pt x="1923" y="348"/>
                  </a:moveTo>
                  <a:cubicBezTo>
                    <a:pt x="1920" y="347"/>
                    <a:pt x="1909" y="340"/>
                    <a:pt x="1906" y="337"/>
                  </a:cubicBezTo>
                  <a:cubicBezTo>
                    <a:pt x="1904" y="333"/>
                    <a:pt x="1891" y="331"/>
                    <a:pt x="1891" y="333"/>
                  </a:cubicBezTo>
                  <a:cubicBezTo>
                    <a:pt x="1891" y="335"/>
                    <a:pt x="1887" y="332"/>
                    <a:pt x="1886" y="330"/>
                  </a:cubicBezTo>
                  <a:cubicBezTo>
                    <a:pt x="1885" y="328"/>
                    <a:pt x="1871" y="328"/>
                    <a:pt x="1871" y="330"/>
                  </a:cubicBezTo>
                  <a:cubicBezTo>
                    <a:pt x="1871" y="332"/>
                    <a:pt x="1874" y="333"/>
                    <a:pt x="1876" y="335"/>
                  </a:cubicBezTo>
                  <a:cubicBezTo>
                    <a:pt x="1878" y="338"/>
                    <a:pt x="1873" y="339"/>
                    <a:pt x="1874" y="342"/>
                  </a:cubicBezTo>
                  <a:cubicBezTo>
                    <a:pt x="1875" y="345"/>
                    <a:pt x="1869" y="341"/>
                    <a:pt x="1867" y="339"/>
                  </a:cubicBezTo>
                  <a:cubicBezTo>
                    <a:pt x="1865" y="338"/>
                    <a:pt x="1866" y="331"/>
                    <a:pt x="1867" y="328"/>
                  </a:cubicBezTo>
                  <a:cubicBezTo>
                    <a:pt x="1867" y="324"/>
                    <a:pt x="1863" y="325"/>
                    <a:pt x="1862" y="322"/>
                  </a:cubicBezTo>
                  <a:cubicBezTo>
                    <a:pt x="1862" y="318"/>
                    <a:pt x="1847" y="312"/>
                    <a:pt x="1841" y="309"/>
                  </a:cubicBezTo>
                  <a:cubicBezTo>
                    <a:pt x="1834" y="306"/>
                    <a:pt x="1826" y="304"/>
                    <a:pt x="1824" y="301"/>
                  </a:cubicBezTo>
                  <a:cubicBezTo>
                    <a:pt x="1822" y="297"/>
                    <a:pt x="1810" y="297"/>
                    <a:pt x="1806" y="292"/>
                  </a:cubicBezTo>
                  <a:cubicBezTo>
                    <a:pt x="1802" y="288"/>
                    <a:pt x="1783" y="280"/>
                    <a:pt x="1775" y="279"/>
                  </a:cubicBezTo>
                  <a:cubicBezTo>
                    <a:pt x="1766" y="279"/>
                    <a:pt x="1768" y="274"/>
                    <a:pt x="1764" y="275"/>
                  </a:cubicBezTo>
                  <a:cubicBezTo>
                    <a:pt x="1760" y="276"/>
                    <a:pt x="1743" y="275"/>
                    <a:pt x="1738" y="274"/>
                  </a:cubicBezTo>
                  <a:cubicBezTo>
                    <a:pt x="1732" y="273"/>
                    <a:pt x="1731" y="277"/>
                    <a:pt x="1727" y="276"/>
                  </a:cubicBezTo>
                  <a:cubicBezTo>
                    <a:pt x="1724" y="274"/>
                    <a:pt x="1704" y="267"/>
                    <a:pt x="1701" y="270"/>
                  </a:cubicBezTo>
                  <a:cubicBezTo>
                    <a:pt x="1699" y="272"/>
                    <a:pt x="1700" y="276"/>
                    <a:pt x="1698" y="277"/>
                  </a:cubicBezTo>
                  <a:cubicBezTo>
                    <a:pt x="1695" y="278"/>
                    <a:pt x="1698" y="281"/>
                    <a:pt x="1703" y="286"/>
                  </a:cubicBezTo>
                  <a:cubicBezTo>
                    <a:pt x="1709" y="291"/>
                    <a:pt x="1705" y="295"/>
                    <a:pt x="1700" y="297"/>
                  </a:cubicBezTo>
                  <a:cubicBezTo>
                    <a:pt x="1695" y="299"/>
                    <a:pt x="1687" y="295"/>
                    <a:pt x="1685" y="291"/>
                  </a:cubicBezTo>
                  <a:cubicBezTo>
                    <a:pt x="1682" y="287"/>
                    <a:pt x="1676" y="289"/>
                    <a:pt x="1674" y="284"/>
                  </a:cubicBezTo>
                  <a:cubicBezTo>
                    <a:pt x="1672" y="279"/>
                    <a:pt x="1676" y="278"/>
                    <a:pt x="1679" y="281"/>
                  </a:cubicBezTo>
                  <a:cubicBezTo>
                    <a:pt x="1683" y="284"/>
                    <a:pt x="1687" y="281"/>
                    <a:pt x="1688" y="278"/>
                  </a:cubicBezTo>
                  <a:cubicBezTo>
                    <a:pt x="1688" y="274"/>
                    <a:pt x="1679" y="272"/>
                    <a:pt x="1673" y="272"/>
                  </a:cubicBezTo>
                  <a:cubicBezTo>
                    <a:pt x="1668" y="272"/>
                    <a:pt x="1665" y="279"/>
                    <a:pt x="1660" y="282"/>
                  </a:cubicBezTo>
                  <a:cubicBezTo>
                    <a:pt x="1655" y="285"/>
                    <a:pt x="1634" y="281"/>
                    <a:pt x="1632" y="279"/>
                  </a:cubicBezTo>
                  <a:cubicBezTo>
                    <a:pt x="1630" y="277"/>
                    <a:pt x="1601" y="279"/>
                    <a:pt x="1598" y="281"/>
                  </a:cubicBezTo>
                  <a:cubicBezTo>
                    <a:pt x="1595" y="283"/>
                    <a:pt x="1597" y="291"/>
                    <a:pt x="1596" y="292"/>
                  </a:cubicBezTo>
                  <a:cubicBezTo>
                    <a:pt x="1594" y="292"/>
                    <a:pt x="1593" y="283"/>
                    <a:pt x="1593" y="281"/>
                  </a:cubicBezTo>
                  <a:cubicBezTo>
                    <a:pt x="1593" y="279"/>
                    <a:pt x="1589" y="278"/>
                    <a:pt x="1584" y="278"/>
                  </a:cubicBezTo>
                  <a:cubicBezTo>
                    <a:pt x="1579" y="278"/>
                    <a:pt x="1576" y="278"/>
                    <a:pt x="1578" y="275"/>
                  </a:cubicBezTo>
                  <a:cubicBezTo>
                    <a:pt x="1580" y="273"/>
                    <a:pt x="1576" y="271"/>
                    <a:pt x="1580" y="268"/>
                  </a:cubicBezTo>
                  <a:cubicBezTo>
                    <a:pt x="1584" y="265"/>
                    <a:pt x="1573" y="257"/>
                    <a:pt x="1562" y="252"/>
                  </a:cubicBezTo>
                  <a:cubicBezTo>
                    <a:pt x="1551" y="248"/>
                    <a:pt x="1526" y="250"/>
                    <a:pt x="1519" y="252"/>
                  </a:cubicBezTo>
                  <a:cubicBezTo>
                    <a:pt x="1512" y="254"/>
                    <a:pt x="1499" y="254"/>
                    <a:pt x="1493" y="254"/>
                  </a:cubicBezTo>
                  <a:cubicBezTo>
                    <a:pt x="1486" y="254"/>
                    <a:pt x="1491" y="251"/>
                    <a:pt x="1490" y="248"/>
                  </a:cubicBezTo>
                  <a:cubicBezTo>
                    <a:pt x="1488" y="245"/>
                    <a:pt x="1477" y="242"/>
                    <a:pt x="1475" y="244"/>
                  </a:cubicBezTo>
                  <a:cubicBezTo>
                    <a:pt x="1474" y="247"/>
                    <a:pt x="1471" y="244"/>
                    <a:pt x="1471" y="242"/>
                  </a:cubicBezTo>
                  <a:cubicBezTo>
                    <a:pt x="1471" y="241"/>
                    <a:pt x="1461" y="237"/>
                    <a:pt x="1457" y="238"/>
                  </a:cubicBezTo>
                  <a:cubicBezTo>
                    <a:pt x="1453" y="239"/>
                    <a:pt x="1451" y="234"/>
                    <a:pt x="1456" y="234"/>
                  </a:cubicBezTo>
                  <a:cubicBezTo>
                    <a:pt x="1460" y="234"/>
                    <a:pt x="1468" y="235"/>
                    <a:pt x="1465" y="230"/>
                  </a:cubicBezTo>
                  <a:cubicBezTo>
                    <a:pt x="1461" y="224"/>
                    <a:pt x="1431" y="223"/>
                    <a:pt x="1429" y="224"/>
                  </a:cubicBezTo>
                  <a:cubicBezTo>
                    <a:pt x="1426" y="225"/>
                    <a:pt x="1428" y="229"/>
                    <a:pt x="1422" y="235"/>
                  </a:cubicBezTo>
                  <a:cubicBezTo>
                    <a:pt x="1415" y="241"/>
                    <a:pt x="1409" y="237"/>
                    <a:pt x="1410" y="234"/>
                  </a:cubicBezTo>
                  <a:cubicBezTo>
                    <a:pt x="1411" y="231"/>
                    <a:pt x="1419" y="231"/>
                    <a:pt x="1419" y="228"/>
                  </a:cubicBezTo>
                  <a:cubicBezTo>
                    <a:pt x="1419" y="225"/>
                    <a:pt x="1408" y="227"/>
                    <a:pt x="1406" y="224"/>
                  </a:cubicBezTo>
                  <a:cubicBezTo>
                    <a:pt x="1404" y="222"/>
                    <a:pt x="1408" y="220"/>
                    <a:pt x="1412" y="221"/>
                  </a:cubicBezTo>
                  <a:cubicBezTo>
                    <a:pt x="1416" y="223"/>
                    <a:pt x="1423" y="223"/>
                    <a:pt x="1424" y="221"/>
                  </a:cubicBezTo>
                  <a:cubicBezTo>
                    <a:pt x="1424" y="220"/>
                    <a:pt x="1420" y="219"/>
                    <a:pt x="1413" y="218"/>
                  </a:cubicBezTo>
                  <a:cubicBezTo>
                    <a:pt x="1406" y="217"/>
                    <a:pt x="1390" y="213"/>
                    <a:pt x="1382" y="214"/>
                  </a:cubicBezTo>
                  <a:cubicBezTo>
                    <a:pt x="1373" y="215"/>
                    <a:pt x="1369" y="211"/>
                    <a:pt x="1365" y="210"/>
                  </a:cubicBezTo>
                  <a:cubicBezTo>
                    <a:pt x="1360" y="210"/>
                    <a:pt x="1360" y="213"/>
                    <a:pt x="1362" y="216"/>
                  </a:cubicBezTo>
                  <a:cubicBezTo>
                    <a:pt x="1364" y="218"/>
                    <a:pt x="1358" y="220"/>
                    <a:pt x="1352" y="219"/>
                  </a:cubicBezTo>
                  <a:cubicBezTo>
                    <a:pt x="1347" y="218"/>
                    <a:pt x="1339" y="222"/>
                    <a:pt x="1342" y="226"/>
                  </a:cubicBezTo>
                  <a:cubicBezTo>
                    <a:pt x="1345" y="230"/>
                    <a:pt x="1348" y="225"/>
                    <a:pt x="1351" y="226"/>
                  </a:cubicBezTo>
                  <a:cubicBezTo>
                    <a:pt x="1353" y="228"/>
                    <a:pt x="1344" y="230"/>
                    <a:pt x="1348" y="232"/>
                  </a:cubicBezTo>
                  <a:cubicBezTo>
                    <a:pt x="1352" y="234"/>
                    <a:pt x="1351" y="238"/>
                    <a:pt x="1351" y="240"/>
                  </a:cubicBezTo>
                  <a:cubicBezTo>
                    <a:pt x="1351" y="242"/>
                    <a:pt x="1345" y="243"/>
                    <a:pt x="1342" y="240"/>
                  </a:cubicBezTo>
                  <a:cubicBezTo>
                    <a:pt x="1340" y="237"/>
                    <a:pt x="1336" y="240"/>
                    <a:pt x="1331" y="239"/>
                  </a:cubicBezTo>
                  <a:cubicBezTo>
                    <a:pt x="1327" y="239"/>
                    <a:pt x="1323" y="241"/>
                    <a:pt x="1328" y="242"/>
                  </a:cubicBezTo>
                  <a:cubicBezTo>
                    <a:pt x="1333" y="242"/>
                    <a:pt x="1335" y="246"/>
                    <a:pt x="1328" y="246"/>
                  </a:cubicBezTo>
                  <a:cubicBezTo>
                    <a:pt x="1322" y="247"/>
                    <a:pt x="1323" y="240"/>
                    <a:pt x="1319" y="241"/>
                  </a:cubicBezTo>
                  <a:cubicBezTo>
                    <a:pt x="1315" y="242"/>
                    <a:pt x="1307" y="238"/>
                    <a:pt x="1302" y="238"/>
                  </a:cubicBezTo>
                  <a:cubicBezTo>
                    <a:pt x="1297" y="238"/>
                    <a:pt x="1295" y="242"/>
                    <a:pt x="1289" y="242"/>
                  </a:cubicBezTo>
                  <a:cubicBezTo>
                    <a:pt x="1283" y="243"/>
                    <a:pt x="1274" y="239"/>
                    <a:pt x="1272" y="236"/>
                  </a:cubicBezTo>
                  <a:cubicBezTo>
                    <a:pt x="1269" y="232"/>
                    <a:pt x="1269" y="231"/>
                    <a:pt x="1266" y="235"/>
                  </a:cubicBezTo>
                  <a:cubicBezTo>
                    <a:pt x="1263" y="239"/>
                    <a:pt x="1262" y="246"/>
                    <a:pt x="1259" y="247"/>
                  </a:cubicBezTo>
                  <a:cubicBezTo>
                    <a:pt x="1256" y="247"/>
                    <a:pt x="1255" y="254"/>
                    <a:pt x="1252" y="256"/>
                  </a:cubicBezTo>
                  <a:cubicBezTo>
                    <a:pt x="1249" y="257"/>
                    <a:pt x="1249" y="253"/>
                    <a:pt x="1245" y="253"/>
                  </a:cubicBezTo>
                  <a:cubicBezTo>
                    <a:pt x="1241" y="254"/>
                    <a:pt x="1229" y="242"/>
                    <a:pt x="1228" y="238"/>
                  </a:cubicBezTo>
                  <a:cubicBezTo>
                    <a:pt x="1228" y="235"/>
                    <a:pt x="1220" y="228"/>
                    <a:pt x="1218" y="227"/>
                  </a:cubicBezTo>
                  <a:cubicBezTo>
                    <a:pt x="1216" y="225"/>
                    <a:pt x="1220" y="225"/>
                    <a:pt x="1223" y="227"/>
                  </a:cubicBezTo>
                  <a:cubicBezTo>
                    <a:pt x="1225" y="229"/>
                    <a:pt x="1228" y="229"/>
                    <a:pt x="1231" y="228"/>
                  </a:cubicBezTo>
                  <a:cubicBezTo>
                    <a:pt x="1233" y="226"/>
                    <a:pt x="1233" y="220"/>
                    <a:pt x="1229" y="220"/>
                  </a:cubicBezTo>
                  <a:cubicBezTo>
                    <a:pt x="1224" y="220"/>
                    <a:pt x="1226" y="216"/>
                    <a:pt x="1228" y="216"/>
                  </a:cubicBezTo>
                  <a:cubicBezTo>
                    <a:pt x="1230" y="215"/>
                    <a:pt x="1223" y="208"/>
                    <a:pt x="1226" y="208"/>
                  </a:cubicBezTo>
                  <a:cubicBezTo>
                    <a:pt x="1228" y="207"/>
                    <a:pt x="1227" y="204"/>
                    <a:pt x="1224" y="204"/>
                  </a:cubicBezTo>
                  <a:cubicBezTo>
                    <a:pt x="1220" y="203"/>
                    <a:pt x="1216" y="200"/>
                    <a:pt x="1216" y="198"/>
                  </a:cubicBezTo>
                  <a:cubicBezTo>
                    <a:pt x="1216" y="197"/>
                    <a:pt x="1200" y="196"/>
                    <a:pt x="1201" y="199"/>
                  </a:cubicBezTo>
                  <a:cubicBezTo>
                    <a:pt x="1202" y="201"/>
                    <a:pt x="1196" y="200"/>
                    <a:pt x="1197" y="198"/>
                  </a:cubicBezTo>
                  <a:cubicBezTo>
                    <a:pt x="1198" y="196"/>
                    <a:pt x="1191" y="197"/>
                    <a:pt x="1184" y="195"/>
                  </a:cubicBezTo>
                  <a:cubicBezTo>
                    <a:pt x="1177" y="193"/>
                    <a:pt x="1176" y="188"/>
                    <a:pt x="1174" y="187"/>
                  </a:cubicBezTo>
                  <a:cubicBezTo>
                    <a:pt x="1171" y="187"/>
                    <a:pt x="1172" y="194"/>
                    <a:pt x="1169" y="193"/>
                  </a:cubicBezTo>
                  <a:cubicBezTo>
                    <a:pt x="1165" y="191"/>
                    <a:pt x="1161" y="194"/>
                    <a:pt x="1163" y="199"/>
                  </a:cubicBezTo>
                  <a:cubicBezTo>
                    <a:pt x="1165" y="203"/>
                    <a:pt x="1163" y="204"/>
                    <a:pt x="1163" y="207"/>
                  </a:cubicBezTo>
                  <a:cubicBezTo>
                    <a:pt x="1162" y="211"/>
                    <a:pt x="1160" y="209"/>
                    <a:pt x="1156" y="208"/>
                  </a:cubicBezTo>
                  <a:cubicBezTo>
                    <a:pt x="1152" y="206"/>
                    <a:pt x="1152" y="211"/>
                    <a:pt x="1142" y="209"/>
                  </a:cubicBezTo>
                  <a:cubicBezTo>
                    <a:pt x="1133" y="207"/>
                    <a:pt x="1129" y="209"/>
                    <a:pt x="1127" y="206"/>
                  </a:cubicBezTo>
                  <a:cubicBezTo>
                    <a:pt x="1126" y="203"/>
                    <a:pt x="1123" y="203"/>
                    <a:pt x="1122" y="205"/>
                  </a:cubicBezTo>
                  <a:cubicBezTo>
                    <a:pt x="1122" y="208"/>
                    <a:pt x="1108" y="207"/>
                    <a:pt x="1107" y="203"/>
                  </a:cubicBezTo>
                  <a:cubicBezTo>
                    <a:pt x="1105" y="199"/>
                    <a:pt x="1109" y="199"/>
                    <a:pt x="1111" y="198"/>
                  </a:cubicBezTo>
                  <a:cubicBezTo>
                    <a:pt x="1113" y="197"/>
                    <a:pt x="1109" y="195"/>
                    <a:pt x="1101" y="196"/>
                  </a:cubicBezTo>
                  <a:cubicBezTo>
                    <a:pt x="1093" y="196"/>
                    <a:pt x="1088" y="192"/>
                    <a:pt x="1080" y="193"/>
                  </a:cubicBezTo>
                  <a:cubicBezTo>
                    <a:pt x="1072" y="193"/>
                    <a:pt x="1054" y="195"/>
                    <a:pt x="1052" y="196"/>
                  </a:cubicBezTo>
                  <a:cubicBezTo>
                    <a:pt x="1049" y="197"/>
                    <a:pt x="1054" y="202"/>
                    <a:pt x="1050" y="202"/>
                  </a:cubicBezTo>
                  <a:cubicBezTo>
                    <a:pt x="1047" y="203"/>
                    <a:pt x="1049" y="195"/>
                    <a:pt x="1049" y="191"/>
                  </a:cubicBezTo>
                  <a:cubicBezTo>
                    <a:pt x="1048" y="188"/>
                    <a:pt x="1042" y="187"/>
                    <a:pt x="1043" y="190"/>
                  </a:cubicBezTo>
                  <a:cubicBezTo>
                    <a:pt x="1044" y="193"/>
                    <a:pt x="1034" y="194"/>
                    <a:pt x="1031" y="192"/>
                  </a:cubicBezTo>
                  <a:cubicBezTo>
                    <a:pt x="1029" y="189"/>
                    <a:pt x="1025" y="187"/>
                    <a:pt x="1018" y="185"/>
                  </a:cubicBezTo>
                  <a:cubicBezTo>
                    <a:pt x="1012" y="183"/>
                    <a:pt x="1004" y="190"/>
                    <a:pt x="1006" y="192"/>
                  </a:cubicBezTo>
                  <a:cubicBezTo>
                    <a:pt x="1007" y="194"/>
                    <a:pt x="1012" y="193"/>
                    <a:pt x="1012" y="194"/>
                  </a:cubicBezTo>
                  <a:cubicBezTo>
                    <a:pt x="1013" y="197"/>
                    <a:pt x="999" y="196"/>
                    <a:pt x="999" y="198"/>
                  </a:cubicBezTo>
                  <a:cubicBezTo>
                    <a:pt x="999" y="200"/>
                    <a:pt x="985" y="204"/>
                    <a:pt x="981" y="204"/>
                  </a:cubicBezTo>
                  <a:cubicBezTo>
                    <a:pt x="970" y="205"/>
                    <a:pt x="968" y="205"/>
                    <a:pt x="963" y="210"/>
                  </a:cubicBezTo>
                  <a:cubicBezTo>
                    <a:pt x="958" y="214"/>
                    <a:pt x="962" y="206"/>
                    <a:pt x="966" y="202"/>
                  </a:cubicBezTo>
                  <a:cubicBezTo>
                    <a:pt x="970" y="198"/>
                    <a:pt x="974" y="200"/>
                    <a:pt x="976" y="196"/>
                  </a:cubicBezTo>
                  <a:cubicBezTo>
                    <a:pt x="979" y="193"/>
                    <a:pt x="982" y="194"/>
                    <a:pt x="989" y="193"/>
                  </a:cubicBezTo>
                  <a:cubicBezTo>
                    <a:pt x="995" y="192"/>
                    <a:pt x="995" y="188"/>
                    <a:pt x="998" y="187"/>
                  </a:cubicBezTo>
                  <a:cubicBezTo>
                    <a:pt x="1001" y="185"/>
                    <a:pt x="1008" y="182"/>
                    <a:pt x="1009" y="179"/>
                  </a:cubicBezTo>
                  <a:cubicBezTo>
                    <a:pt x="1011" y="176"/>
                    <a:pt x="1026" y="171"/>
                    <a:pt x="1029" y="172"/>
                  </a:cubicBezTo>
                  <a:cubicBezTo>
                    <a:pt x="1032" y="172"/>
                    <a:pt x="1032" y="166"/>
                    <a:pt x="1034" y="166"/>
                  </a:cubicBezTo>
                  <a:cubicBezTo>
                    <a:pt x="1036" y="166"/>
                    <a:pt x="1044" y="162"/>
                    <a:pt x="1048" y="160"/>
                  </a:cubicBezTo>
                  <a:cubicBezTo>
                    <a:pt x="1051" y="159"/>
                    <a:pt x="1053" y="156"/>
                    <a:pt x="1053" y="153"/>
                  </a:cubicBezTo>
                  <a:cubicBezTo>
                    <a:pt x="1053" y="151"/>
                    <a:pt x="1048" y="152"/>
                    <a:pt x="1048" y="150"/>
                  </a:cubicBezTo>
                  <a:cubicBezTo>
                    <a:pt x="1047" y="148"/>
                    <a:pt x="1050" y="149"/>
                    <a:pt x="1053" y="148"/>
                  </a:cubicBezTo>
                  <a:cubicBezTo>
                    <a:pt x="1057" y="146"/>
                    <a:pt x="1053" y="142"/>
                    <a:pt x="1051" y="142"/>
                  </a:cubicBezTo>
                  <a:cubicBezTo>
                    <a:pt x="1048" y="143"/>
                    <a:pt x="1052" y="140"/>
                    <a:pt x="1050" y="137"/>
                  </a:cubicBezTo>
                  <a:cubicBezTo>
                    <a:pt x="1047" y="134"/>
                    <a:pt x="1042" y="139"/>
                    <a:pt x="1042" y="136"/>
                  </a:cubicBezTo>
                  <a:cubicBezTo>
                    <a:pt x="1042" y="132"/>
                    <a:pt x="1042" y="128"/>
                    <a:pt x="1040" y="126"/>
                  </a:cubicBezTo>
                  <a:cubicBezTo>
                    <a:pt x="1038" y="124"/>
                    <a:pt x="1034" y="130"/>
                    <a:pt x="1030" y="127"/>
                  </a:cubicBezTo>
                  <a:cubicBezTo>
                    <a:pt x="1026" y="124"/>
                    <a:pt x="1014" y="122"/>
                    <a:pt x="1014" y="123"/>
                  </a:cubicBezTo>
                  <a:cubicBezTo>
                    <a:pt x="1014" y="124"/>
                    <a:pt x="1008" y="121"/>
                    <a:pt x="1007" y="122"/>
                  </a:cubicBezTo>
                  <a:cubicBezTo>
                    <a:pt x="1006" y="124"/>
                    <a:pt x="996" y="123"/>
                    <a:pt x="993" y="123"/>
                  </a:cubicBezTo>
                  <a:cubicBezTo>
                    <a:pt x="990" y="122"/>
                    <a:pt x="986" y="124"/>
                    <a:pt x="986" y="127"/>
                  </a:cubicBezTo>
                  <a:cubicBezTo>
                    <a:pt x="985" y="130"/>
                    <a:pt x="974" y="129"/>
                    <a:pt x="971" y="128"/>
                  </a:cubicBezTo>
                  <a:cubicBezTo>
                    <a:pt x="969" y="128"/>
                    <a:pt x="980" y="119"/>
                    <a:pt x="980" y="118"/>
                  </a:cubicBezTo>
                  <a:cubicBezTo>
                    <a:pt x="980" y="116"/>
                    <a:pt x="962" y="118"/>
                    <a:pt x="961" y="116"/>
                  </a:cubicBezTo>
                  <a:cubicBezTo>
                    <a:pt x="960" y="115"/>
                    <a:pt x="952" y="114"/>
                    <a:pt x="948" y="114"/>
                  </a:cubicBezTo>
                  <a:cubicBezTo>
                    <a:pt x="944" y="114"/>
                    <a:pt x="948" y="113"/>
                    <a:pt x="951" y="113"/>
                  </a:cubicBezTo>
                  <a:cubicBezTo>
                    <a:pt x="955" y="113"/>
                    <a:pt x="958" y="110"/>
                    <a:pt x="962" y="109"/>
                  </a:cubicBezTo>
                  <a:cubicBezTo>
                    <a:pt x="965" y="108"/>
                    <a:pt x="965" y="107"/>
                    <a:pt x="963" y="105"/>
                  </a:cubicBezTo>
                  <a:cubicBezTo>
                    <a:pt x="961" y="102"/>
                    <a:pt x="957" y="103"/>
                    <a:pt x="953" y="102"/>
                  </a:cubicBezTo>
                  <a:cubicBezTo>
                    <a:pt x="950" y="101"/>
                    <a:pt x="945" y="99"/>
                    <a:pt x="942" y="99"/>
                  </a:cubicBezTo>
                  <a:cubicBezTo>
                    <a:pt x="938" y="99"/>
                    <a:pt x="935" y="101"/>
                    <a:pt x="927" y="102"/>
                  </a:cubicBezTo>
                  <a:cubicBezTo>
                    <a:pt x="919" y="104"/>
                    <a:pt x="918" y="110"/>
                    <a:pt x="914" y="112"/>
                  </a:cubicBezTo>
                  <a:cubicBezTo>
                    <a:pt x="910" y="114"/>
                    <a:pt x="903" y="121"/>
                    <a:pt x="907" y="122"/>
                  </a:cubicBezTo>
                  <a:cubicBezTo>
                    <a:pt x="910" y="122"/>
                    <a:pt x="908" y="124"/>
                    <a:pt x="909" y="126"/>
                  </a:cubicBezTo>
                  <a:cubicBezTo>
                    <a:pt x="909" y="129"/>
                    <a:pt x="906" y="129"/>
                    <a:pt x="902" y="128"/>
                  </a:cubicBezTo>
                  <a:cubicBezTo>
                    <a:pt x="899" y="128"/>
                    <a:pt x="885" y="128"/>
                    <a:pt x="885" y="131"/>
                  </a:cubicBezTo>
                  <a:cubicBezTo>
                    <a:pt x="885" y="134"/>
                    <a:pt x="893" y="135"/>
                    <a:pt x="893" y="136"/>
                  </a:cubicBezTo>
                  <a:cubicBezTo>
                    <a:pt x="892" y="138"/>
                    <a:pt x="887" y="136"/>
                    <a:pt x="884" y="135"/>
                  </a:cubicBezTo>
                  <a:cubicBezTo>
                    <a:pt x="881" y="133"/>
                    <a:pt x="875" y="134"/>
                    <a:pt x="874" y="137"/>
                  </a:cubicBezTo>
                  <a:cubicBezTo>
                    <a:pt x="873" y="140"/>
                    <a:pt x="868" y="139"/>
                    <a:pt x="867" y="138"/>
                  </a:cubicBezTo>
                  <a:cubicBezTo>
                    <a:pt x="865" y="138"/>
                    <a:pt x="862" y="140"/>
                    <a:pt x="860" y="139"/>
                  </a:cubicBezTo>
                  <a:cubicBezTo>
                    <a:pt x="857" y="138"/>
                    <a:pt x="865" y="134"/>
                    <a:pt x="863" y="133"/>
                  </a:cubicBezTo>
                  <a:cubicBezTo>
                    <a:pt x="861" y="131"/>
                    <a:pt x="853" y="132"/>
                    <a:pt x="852" y="135"/>
                  </a:cubicBezTo>
                  <a:cubicBezTo>
                    <a:pt x="851" y="138"/>
                    <a:pt x="846" y="133"/>
                    <a:pt x="845" y="134"/>
                  </a:cubicBezTo>
                  <a:cubicBezTo>
                    <a:pt x="843" y="135"/>
                    <a:pt x="841" y="136"/>
                    <a:pt x="837" y="138"/>
                  </a:cubicBezTo>
                  <a:cubicBezTo>
                    <a:pt x="834" y="139"/>
                    <a:pt x="828" y="136"/>
                    <a:pt x="826" y="139"/>
                  </a:cubicBezTo>
                  <a:cubicBezTo>
                    <a:pt x="825" y="142"/>
                    <a:pt x="833" y="142"/>
                    <a:pt x="833" y="144"/>
                  </a:cubicBezTo>
                  <a:cubicBezTo>
                    <a:pt x="833" y="145"/>
                    <a:pt x="815" y="145"/>
                    <a:pt x="815" y="146"/>
                  </a:cubicBezTo>
                  <a:cubicBezTo>
                    <a:pt x="814" y="148"/>
                    <a:pt x="808" y="148"/>
                    <a:pt x="800" y="148"/>
                  </a:cubicBezTo>
                  <a:cubicBezTo>
                    <a:pt x="793" y="149"/>
                    <a:pt x="796" y="152"/>
                    <a:pt x="790" y="153"/>
                  </a:cubicBezTo>
                  <a:cubicBezTo>
                    <a:pt x="784" y="155"/>
                    <a:pt x="781" y="155"/>
                    <a:pt x="779" y="158"/>
                  </a:cubicBezTo>
                  <a:cubicBezTo>
                    <a:pt x="777" y="161"/>
                    <a:pt x="773" y="161"/>
                    <a:pt x="771" y="159"/>
                  </a:cubicBezTo>
                  <a:cubicBezTo>
                    <a:pt x="769" y="157"/>
                    <a:pt x="763" y="160"/>
                    <a:pt x="766" y="160"/>
                  </a:cubicBezTo>
                  <a:cubicBezTo>
                    <a:pt x="769" y="161"/>
                    <a:pt x="766" y="164"/>
                    <a:pt x="764" y="163"/>
                  </a:cubicBezTo>
                  <a:cubicBezTo>
                    <a:pt x="763" y="162"/>
                    <a:pt x="757" y="166"/>
                    <a:pt x="760" y="166"/>
                  </a:cubicBezTo>
                  <a:cubicBezTo>
                    <a:pt x="763" y="166"/>
                    <a:pt x="765" y="168"/>
                    <a:pt x="763" y="170"/>
                  </a:cubicBezTo>
                  <a:cubicBezTo>
                    <a:pt x="762" y="172"/>
                    <a:pt x="755" y="168"/>
                    <a:pt x="754" y="169"/>
                  </a:cubicBezTo>
                  <a:cubicBezTo>
                    <a:pt x="752" y="171"/>
                    <a:pt x="757" y="173"/>
                    <a:pt x="760" y="173"/>
                  </a:cubicBezTo>
                  <a:cubicBezTo>
                    <a:pt x="763" y="173"/>
                    <a:pt x="764" y="175"/>
                    <a:pt x="765" y="177"/>
                  </a:cubicBezTo>
                  <a:cubicBezTo>
                    <a:pt x="765" y="179"/>
                    <a:pt x="758" y="175"/>
                    <a:pt x="756" y="177"/>
                  </a:cubicBezTo>
                  <a:cubicBezTo>
                    <a:pt x="755" y="179"/>
                    <a:pt x="757" y="180"/>
                    <a:pt x="761" y="180"/>
                  </a:cubicBezTo>
                  <a:cubicBezTo>
                    <a:pt x="764" y="181"/>
                    <a:pt x="761" y="182"/>
                    <a:pt x="764" y="184"/>
                  </a:cubicBezTo>
                  <a:cubicBezTo>
                    <a:pt x="764" y="184"/>
                    <a:pt x="765" y="185"/>
                    <a:pt x="765" y="185"/>
                  </a:cubicBezTo>
                  <a:cubicBezTo>
                    <a:pt x="766" y="187"/>
                    <a:pt x="763" y="188"/>
                    <a:pt x="764" y="190"/>
                  </a:cubicBezTo>
                  <a:cubicBezTo>
                    <a:pt x="764" y="192"/>
                    <a:pt x="760" y="193"/>
                    <a:pt x="760" y="191"/>
                  </a:cubicBezTo>
                  <a:cubicBezTo>
                    <a:pt x="760" y="189"/>
                    <a:pt x="752" y="188"/>
                    <a:pt x="750" y="190"/>
                  </a:cubicBezTo>
                  <a:cubicBezTo>
                    <a:pt x="748" y="192"/>
                    <a:pt x="747" y="194"/>
                    <a:pt x="744" y="192"/>
                  </a:cubicBezTo>
                  <a:cubicBezTo>
                    <a:pt x="742" y="190"/>
                    <a:pt x="736" y="192"/>
                    <a:pt x="728" y="193"/>
                  </a:cubicBezTo>
                  <a:cubicBezTo>
                    <a:pt x="720" y="193"/>
                    <a:pt x="703" y="194"/>
                    <a:pt x="699" y="195"/>
                  </a:cubicBezTo>
                  <a:cubicBezTo>
                    <a:pt x="694" y="197"/>
                    <a:pt x="691" y="203"/>
                    <a:pt x="695" y="206"/>
                  </a:cubicBezTo>
                  <a:cubicBezTo>
                    <a:pt x="699" y="210"/>
                    <a:pt x="695" y="212"/>
                    <a:pt x="695" y="214"/>
                  </a:cubicBezTo>
                  <a:cubicBezTo>
                    <a:pt x="695" y="217"/>
                    <a:pt x="705" y="222"/>
                    <a:pt x="710" y="223"/>
                  </a:cubicBezTo>
                  <a:cubicBezTo>
                    <a:pt x="716" y="223"/>
                    <a:pt x="720" y="230"/>
                    <a:pt x="717" y="234"/>
                  </a:cubicBezTo>
                  <a:cubicBezTo>
                    <a:pt x="714" y="238"/>
                    <a:pt x="704" y="232"/>
                    <a:pt x="698" y="227"/>
                  </a:cubicBezTo>
                  <a:cubicBezTo>
                    <a:pt x="691" y="222"/>
                    <a:pt x="677" y="220"/>
                    <a:pt x="672" y="221"/>
                  </a:cubicBezTo>
                  <a:cubicBezTo>
                    <a:pt x="667" y="221"/>
                    <a:pt x="670" y="216"/>
                    <a:pt x="664" y="217"/>
                  </a:cubicBezTo>
                  <a:cubicBezTo>
                    <a:pt x="657" y="217"/>
                    <a:pt x="652" y="222"/>
                    <a:pt x="656" y="222"/>
                  </a:cubicBezTo>
                  <a:cubicBezTo>
                    <a:pt x="661" y="222"/>
                    <a:pt x="663" y="222"/>
                    <a:pt x="661" y="224"/>
                  </a:cubicBezTo>
                  <a:cubicBezTo>
                    <a:pt x="659" y="226"/>
                    <a:pt x="662" y="225"/>
                    <a:pt x="667" y="228"/>
                  </a:cubicBezTo>
                  <a:cubicBezTo>
                    <a:pt x="672" y="230"/>
                    <a:pt x="663" y="233"/>
                    <a:pt x="658" y="229"/>
                  </a:cubicBezTo>
                  <a:cubicBezTo>
                    <a:pt x="653" y="226"/>
                    <a:pt x="647" y="229"/>
                    <a:pt x="646" y="232"/>
                  </a:cubicBezTo>
                  <a:cubicBezTo>
                    <a:pt x="644" y="234"/>
                    <a:pt x="652" y="242"/>
                    <a:pt x="661" y="243"/>
                  </a:cubicBezTo>
                  <a:cubicBezTo>
                    <a:pt x="670" y="245"/>
                    <a:pt x="667" y="248"/>
                    <a:pt x="671" y="249"/>
                  </a:cubicBezTo>
                  <a:cubicBezTo>
                    <a:pt x="675" y="251"/>
                    <a:pt x="672" y="252"/>
                    <a:pt x="669" y="252"/>
                  </a:cubicBezTo>
                  <a:cubicBezTo>
                    <a:pt x="666" y="253"/>
                    <a:pt x="661" y="248"/>
                    <a:pt x="656" y="246"/>
                  </a:cubicBezTo>
                  <a:cubicBezTo>
                    <a:pt x="652" y="243"/>
                    <a:pt x="640" y="247"/>
                    <a:pt x="637" y="244"/>
                  </a:cubicBezTo>
                  <a:cubicBezTo>
                    <a:pt x="635" y="241"/>
                    <a:pt x="639" y="239"/>
                    <a:pt x="636" y="237"/>
                  </a:cubicBezTo>
                  <a:cubicBezTo>
                    <a:pt x="634" y="235"/>
                    <a:pt x="636" y="230"/>
                    <a:pt x="639" y="226"/>
                  </a:cubicBezTo>
                  <a:cubicBezTo>
                    <a:pt x="642" y="221"/>
                    <a:pt x="639" y="213"/>
                    <a:pt x="634" y="212"/>
                  </a:cubicBezTo>
                  <a:cubicBezTo>
                    <a:pt x="630" y="210"/>
                    <a:pt x="630" y="215"/>
                    <a:pt x="631" y="216"/>
                  </a:cubicBezTo>
                  <a:cubicBezTo>
                    <a:pt x="632" y="217"/>
                    <a:pt x="632" y="224"/>
                    <a:pt x="628" y="228"/>
                  </a:cubicBezTo>
                  <a:cubicBezTo>
                    <a:pt x="625" y="232"/>
                    <a:pt x="615" y="232"/>
                    <a:pt x="615" y="235"/>
                  </a:cubicBezTo>
                  <a:cubicBezTo>
                    <a:pt x="615" y="238"/>
                    <a:pt x="608" y="240"/>
                    <a:pt x="610" y="242"/>
                  </a:cubicBezTo>
                  <a:cubicBezTo>
                    <a:pt x="613" y="244"/>
                    <a:pt x="622" y="254"/>
                    <a:pt x="623" y="257"/>
                  </a:cubicBezTo>
                  <a:cubicBezTo>
                    <a:pt x="625" y="261"/>
                    <a:pt x="615" y="271"/>
                    <a:pt x="617" y="276"/>
                  </a:cubicBezTo>
                  <a:cubicBezTo>
                    <a:pt x="618" y="282"/>
                    <a:pt x="615" y="285"/>
                    <a:pt x="617" y="288"/>
                  </a:cubicBezTo>
                  <a:cubicBezTo>
                    <a:pt x="619" y="291"/>
                    <a:pt x="623" y="288"/>
                    <a:pt x="626" y="289"/>
                  </a:cubicBezTo>
                  <a:cubicBezTo>
                    <a:pt x="628" y="290"/>
                    <a:pt x="633" y="288"/>
                    <a:pt x="639" y="286"/>
                  </a:cubicBezTo>
                  <a:cubicBezTo>
                    <a:pt x="645" y="285"/>
                    <a:pt x="656" y="292"/>
                    <a:pt x="661" y="294"/>
                  </a:cubicBezTo>
                  <a:cubicBezTo>
                    <a:pt x="665" y="296"/>
                    <a:pt x="663" y="299"/>
                    <a:pt x="665" y="302"/>
                  </a:cubicBezTo>
                  <a:cubicBezTo>
                    <a:pt x="667" y="306"/>
                    <a:pt x="660" y="306"/>
                    <a:pt x="660" y="311"/>
                  </a:cubicBezTo>
                  <a:cubicBezTo>
                    <a:pt x="659" y="316"/>
                    <a:pt x="672" y="318"/>
                    <a:pt x="673" y="319"/>
                  </a:cubicBezTo>
                  <a:cubicBezTo>
                    <a:pt x="673" y="321"/>
                    <a:pt x="664" y="320"/>
                    <a:pt x="660" y="318"/>
                  </a:cubicBezTo>
                  <a:cubicBezTo>
                    <a:pt x="656" y="317"/>
                    <a:pt x="656" y="312"/>
                    <a:pt x="655" y="311"/>
                  </a:cubicBezTo>
                  <a:cubicBezTo>
                    <a:pt x="654" y="310"/>
                    <a:pt x="657" y="306"/>
                    <a:pt x="658" y="303"/>
                  </a:cubicBezTo>
                  <a:cubicBezTo>
                    <a:pt x="658" y="300"/>
                    <a:pt x="653" y="298"/>
                    <a:pt x="652" y="296"/>
                  </a:cubicBezTo>
                  <a:cubicBezTo>
                    <a:pt x="650" y="294"/>
                    <a:pt x="648" y="291"/>
                    <a:pt x="645" y="291"/>
                  </a:cubicBezTo>
                  <a:cubicBezTo>
                    <a:pt x="642" y="292"/>
                    <a:pt x="631" y="293"/>
                    <a:pt x="627" y="296"/>
                  </a:cubicBezTo>
                  <a:cubicBezTo>
                    <a:pt x="624" y="299"/>
                    <a:pt x="628" y="307"/>
                    <a:pt x="630" y="312"/>
                  </a:cubicBezTo>
                  <a:cubicBezTo>
                    <a:pt x="632" y="316"/>
                    <a:pt x="620" y="322"/>
                    <a:pt x="620" y="325"/>
                  </a:cubicBezTo>
                  <a:cubicBezTo>
                    <a:pt x="621" y="328"/>
                    <a:pt x="617" y="330"/>
                    <a:pt x="612" y="332"/>
                  </a:cubicBezTo>
                  <a:cubicBezTo>
                    <a:pt x="607" y="335"/>
                    <a:pt x="601" y="337"/>
                    <a:pt x="602" y="341"/>
                  </a:cubicBezTo>
                  <a:cubicBezTo>
                    <a:pt x="602" y="346"/>
                    <a:pt x="595" y="343"/>
                    <a:pt x="591" y="341"/>
                  </a:cubicBezTo>
                  <a:cubicBezTo>
                    <a:pt x="588" y="339"/>
                    <a:pt x="583" y="343"/>
                    <a:pt x="578" y="342"/>
                  </a:cubicBezTo>
                  <a:cubicBezTo>
                    <a:pt x="573" y="342"/>
                    <a:pt x="573" y="338"/>
                    <a:pt x="569" y="340"/>
                  </a:cubicBezTo>
                  <a:cubicBezTo>
                    <a:pt x="565" y="341"/>
                    <a:pt x="563" y="338"/>
                    <a:pt x="564" y="335"/>
                  </a:cubicBezTo>
                  <a:cubicBezTo>
                    <a:pt x="565" y="332"/>
                    <a:pt x="570" y="334"/>
                    <a:pt x="570" y="336"/>
                  </a:cubicBezTo>
                  <a:cubicBezTo>
                    <a:pt x="570" y="338"/>
                    <a:pt x="573" y="337"/>
                    <a:pt x="576" y="336"/>
                  </a:cubicBezTo>
                  <a:cubicBezTo>
                    <a:pt x="580" y="334"/>
                    <a:pt x="578" y="338"/>
                    <a:pt x="583" y="338"/>
                  </a:cubicBezTo>
                  <a:cubicBezTo>
                    <a:pt x="588" y="339"/>
                    <a:pt x="585" y="336"/>
                    <a:pt x="589" y="336"/>
                  </a:cubicBezTo>
                  <a:cubicBezTo>
                    <a:pt x="592" y="336"/>
                    <a:pt x="593" y="335"/>
                    <a:pt x="591" y="333"/>
                  </a:cubicBezTo>
                  <a:cubicBezTo>
                    <a:pt x="590" y="332"/>
                    <a:pt x="594" y="330"/>
                    <a:pt x="596" y="329"/>
                  </a:cubicBezTo>
                  <a:cubicBezTo>
                    <a:pt x="599" y="328"/>
                    <a:pt x="598" y="324"/>
                    <a:pt x="600" y="323"/>
                  </a:cubicBezTo>
                  <a:cubicBezTo>
                    <a:pt x="602" y="322"/>
                    <a:pt x="601" y="320"/>
                    <a:pt x="603" y="320"/>
                  </a:cubicBezTo>
                  <a:cubicBezTo>
                    <a:pt x="605" y="319"/>
                    <a:pt x="606" y="316"/>
                    <a:pt x="608" y="316"/>
                  </a:cubicBezTo>
                  <a:cubicBezTo>
                    <a:pt x="611" y="316"/>
                    <a:pt x="612" y="312"/>
                    <a:pt x="610" y="311"/>
                  </a:cubicBezTo>
                  <a:cubicBezTo>
                    <a:pt x="609" y="309"/>
                    <a:pt x="611" y="304"/>
                    <a:pt x="613" y="303"/>
                  </a:cubicBezTo>
                  <a:cubicBezTo>
                    <a:pt x="616" y="302"/>
                    <a:pt x="616" y="300"/>
                    <a:pt x="614" y="299"/>
                  </a:cubicBezTo>
                  <a:cubicBezTo>
                    <a:pt x="612" y="297"/>
                    <a:pt x="604" y="292"/>
                    <a:pt x="605" y="289"/>
                  </a:cubicBezTo>
                  <a:cubicBezTo>
                    <a:pt x="605" y="286"/>
                    <a:pt x="604" y="280"/>
                    <a:pt x="605" y="278"/>
                  </a:cubicBezTo>
                  <a:cubicBezTo>
                    <a:pt x="606" y="275"/>
                    <a:pt x="605" y="270"/>
                    <a:pt x="604" y="267"/>
                  </a:cubicBezTo>
                  <a:cubicBezTo>
                    <a:pt x="604" y="264"/>
                    <a:pt x="606" y="261"/>
                    <a:pt x="607" y="255"/>
                  </a:cubicBezTo>
                  <a:cubicBezTo>
                    <a:pt x="608" y="250"/>
                    <a:pt x="601" y="244"/>
                    <a:pt x="598" y="242"/>
                  </a:cubicBezTo>
                  <a:cubicBezTo>
                    <a:pt x="595" y="241"/>
                    <a:pt x="597" y="238"/>
                    <a:pt x="602" y="234"/>
                  </a:cubicBezTo>
                  <a:cubicBezTo>
                    <a:pt x="607" y="230"/>
                    <a:pt x="607" y="217"/>
                    <a:pt x="607" y="215"/>
                  </a:cubicBezTo>
                  <a:cubicBezTo>
                    <a:pt x="606" y="212"/>
                    <a:pt x="596" y="210"/>
                    <a:pt x="593" y="210"/>
                  </a:cubicBezTo>
                  <a:cubicBezTo>
                    <a:pt x="589" y="210"/>
                    <a:pt x="575" y="210"/>
                    <a:pt x="571" y="209"/>
                  </a:cubicBezTo>
                  <a:cubicBezTo>
                    <a:pt x="568" y="208"/>
                    <a:pt x="566" y="212"/>
                    <a:pt x="565" y="215"/>
                  </a:cubicBezTo>
                  <a:cubicBezTo>
                    <a:pt x="563" y="219"/>
                    <a:pt x="559" y="224"/>
                    <a:pt x="557" y="231"/>
                  </a:cubicBezTo>
                  <a:cubicBezTo>
                    <a:pt x="555" y="239"/>
                    <a:pt x="546" y="241"/>
                    <a:pt x="542" y="243"/>
                  </a:cubicBezTo>
                  <a:cubicBezTo>
                    <a:pt x="538" y="245"/>
                    <a:pt x="536" y="250"/>
                    <a:pt x="538" y="253"/>
                  </a:cubicBezTo>
                  <a:cubicBezTo>
                    <a:pt x="539" y="255"/>
                    <a:pt x="542" y="253"/>
                    <a:pt x="544" y="254"/>
                  </a:cubicBezTo>
                  <a:cubicBezTo>
                    <a:pt x="546" y="255"/>
                    <a:pt x="544" y="262"/>
                    <a:pt x="543" y="263"/>
                  </a:cubicBezTo>
                  <a:cubicBezTo>
                    <a:pt x="541" y="264"/>
                    <a:pt x="545" y="267"/>
                    <a:pt x="542" y="269"/>
                  </a:cubicBezTo>
                  <a:cubicBezTo>
                    <a:pt x="539" y="270"/>
                    <a:pt x="536" y="274"/>
                    <a:pt x="538" y="276"/>
                  </a:cubicBezTo>
                  <a:cubicBezTo>
                    <a:pt x="540" y="278"/>
                    <a:pt x="548" y="279"/>
                    <a:pt x="551" y="281"/>
                  </a:cubicBezTo>
                  <a:cubicBezTo>
                    <a:pt x="555" y="283"/>
                    <a:pt x="554" y="287"/>
                    <a:pt x="556" y="290"/>
                  </a:cubicBezTo>
                  <a:cubicBezTo>
                    <a:pt x="559" y="294"/>
                    <a:pt x="562" y="292"/>
                    <a:pt x="563" y="294"/>
                  </a:cubicBezTo>
                  <a:cubicBezTo>
                    <a:pt x="564" y="296"/>
                    <a:pt x="558" y="305"/>
                    <a:pt x="556" y="305"/>
                  </a:cubicBezTo>
                  <a:cubicBezTo>
                    <a:pt x="554" y="305"/>
                    <a:pt x="545" y="296"/>
                    <a:pt x="542" y="294"/>
                  </a:cubicBezTo>
                  <a:cubicBezTo>
                    <a:pt x="540" y="292"/>
                    <a:pt x="529" y="289"/>
                    <a:pt x="524" y="286"/>
                  </a:cubicBezTo>
                  <a:cubicBezTo>
                    <a:pt x="519" y="284"/>
                    <a:pt x="515" y="284"/>
                    <a:pt x="509" y="280"/>
                  </a:cubicBezTo>
                  <a:cubicBezTo>
                    <a:pt x="504" y="276"/>
                    <a:pt x="499" y="275"/>
                    <a:pt x="488" y="275"/>
                  </a:cubicBezTo>
                  <a:cubicBezTo>
                    <a:pt x="478" y="275"/>
                    <a:pt x="471" y="272"/>
                    <a:pt x="468" y="273"/>
                  </a:cubicBezTo>
                  <a:cubicBezTo>
                    <a:pt x="464" y="273"/>
                    <a:pt x="466" y="269"/>
                    <a:pt x="460" y="267"/>
                  </a:cubicBezTo>
                  <a:cubicBezTo>
                    <a:pt x="453" y="264"/>
                    <a:pt x="449" y="260"/>
                    <a:pt x="446" y="262"/>
                  </a:cubicBezTo>
                  <a:cubicBezTo>
                    <a:pt x="442" y="264"/>
                    <a:pt x="444" y="271"/>
                    <a:pt x="449" y="272"/>
                  </a:cubicBezTo>
                  <a:cubicBezTo>
                    <a:pt x="454" y="272"/>
                    <a:pt x="452" y="275"/>
                    <a:pt x="457" y="275"/>
                  </a:cubicBezTo>
                  <a:cubicBezTo>
                    <a:pt x="463" y="275"/>
                    <a:pt x="465" y="277"/>
                    <a:pt x="465" y="280"/>
                  </a:cubicBezTo>
                  <a:cubicBezTo>
                    <a:pt x="464" y="284"/>
                    <a:pt x="467" y="287"/>
                    <a:pt x="470" y="289"/>
                  </a:cubicBezTo>
                  <a:cubicBezTo>
                    <a:pt x="472" y="292"/>
                    <a:pt x="471" y="296"/>
                    <a:pt x="466" y="296"/>
                  </a:cubicBezTo>
                  <a:cubicBezTo>
                    <a:pt x="462" y="296"/>
                    <a:pt x="457" y="296"/>
                    <a:pt x="459" y="299"/>
                  </a:cubicBezTo>
                  <a:cubicBezTo>
                    <a:pt x="461" y="303"/>
                    <a:pt x="457" y="303"/>
                    <a:pt x="453" y="302"/>
                  </a:cubicBezTo>
                  <a:cubicBezTo>
                    <a:pt x="448" y="300"/>
                    <a:pt x="451" y="297"/>
                    <a:pt x="453" y="295"/>
                  </a:cubicBezTo>
                  <a:cubicBezTo>
                    <a:pt x="455" y="293"/>
                    <a:pt x="449" y="291"/>
                    <a:pt x="446" y="290"/>
                  </a:cubicBezTo>
                  <a:cubicBezTo>
                    <a:pt x="443" y="289"/>
                    <a:pt x="432" y="297"/>
                    <a:pt x="429" y="299"/>
                  </a:cubicBezTo>
                  <a:cubicBezTo>
                    <a:pt x="425" y="300"/>
                    <a:pt x="418" y="297"/>
                    <a:pt x="410" y="299"/>
                  </a:cubicBezTo>
                  <a:cubicBezTo>
                    <a:pt x="402" y="301"/>
                    <a:pt x="402" y="307"/>
                    <a:pt x="399" y="306"/>
                  </a:cubicBezTo>
                  <a:cubicBezTo>
                    <a:pt x="396" y="306"/>
                    <a:pt x="387" y="307"/>
                    <a:pt x="384" y="305"/>
                  </a:cubicBezTo>
                  <a:cubicBezTo>
                    <a:pt x="381" y="303"/>
                    <a:pt x="383" y="302"/>
                    <a:pt x="387" y="302"/>
                  </a:cubicBezTo>
                  <a:cubicBezTo>
                    <a:pt x="390" y="302"/>
                    <a:pt x="391" y="301"/>
                    <a:pt x="389" y="299"/>
                  </a:cubicBezTo>
                  <a:cubicBezTo>
                    <a:pt x="387" y="296"/>
                    <a:pt x="392" y="293"/>
                    <a:pt x="392" y="291"/>
                  </a:cubicBezTo>
                  <a:cubicBezTo>
                    <a:pt x="392" y="289"/>
                    <a:pt x="379" y="294"/>
                    <a:pt x="377" y="296"/>
                  </a:cubicBezTo>
                  <a:cubicBezTo>
                    <a:pt x="374" y="297"/>
                    <a:pt x="377" y="301"/>
                    <a:pt x="374" y="302"/>
                  </a:cubicBezTo>
                  <a:cubicBezTo>
                    <a:pt x="372" y="303"/>
                    <a:pt x="372" y="300"/>
                    <a:pt x="369" y="299"/>
                  </a:cubicBezTo>
                  <a:cubicBezTo>
                    <a:pt x="367" y="298"/>
                    <a:pt x="347" y="302"/>
                    <a:pt x="344" y="307"/>
                  </a:cubicBezTo>
                  <a:cubicBezTo>
                    <a:pt x="340" y="311"/>
                    <a:pt x="333" y="311"/>
                    <a:pt x="333" y="313"/>
                  </a:cubicBezTo>
                  <a:cubicBezTo>
                    <a:pt x="333" y="316"/>
                    <a:pt x="324" y="315"/>
                    <a:pt x="320" y="317"/>
                  </a:cubicBezTo>
                  <a:cubicBezTo>
                    <a:pt x="317" y="319"/>
                    <a:pt x="319" y="326"/>
                    <a:pt x="318" y="329"/>
                  </a:cubicBezTo>
                  <a:cubicBezTo>
                    <a:pt x="317" y="332"/>
                    <a:pt x="303" y="331"/>
                    <a:pt x="299" y="331"/>
                  </a:cubicBezTo>
                  <a:cubicBezTo>
                    <a:pt x="295" y="332"/>
                    <a:pt x="293" y="323"/>
                    <a:pt x="290" y="323"/>
                  </a:cubicBezTo>
                  <a:cubicBezTo>
                    <a:pt x="286" y="322"/>
                    <a:pt x="288" y="318"/>
                    <a:pt x="289" y="316"/>
                  </a:cubicBezTo>
                  <a:cubicBezTo>
                    <a:pt x="290" y="314"/>
                    <a:pt x="293" y="315"/>
                    <a:pt x="297" y="313"/>
                  </a:cubicBezTo>
                  <a:cubicBezTo>
                    <a:pt x="301" y="310"/>
                    <a:pt x="306" y="314"/>
                    <a:pt x="307" y="312"/>
                  </a:cubicBezTo>
                  <a:cubicBezTo>
                    <a:pt x="309" y="310"/>
                    <a:pt x="301" y="306"/>
                    <a:pt x="300" y="301"/>
                  </a:cubicBezTo>
                  <a:cubicBezTo>
                    <a:pt x="300" y="297"/>
                    <a:pt x="291" y="296"/>
                    <a:pt x="286" y="297"/>
                  </a:cubicBezTo>
                  <a:cubicBezTo>
                    <a:pt x="281" y="299"/>
                    <a:pt x="276" y="298"/>
                    <a:pt x="272" y="296"/>
                  </a:cubicBezTo>
                  <a:cubicBezTo>
                    <a:pt x="269" y="294"/>
                    <a:pt x="269" y="299"/>
                    <a:pt x="274" y="300"/>
                  </a:cubicBezTo>
                  <a:cubicBezTo>
                    <a:pt x="279" y="302"/>
                    <a:pt x="277" y="306"/>
                    <a:pt x="277" y="308"/>
                  </a:cubicBezTo>
                  <a:cubicBezTo>
                    <a:pt x="278" y="311"/>
                    <a:pt x="276" y="316"/>
                    <a:pt x="273" y="321"/>
                  </a:cubicBezTo>
                  <a:cubicBezTo>
                    <a:pt x="270" y="325"/>
                    <a:pt x="272" y="325"/>
                    <a:pt x="277" y="325"/>
                  </a:cubicBezTo>
                  <a:cubicBezTo>
                    <a:pt x="281" y="324"/>
                    <a:pt x="281" y="330"/>
                    <a:pt x="281" y="335"/>
                  </a:cubicBezTo>
                  <a:cubicBezTo>
                    <a:pt x="281" y="339"/>
                    <a:pt x="277" y="340"/>
                    <a:pt x="277" y="343"/>
                  </a:cubicBezTo>
                  <a:cubicBezTo>
                    <a:pt x="277" y="346"/>
                    <a:pt x="274" y="342"/>
                    <a:pt x="273" y="343"/>
                  </a:cubicBezTo>
                  <a:cubicBezTo>
                    <a:pt x="271" y="344"/>
                    <a:pt x="270" y="342"/>
                    <a:pt x="269" y="340"/>
                  </a:cubicBezTo>
                  <a:cubicBezTo>
                    <a:pt x="269" y="337"/>
                    <a:pt x="262" y="339"/>
                    <a:pt x="258" y="338"/>
                  </a:cubicBezTo>
                  <a:cubicBezTo>
                    <a:pt x="254" y="337"/>
                    <a:pt x="253" y="338"/>
                    <a:pt x="251" y="341"/>
                  </a:cubicBezTo>
                  <a:cubicBezTo>
                    <a:pt x="249" y="344"/>
                    <a:pt x="244" y="345"/>
                    <a:pt x="241" y="345"/>
                  </a:cubicBezTo>
                  <a:cubicBezTo>
                    <a:pt x="238" y="346"/>
                    <a:pt x="233" y="351"/>
                    <a:pt x="230" y="353"/>
                  </a:cubicBezTo>
                  <a:cubicBezTo>
                    <a:pt x="227" y="355"/>
                    <a:pt x="226" y="359"/>
                    <a:pt x="231" y="363"/>
                  </a:cubicBezTo>
                  <a:cubicBezTo>
                    <a:pt x="235" y="367"/>
                    <a:pt x="236" y="370"/>
                    <a:pt x="235" y="372"/>
                  </a:cubicBezTo>
                  <a:cubicBezTo>
                    <a:pt x="235" y="374"/>
                    <a:pt x="224" y="373"/>
                    <a:pt x="222" y="371"/>
                  </a:cubicBezTo>
                  <a:cubicBezTo>
                    <a:pt x="220" y="369"/>
                    <a:pt x="213" y="368"/>
                    <a:pt x="210" y="368"/>
                  </a:cubicBezTo>
                  <a:cubicBezTo>
                    <a:pt x="208" y="369"/>
                    <a:pt x="201" y="361"/>
                    <a:pt x="197" y="361"/>
                  </a:cubicBezTo>
                  <a:cubicBezTo>
                    <a:pt x="194" y="361"/>
                    <a:pt x="192" y="365"/>
                    <a:pt x="190" y="367"/>
                  </a:cubicBezTo>
                  <a:cubicBezTo>
                    <a:pt x="189" y="369"/>
                    <a:pt x="192" y="370"/>
                    <a:pt x="194" y="374"/>
                  </a:cubicBezTo>
                  <a:cubicBezTo>
                    <a:pt x="195" y="377"/>
                    <a:pt x="202" y="377"/>
                    <a:pt x="205" y="377"/>
                  </a:cubicBezTo>
                  <a:cubicBezTo>
                    <a:pt x="208" y="377"/>
                    <a:pt x="207" y="382"/>
                    <a:pt x="206" y="384"/>
                  </a:cubicBezTo>
                  <a:cubicBezTo>
                    <a:pt x="205" y="386"/>
                    <a:pt x="199" y="388"/>
                    <a:pt x="197" y="386"/>
                  </a:cubicBezTo>
                  <a:cubicBezTo>
                    <a:pt x="196" y="383"/>
                    <a:pt x="189" y="386"/>
                    <a:pt x="188" y="383"/>
                  </a:cubicBezTo>
                  <a:cubicBezTo>
                    <a:pt x="188" y="380"/>
                    <a:pt x="183" y="376"/>
                    <a:pt x="178" y="377"/>
                  </a:cubicBezTo>
                  <a:cubicBezTo>
                    <a:pt x="173" y="378"/>
                    <a:pt x="172" y="375"/>
                    <a:pt x="172" y="371"/>
                  </a:cubicBezTo>
                  <a:cubicBezTo>
                    <a:pt x="173" y="367"/>
                    <a:pt x="169" y="364"/>
                    <a:pt x="170" y="362"/>
                  </a:cubicBezTo>
                  <a:cubicBezTo>
                    <a:pt x="170" y="361"/>
                    <a:pt x="167" y="357"/>
                    <a:pt x="170" y="355"/>
                  </a:cubicBezTo>
                  <a:cubicBezTo>
                    <a:pt x="173" y="353"/>
                    <a:pt x="171" y="350"/>
                    <a:pt x="171" y="348"/>
                  </a:cubicBezTo>
                  <a:cubicBezTo>
                    <a:pt x="171" y="345"/>
                    <a:pt x="166" y="342"/>
                    <a:pt x="162" y="342"/>
                  </a:cubicBezTo>
                  <a:cubicBezTo>
                    <a:pt x="158" y="342"/>
                    <a:pt x="159" y="337"/>
                    <a:pt x="155" y="337"/>
                  </a:cubicBezTo>
                  <a:cubicBezTo>
                    <a:pt x="152" y="336"/>
                    <a:pt x="145" y="330"/>
                    <a:pt x="144" y="327"/>
                  </a:cubicBezTo>
                  <a:cubicBezTo>
                    <a:pt x="144" y="325"/>
                    <a:pt x="138" y="325"/>
                    <a:pt x="140" y="324"/>
                  </a:cubicBezTo>
                  <a:cubicBezTo>
                    <a:pt x="142" y="323"/>
                    <a:pt x="146" y="324"/>
                    <a:pt x="149" y="327"/>
                  </a:cubicBezTo>
                  <a:cubicBezTo>
                    <a:pt x="152" y="330"/>
                    <a:pt x="157" y="333"/>
                    <a:pt x="165" y="334"/>
                  </a:cubicBezTo>
                  <a:cubicBezTo>
                    <a:pt x="173" y="335"/>
                    <a:pt x="176" y="338"/>
                    <a:pt x="185" y="340"/>
                  </a:cubicBezTo>
                  <a:cubicBezTo>
                    <a:pt x="193" y="341"/>
                    <a:pt x="198" y="342"/>
                    <a:pt x="211" y="344"/>
                  </a:cubicBezTo>
                  <a:cubicBezTo>
                    <a:pt x="223" y="346"/>
                    <a:pt x="240" y="333"/>
                    <a:pt x="244" y="330"/>
                  </a:cubicBezTo>
                  <a:cubicBezTo>
                    <a:pt x="247" y="326"/>
                    <a:pt x="243" y="319"/>
                    <a:pt x="243" y="317"/>
                  </a:cubicBezTo>
                  <a:cubicBezTo>
                    <a:pt x="243" y="314"/>
                    <a:pt x="237" y="314"/>
                    <a:pt x="236" y="312"/>
                  </a:cubicBezTo>
                  <a:cubicBezTo>
                    <a:pt x="235" y="310"/>
                    <a:pt x="232" y="306"/>
                    <a:pt x="227" y="306"/>
                  </a:cubicBezTo>
                  <a:cubicBezTo>
                    <a:pt x="222" y="306"/>
                    <a:pt x="221" y="300"/>
                    <a:pt x="217" y="301"/>
                  </a:cubicBezTo>
                  <a:cubicBezTo>
                    <a:pt x="214" y="301"/>
                    <a:pt x="211" y="299"/>
                    <a:pt x="201" y="292"/>
                  </a:cubicBezTo>
                  <a:cubicBezTo>
                    <a:pt x="191" y="286"/>
                    <a:pt x="177" y="281"/>
                    <a:pt x="175" y="282"/>
                  </a:cubicBezTo>
                  <a:cubicBezTo>
                    <a:pt x="172" y="283"/>
                    <a:pt x="170" y="284"/>
                    <a:pt x="169" y="281"/>
                  </a:cubicBezTo>
                  <a:cubicBezTo>
                    <a:pt x="167" y="279"/>
                    <a:pt x="163" y="279"/>
                    <a:pt x="161" y="281"/>
                  </a:cubicBezTo>
                  <a:cubicBezTo>
                    <a:pt x="158" y="283"/>
                    <a:pt x="155" y="279"/>
                    <a:pt x="150" y="281"/>
                  </a:cubicBezTo>
                  <a:cubicBezTo>
                    <a:pt x="145" y="282"/>
                    <a:pt x="143" y="278"/>
                    <a:pt x="144" y="277"/>
                  </a:cubicBezTo>
                  <a:cubicBezTo>
                    <a:pt x="145" y="275"/>
                    <a:pt x="153" y="277"/>
                    <a:pt x="152" y="274"/>
                  </a:cubicBezTo>
                  <a:cubicBezTo>
                    <a:pt x="152" y="272"/>
                    <a:pt x="149" y="274"/>
                    <a:pt x="145" y="271"/>
                  </a:cubicBezTo>
                  <a:cubicBezTo>
                    <a:pt x="140" y="268"/>
                    <a:pt x="138" y="270"/>
                    <a:pt x="137" y="273"/>
                  </a:cubicBezTo>
                  <a:cubicBezTo>
                    <a:pt x="136" y="275"/>
                    <a:pt x="132" y="275"/>
                    <a:pt x="130" y="272"/>
                  </a:cubicBezTo>
                  <a:cubicBezTo>
                    <a:pt x="130" y="272"/>
                    <a:pt x="129" y="272"/>
                    <a:pt x="129" y="272"/>
                  </a:cubicBezTo>
                  <a:cubicBezTo>
                    <a:pt x="128" y="276"/>
                    <a:pt x="126" y="276"/>
                    <a:pt x="123" y="276"/>
                  </a:cubicBezTo>
                  <a:cubicBezTo>
                    <a:pt x="120" y="275"/>
                    <a:pt x="117" y="280"/>
                    <a:pt x="114" y="280"/>
                  </a:cubicBezTo>
                  <a:cubicBezTo>
                    <a:pt x="111" y="280"/>
                    <a:pt x="107" y="284"/>
                    <a:pt x="106" y="287"/>
                  </a:cubicBezTo>
                  <a:cubicBezTo>
                    <a:pt x="106" y="290"/>
                    <a:pt x="102" y="288"/>
                    <a:pt x="102" y="290"/>
                  </a:cubicBezTo>
                  <a:cubicBezTo>
                    <a:pt x="102" y="292"/>
                    <a:pt x="102" y="294"/>
                    <a:pt x="100" y="296"/>
                  </a:cubicBezTo>
                  <a:cubicBezTo>
                    <a:pt x="99" y="298"/>
                    <a:pt x="100" y="299"/>
                    <a:pt x="102" y="303"/>
                  </a:cubicBezTo>
                  <a:cubicBezTo>
                    <a:pt x="104" y="306"/>
                    <a:pt x="107" y="306"/>
                    <a:pt x="109" y="307"/>
                  </a:cubicBezTo>
                  <a:cubicBezTo>
                    <a:pt x="111" y="308"/>
                    <a:pt x="117" y="313"/>
                    <a:pt x="117" y="315"/>
                  </a:cubicBezTo>
                  <a:cubicBezTo>
                    <a:pt x="117" y="317"/>
                    <a:pt x="112" y="322"/>
                    <a:pt x="110" y="323"/>
                  </a:cubicBezTo>
                  <a:cubicBezTo>
                    <a:pt x="108" y="325"/>
                    <a:pt x="105" y="328"/>
                    <a:pt x="107" y="330"/>
                  </a:cubicBezTo>
                  <a:cubicBezTo>
                    <a:pt x="108" y="332"/>
                    <a:pt x="114" y="340"/>
                    <a:pt x="117" y="347"/>
                  </a:cubicBezTo>
                  <a:cubicBezTo>
                    <a:pt x="121" y="354"/>
                    <a:pt x="116" y="351"/>
                    <a:pt x="114" y="354"/>
                  </a:cubicBezTo>
                  <a:cubicBezTo>
                    <a:pt x="111" y="357"/>
                    <a:pt x="115" y="360"/>
                    <a:pt x="115" y="362"/>
                  </a:cubicBezTo>
                  <a:cubicBezTo>
                    <a:pt x="116" y="364"/>
                    <a:pt x="112" y="364"/>
                    <a:pt x="113" y="366"/>
                  </a:cubicBezTo>
                  <a:cubicBezTo>
                    <a:pt x="113" y="367"/>
                    <a:pt x="118" y="368"/>
                    <a:pt x="118" y="369"/>
                  </a:cubicBezTo>
                  <a:cubicBezTo>
                    <a:pt x="119" y="371"/>
                    <a:pt x="115" y="372"/>
                    <a:pt x="117" y="375"/>
                  </a:cubicBezTo>
                  <a:cubicBezTo>
                    <a:pt x="118" y="378"/>
                    <a:pt x="122" y="378"/>
                    <a:pt x="123" y="381"/>
                  </a:cubicBezTo>
                  <a:cubicBezTo>
                    <a:pt x="123" y="384"/>
                    <a:pt x="115" y="385"/>
                    <a:pt x="116" y="387"/>
                  </a:cubicBezTo>
                  <a:cubicBezTo>
                    <a:pt x="116" y="390"/>
                    <a:pt x="126" y="393"/>
                    <a:pt x="130" y="398"/>
                  </a:cubicBezTo>
                  <a:cubicBezTo>
                    <a:pt x="134" y="403"/>
                    <a:pt x="134" y="405"/>
                    <a:pt x="133" y="407"/>
                  </a:cubicBezTo>
                  <a:cubicBezTo>
                    <a:pt x="131" y="413"/>
                    <a:pt x="119" y="417"/>
                    <a:pt x="116" y="423"/>
                  </a:cubicBezTo>
                  <a:cubicBezTo>
                    <a:pt x="114" y="429"/>
                    <a:pt x="104" y="433"/>
                    <a:pt x="99" y="437"/>
                  </a:cubicBezTo>
                  <a:cubicBezTo>
                    <a:pt x="97" y="439"/>
                    <a:pt x="95" y="442"/>
                    <a:pt x="94" y="444"/>
                  </a:cubicBezTo>
                  <a:cubicBezTo>
                    <a:pt x="96" y="444"/>
                    <a:pt x="97" y="443"/>
                    <a:pt x="98" y="442"/>
                  </a:cubicBezTo>
                  <a:cubicBezTo>
                    <a:pt x="101" y="441"/>
                    <a:pt x="103" y="448"/>
                    <a:pt x="106" y="450"/>
                  </a:cubicBezTo>
                  <a:cubicBezTo>
                    <a:pt x="108" y="452"/>
                    <a:pt x="114" y="450"/>
                    <a:pt x="115" y="452"/>
                  </a:cubicBezTo>
                  <a:cubicBezTo>
                    <a:pt x="117" y="454"/>
                    <a:pt x="114" y="454"/>
                    <a:pt x="110" y="453"/>
                  </a:cubicBezTo>
                  <a:cubicBezTo>
                    <a:pt x="106" y="453"/>
                    <a:pt x="105" y="455"/>
                    <a:pt x="99" y="457"/>
                  </a:cubicBezTo>
                  <a:cubicBezTo>
                    <a:pt x="95" y="459"/>
                    <a:pt x="95" y="460"/>
                    <a:pt x="94" y="461"/>
                  </a:cubicBezTo>
                  <a:cubicBezTo>
                    <a:pt x="96" y="465"/>
                    <a:pt x="93" y="466"/>
                    <a:pt x="91" y="469"/>
                  </a:cubicBezTo>
                  <a:cubicBezTo>
                    <a:pt x="90" y="472"/>
                    <a:pt x="88" y="473"/>
                    <a:pt x="88" y="475"/>
                  </a:cubicBezTo>
                  <a:cubicBezTo>
                    <a:pt x="87" y="477"/>
                    <a:pt x="88" y="478"/>
                    <a:pt x="88" y="481"/>
                  </a:cubicBezTo>
                  <a:cubicBezTo>
                    <a:pt x="89" y="484"/>
                    <a:pt x="89" y="485"/>
                    <a:pt x="91" y="487"/>
                  </a:cubicBezTo>
                  <a:cubicBezTo>
                    <a:pt x="93" y="490"/>
                    <a:pt x="89" y="490"/>
                    <a:pt x="88" y="491"/>
                  </a:cubicBezTo>
                  <a:cubicBezTo>
                    <a:pt x="86" y="492"/>
                    <a:pt x="87" y="495"/>
                    <a:pt x="89" y="497"/>
                  </a:cubicBezTo>
                  <a:cubicBezTo>
                    <a:pt x="91" y="499"/>
                    <a:pt x="91" y="501"/>
                    <a:pt x="91" y="503"/>
                  </a:cubicBezTo>
                  <a:cubicBezTo>
                    <a:pt x="90" y="505"/>
                    <a:pt x="92" y="508"/>
                    <a:pt x="94" y="510"/>
                  </a:cubicBezTo>
                  <a:cubicBezTo>
                    <a:pt x="96" y="511"/>
                    <a:pt x="96" y="516"/>
                    <a:pt x="97" y="517"/>
                  </a:cubicBezTo>
                  <a:cubicBezTo>
                    <a:pt x="99" y="519"/>
                    <a:pt x="100" y="520"/>
                    <a:pt x="103" y="519"/>
                  </a:cubicBezTo>
                  <a:cubicBezTo>
                    <a:pt x="106" y="518"/>
                    <a:pt x="108" y="520"/>
                    <a:pt x="109" y="522"/>
                  </a:cubicBezTo>
                  <a:cubicBezTo>
                    <a:pt x="110" y="524"/>
                    <a:pt x="112" y="523"/>
                    <a:pt x="115" y="522"/>
                  </a:cubicBezTo>
                  <a:cubicBezTo>
                    <a:pt x="118" y="521"/>
                    <a:pt x="124" y="524"/>
                    <a:pt x="125" y="525"/>
                  </a:cubicBezTo>
                  <a:cubicBezTo>
                    <a:pt x="127" y="526"/>
                    <a:pt x="126" y="530"/>
                    <a:pt x="126" y="533"/>
                  </a:cubicBezTo>
                  <a:cubicBezTo>
                    <a:pt x="127" y="535"/>
                    <a:pt x="125" y="539"/>
                    <a:pt x="128" y="541"/>
                  </a:cubicBezTo>
                  <a:cubicBezTo>
                    <a:pt x="130" y="542"/>
                    <a:pt x="130" y="546"/>
                    <a:pt x="133" y="548"/>
                  </a:cubicBezTo>
                  <a:cubicBezTo>
                    <a:pt x="136" y="549"/>
                    <a:pt x="137" y="553"/>
                    <a:pt x="139" y="554"/>
                  </a:cubicBezTo>
                  <a:cubicBezTo>
                    <a:pt x="141" y="554"/>
                    <a:pt x="145" y="557"/>
                    <a:pt x="146" y="560"/>
                  </a:cubicBezTo>
                  <a:cubicBezTo>
                    <a:pt x="146" y="562"/>
                    <a:pt x="142" y="564"/>
                    <a:pt x="140" y="565"/>
                  </a:cubicBezTo>
                  <a:cubicBezTo>
                    <a:pt x="138" y="566"/>
                    <a:pt x="133" y="562"/>
                    <a:pt x="132" y="564"/>
                  </a:cubicBezTo>
                  <a:cubicBezTo>
                    <a:pt x="130" y="565"/>
                    <a:pt x="132" y="569"/>
                    <a:pt x="134" y="574"/>
                  </a:cubicBezTo>
                  <a:cubicBezTo>
                    <a:pt x="135" y="580"/>
                    <a:pt x="136" y="580"/>
                    <a:pt x="138" y="580"/>
                  </a:cubicBezTo>
                  <a:cubicBezTo>
                    <a:pt x="141" y="580"/>
                    <a:pt x="142" y="578"/>
                    <a:pt x="144" y="577"/>
                  </a:cubicBezTo>
                  <a:cubicBezTo>
                    <a:pt x="145" y="576"/>
                    <a:pt x="149" y="578"/>
                    <a:pt x="151" y="577"/>
                  </a:cubicBezTo>
                  <a:cubicBezTo>
                    <a:pt x="153" y="576"/>
                    <a:pt x="159" y="576"/>
                    <a:pt x="160" y="578"/>
                  </a:cubicBezTo>
                  <a:cubicBezTo>
                    <a:pt x="162" y="580"/>
                    <a:pt x="163" y="585"/>
                    <a:pt x="162" y="587"/>
                  </a:cubicBezTo>
                  <a:cubicBezTo>
                    <a:pt x="161" y="588"/>
                    <a:pt x="163" y="590"/>
                    <a:pt x="164" y="593"/>
                  </a:cubicBezTo>
                  <a:cubicBezTo>
                    <a:pt x="166" y="595"/>
                    <a:pt x="171" y="594"/>
                    <a:pt x="173" y="595"/>
                  </a:cubicBezTo>
                  <a:cubicBezTo>
                    <a:pt x="174" y="596"/>
                    <a:pt x="178" y="601"/>
                    <a:pt x="178" y="604"/>
                  </a:cubicBezTo>
                  <a:cubicBezTo>
                    <a:pt x="177" y="606"/>
                    <a:pt x="180" y="607"/>
                    <a:pt x="182" y="606"/>
                  </a:cubicBezTo>
                  <a:cubicBezTo>
                    <a:pt x="184" y="605"/>
                    <a:pt x="185" y="607"/>
                    <a:pt x="187" y="608"/>
                  </a:cubicBezTo>
                  <a:cubicBezTo>
                    <a:pt x="189" y="610"/>
                    <a:pt x="191" y="609"/>
                    <a:pt x="193" y="608"/>
                  </a:cubicBezTo>
                  <a:cubicBezTo>
                    <a:pt x="195" y="607"/>
                    <a:pt x="198" y="606"/>
                    <a:pt x="199" y="607"/>
                  </a:cubicBezTo>
                  <a:cubicBezTo>
                    <a:pt x="200" y="609"/>
                    <a:pt x="204" y="612"/>
                    <a:pt x="204" y="613"/>
                  </a:cubicBezTo>
                  <a:cubicBezTo>
                    <a:pt x="204" y="614"/>
                    <a:pt x="211" y="613"/>
                    <a:pt x="214" y="615"/>
                  </a:cubicBezTo>
                  <a:cubicBezTo>
                    <a:pt x="217" y="616"/>
                    <a:pt x="220" y="616"/>
                    <a:pt x="223" y="617"/>
                  </a:cubicBezTo>
                  <a:cubicBezTo>
                    <a:pt x="226" y="619"/>
                    <a:pt x="229" y="619"/>
                    <a:pt x="230" y="621"/>
                  </a:cubicBezTo>
                  <a:cubicBezTo>
                    <a:pt x="230" y="623"/>
                    <a:pt x="226" y="625"/>
                    <a:pt x="226" y="626"/>
                  </a:cubicBezTo>
                  <a:cubicBezTo>
                    <a:pt x="226" y="627"/>
                    <a:pt x="229" y="628"/>
                    <a:pt x="229" y="629"/>
                  </a:cubicBezTo>
                  <a:cubicBezTo>
                    <a:pt x="229" y="631"/>
                    <a:pt x="226" y="631"/>
                    <a:pt x="225" y="632"/>
                  </a:cubicBezTo>
                  <a:cubicBezTo>
                    <a:pt x="225" y="633"/>
                    <a:pt x="227" y="635"/>
                    <a:pt x="228" y="636"/>
                  </a:cubicBezTo>
                  <a:cubicBezTo>
                    <a:pt x="228" y="638"/>
                    <a:pt x="226" y="642"/>
                    <a:pt x="226" y="643"/>
                  </a:cubicBezTo>
                  <a:cubicBezTo>
                    <a:pt x="226" y="644"/>
                    <a:pt x="218" y="643"/>
                    <a:pt x="216" y="643"/>
                  </a:cubicBezTo>
                  <a:cubicBezTo>
                    <a:pt x="215" y="643"/>
                    <a:pt x="209" y="649"/>
                    <a:pt x="208" y="649"/>
                  </a:cubicBezTo>
                  <a:cubicBezTo>
                    <a:pt x="206" y="649"/>
                    <a:pt x="207" y="652"/>
                    <a:pt x="207" y="654"/>
                  </a:cubicBezTo>
                  <a:cubicBezTo>
                    <a:pt x="213" y="653"/>
                    <a:pt x="218" y="653"/>
                    <a:pt x="219" y="654"/>
                  </a:cubicBezTo>
                  <a:cubicBezTo>
                    <a:pt x="220" y="656"/>
                    <a:pt x="207" y="661"/>
                    <a:pt x="205" y="662"/>
                  </a:cubicBezTo>
                  <a:cubicBezTo>
                    <a:pt x="203" y="663"/>
                    <a:pt x="209" y="666"/>
                    <a:pt x="209" y="668"/>
                  </a:cubicBezTo>
                  <a:cubicBezTo>
                    <a:pt x="209" y="670"/>
                    <a:pt x="202" y="671"/>
                    <a:pt x="203" y="675"/>
                  </a:cubicBezTo>
                  <a:cubicBezTo>
                    <a:pt x="203" y="679"/>
                    <a:pt x="200" y="680"/>
                    <a:pt x="196" y="680"/>
                  </a:cubicBezTo>
                  <a:cubicBezTo>
                    <a:pt x="193" y="680"/>
                    <a:pt x="192" y="682"/>
                    <a:pt x="193" y="682"/>
                  </a:cubicBezTo>
                  <a:cubicBezTo>
                    <a:pt x="195" y="683"/>
                    <a:pt x="195" y="688"/>
                    <a:pt x="202" y="690"/>
                  </a:cubicBezTo>
                  <a:cubicBezTo>
                    <a:pt x="209" y="691"/>
                    <a:pt x="217" y="698"/>
                    <a:pt x="223" y="705"/>
                  </a:cubicBezTo>
                  <a:cubicBezTo>
                    <a:pt x="224" y="706"/>
                    <a:pt x="225" y="706"/>
                    <a:pt x="226" y="707"/>
                  </a:cubicBezTo>
                  <a:cubicBezTo>
                    <a:pt x="228" y="706"/>
                    <a:pt x="229" y="705"/>
                    <a:pt x="230" y="705"/>
                  </a:cubicBezTo>
                  <a:cubicBezTo>
                    <a:pt x="234" y="705"/>
                    <a:pt x="240" y="707"/>
                    <a:pt x="244" y="709"/>
                  </a:cubicBezTo>
                  <a:cubicBezTo>
                    <a:pt x="247" y="712"/>
                    <a:pt x="260" y="709"/>
                    <a:pt x="261" y="711"/>
                  </a:cubicBezTo>
                  <a:cubicBezTo>
                    <a:pt x="263" y="713"/>
                    <a:pt x="266" y="715"/>
                    <a:pt x="268" y="715"/>
                  </a:cubicBezTo>
                  <a:cubicBezTo>
                    <a:pt x="271" y="715"/>
                    <a:pt x="273" y="720"/>
                    <a:pt x="275" y="719"/>
                  </a:cubicBezTo>
                  <a:cubicBezTo>
                    <a:pt x="277" y="717"/>
                    <a:pt x="285" y="717"/>
                    <a:pt x="287" y="717"/>
                  </a:cubicBezTo>
                  <a:cubicBezTo>
                    <a:pt x="289" y="717"/>
                    <a:pt x="289" y="719"/>
                    <a:pt x="291" y="719"/>
                  </a:cubicBezTo>
                  <a:cubicBezTo>
                    <a:pt x="293" y="719"/>
                    <a:pt x="293" y="726"/>
                    <a:pt x="294" y="726"/>
                  </a:cubicBezTo>
                  <a:cubicBezTo>
                    <a:pt x="296" y="725"/>
                    <a:pt x="301" y="730"/>
                    <a:pt x="305" y="731"/>
                  </a:cubicBezTo>
                  <a:cubicBezTo>
                    <a:pt x="308" y="731"/>
                    <a:pt x="312" y="737"/>
                    <a:pt x="313" y="737"/>
                  </a:cubicBezTo>
                  <a:cubicBezTo>
                    <a:pt x="315" y="736"/>
                    <a:pt x="317" y="739"/>
                    <a:pt x="318" y="737"/>
                  </a:cubicBezTo>
                  <a:cubicBezTo>
                    <a:pt x="319" y="734"/>
                    <a:pt x="324" y="735"/>
                    <a:pt x="326" y="731"/>
                  </a:cubicBezTo>
                  <a:cubicBezTo>
                    <a:pt x="319" y="723"/>
                    <a:pt x="312" y="715"/>
                    <a:pt x="313" y="712"/>
                  </a:cubicBezTo>
                  <a:cubicBezTo>
                    <a:pt x="313" y="706"/>
                    <a:pt x="315" y="702"/>
                    <a:pt x="308" y="696"/>
                  </a:cubicBezTo>
                  <a:cubicBezTo>
                    <a:pt x="301" y="690"/>
                    <a:pt x="309" y="686"/>
                    <a:pt x="314" y="680"/>
                  </a:cubicBezTo>
                  <a:cubicBezTo>
                    <a:pt x="318" y="674"/>
                    <a:pt x="328" y="672"/>
                    <a:pt x="334" y="668"/>
                  </a:cubicBezTo>
                  <a:cubicBezTo>
                    <a:pt x="333" y="667"/>
                    <a:pt x="332" y="666"/>
                    <a:pt x="330" y="666"/>
                  </a:cubicBezTo>
                  <a:cubicBezTo>
                    <a:pt x="326" y="664"/>
                    <a:pt x="324" y="662"/>
                    <a:pt x="328" y="661"/>
                  </a:cubicBezTo>
                  <a:cubicBezTo>
                    <a:pt x="331" y="660"/>
                    <a:pt x="330" y="658"/>
                    <a:pt x="326" y="654"/>
                  </a:cubicBezTo>
                  <a:cubicBezTo>
                    <a:pt x="323" y="650"/>
                    <a:pt x="321" y="646"/>
                    <a:pt x="319" y="646"/>
                  </a:cubicBezTo>
                  <a:cubicBezTo>
                    <a:pt x="317" y="646"/>
                    <a:pt x="314" y="645"/>
                    <a:pt x="311" y="646"/>
                  </a:cubicBezTo>
                  <a:cubicBezTo>
                    <a:pt x="308" y="647"/>
                    <a:pt x="309" y="644"/>
                    <a:pt x="309" y="640"/>
                  </a:cubicBezTo>
                  <a:cubicBezTo>
                    <a:pt x="310" y="637"/>
                    <a:pt x="304" y="637"/>
                    <a:pt x="303" y="636"/>
                  </a:cubicBezTo>
                  <a:cubicBezTo>
                    <a:pt x="302" y="634"/>
                    <a:pt x="304" y="629"/>
                    <a:pt x="305" y="629"/>
                  </a:cubicBezTo>
                  <a:cubicBezTo>
                    <a:pt x="306" y="628"/>
                    <a:pt x="309" y="627"/>
                    <a:pt x="309" y="625"/>
                  </a:cubicBezTo>
                  <a:cubicBezTo>
                    <a:pt x="309" y="624"/>
                    <a:pt x="304" y="623"/>
                    <a:pt x="306" y="620"/>
                  </a:cubicBezTo>
                  <a:cubicBezTo>
                    <a:pt x="308" y="616"/>
                    <a:pt x="312" y="616"/>
                    <a:pt x="312" y="613"/>
                  </a:cubicBezTo>
                  <a:cubicBezTo>
                    <a:pt x="312" y="609"/>
                    <a:pt x="315" y="606"/>
                    <a:pt x="318" y="609"/>
                  </a:cubicBezTo>
                  <a:cubicBezTo>
                    <a:pt x="322" y="611"/>
                    <a:pt x="323" y="618"/>
                    <a:pt x="327" y="616"/>
                  </a:cubicBezTo>
                  <a:cubicBezTo>
                    <a:pt x="331" y="615"/>
                    <a:pt x="329" y="611"/>
                    <a:pt x="328" y="609"/>
                  </a:cubicBezTo>
                  <a:cubicBezTo>
                    <a:pt x="328" y="607"/>
                    <a:pt x="327" y="604"/>
                    <a:pt x="331" y="603"/>
                  </a:cubicBezTo>
                  <a:cubicBezTo>
                    <a:pt x="336" y="602"/>
                    <a:pt x="334" y="598"/>
                    <a:pt x="337" y="598"/>
                  </a:cubicBezTo>
                  <a:cubicBezTo>
                    <a:pt x="341" y="598"/>
                    <a:pt x="347" y="593"/>
                    <a:pt x="349" y="592"/>
                  </a:cubicBezTo>
                  <a:cubicBezTo>
                    <a:pt x="351" y="591"/>
                    <a:pt x="356" y="589"/>
                    <a:pt x="358" y="590"/>
                  </a:cubicBezTo>
                  <a:cubicBezTo>
                    <a:pt x="360" y="591"/>
                    <a:pt x="362" y="593"/>
                    <a:pt x="364" y="590"/>
                  </a:cubicBezTo>
                  <a:cubicBezTo>
                    <a:pt x="365" y="586"/>
                    <a:pt x="371" y="588"/>
                    <a:pt x="372" y="590"/>
                  </a:cubicBezTo>
                  <a:cubicBezTo>
                    <a:pt x="372" y="592"/>
                    <a:pt x="382" y="592"/>
                    <a:pt x="385" y="594"/>
                  </a:cubicBezTo>
                  <a:cubicBezTo>
                    <a:pt x="388" y="596"/>
                    <a:pt x="394" y="600"/>
                    <a:pt x="394" y="602"/>
                  </a:cubicBezTo>
                  <a:cubicBezTo>
                    <a:pt x="394" y="604"/>
                    <a:pt x="397" y="607"/>
                    <a:pt x="397" y="603"/>
                  </a:cubicBezTo>
                  <a:cubicBezTo>
                    <a:pt x="397" y="600"/>
                    <a:pt x="400" y="601"/>
                    <a:pt x="404" y="603"/>
                  </a:cubicBezTo>
                  <a:cubicBezTo>
                    <a:pt x="408" y="606"/>
                    <a:pt x="413" y="605"/>
                    <a:pt x="414" y="602"/>
                  </a:cubicBezTo>
                  <a:cubicBezTo>
                    <a:pt x="415" y="600"/>
                    <a:pt x="423" y="597"/>
                    <a:pt x="425" y="599"/>
                  </a:cubicBezTo>
                  <a:cubicBezTo>
                    <a:pt x="428" y="601"/>
                    <a:pt x="429" y="602"/>
                    <a:pt x="432" y="599"/>
                  </a:cubicBezTo>
                  <a:cubicBezTo>
                    <a:pt x="435" y="596"/>
                    <a:pt x="442" y="597"/>
                    <a:pt x="443" y="600"/>
                  </a:cubicBezTo>
                  <a:cubicBezTo>
                    <a:pt x="444" y="603"/>
                    <a:pt x="447" y="603"/>
                    <a:pt x="450" y="603"/>
                  </a:cubicBezTo>
                  <a:cubicBezTo>
                    <a:pt x="453" y="603"/>
                    <a:pt x="454" y="608"/>
                    <a:pt x="456" y="607"/>
                  </a:cubicBezTo>
                  <a:cubicBezTo>
                    <a:pt x="458" y="606"/>
                    <a:pt x="457" y="601"/>
                    <a:pt x="460" y="601"/>
                  </a:cubicBezTo>
                  <a:cubicBezTo>
                    <a:pt x="462" y="602"/>
                    <a:pt x="464" y="605"/>
                    <a:pt x="468" y="605"/>
                  </a:cubicBezTo>
                  <a:cubicBezTo>
                    <a:pt x="472" y="605"/>
                    <a:pt x="475" y="604"/>
                    <a:pt x="475" y="601"/>
                  </a:cubicBezTo>
                  <a:cubicBezTo>
                    <a:pt x="475" y="598"/>
                    <a:pt x="475" y="593"/>
                    <a:pt x="472" y="593"/>
                  </a:cubicBezTo>
                  <a:cubicBezTo>
                    <a:pt x="470" y="593"/>
                    <a:pt x="467" y="590"/>
                    <a:pt x="464" y="590"/>
                  </a:cubicBezTo>
                  <a:cubicBezTo>
                    <a:pt x="461" y="590"/>
                    <a:pt x="458" y="585"/>
                    <a:pt x="461" y="584"/>
                  </a:cubicBezTo>
                  <a:cubicBezTo>
                    <a:pt x="464" y="583"/>
                    <a:pt x="469" y="581"/>
                    <a:pt x="468" y="578"/>
                  </a:cubicBezTo>
                  <a:cubicBezTo>
                    <a:pt x="467" y="576"/>
                    <a:pt x="466" y="571"/>
                    <a:pt x="470" y="570"/>
                  </a:cubicBezTo>
                  <a:cubicBezTo>
                    <a:pt x="474" y="570"/>
                    <a:pt x="483" y="570"/>
                    <a:pt x="482" y="568"/>
                  </a:cubicBezTo>
                  <a:cubicBezTo>
                    <a:pt x="482" y="567"/>
                    <a:pt x="474" y="566"/>
                    <a:pt x="472" y="563"/>
                  </a:cubicBezTo>
                  <a:cubicBezTo>
                    <a:pt x="471" y="561"/>
                    <a:pt x="470" y="555"/>
                    <a:pt x="472" y="554"/>
                  </a:cubicBezTo>
                  <a:cubicBezTo>
                    <a:pt x="473" y="553"/>
                    <a:pt x="478" y="554"/>
                    <a:pt x="481" y="553"/>
                  </a:cubicBezTo>
                  <a:cubicBezTo>
                    <a:pt x="484" y="552"/>
                    <a:pt x="491" y="555"/>
                    <a:pt x="495" y="552"/>
                  </a:cubicBezTo>
                  <a:cubicBezTo>
                    <a:pt x="499" y="549"/>
                    <a:pt x="507" y="548"/>
                    <a:pt x="512" y="548"/>
                  </a:cubicBezTo>
                  <a:cubicBezTo>
                    <a:pt x="516" y="548"/>
                    <a:pt x="520" y="545"/>
                    <a:pt x="523" y="545"/>
                  </a:cubicBezTo>
                  <a:cubicBezTo>
                    <a:pt x="527" y="544"/>
                    <a:pt x="537" y="543"/>
                    <a:pt x="539" y="542"/>
                  </a:cubicBezTo>
                  <a:cubicBezTo>
                    <a:pt x="542" y="541"/>
                    <a:pt x="555" y="539"/>
                    <a:pt x="556" y="536"/>
                  </a:cubicBezTo>
                  <a:cubicBezTo>
                    <a:pt x="556" y="534"/>
                    <a:pt x="567" y="532"/>
                    <a:pt x="570" y="533"/>
                  </a:cubicBezTo>
                  <a:cubicBezTo>
                    <a:pt x="573" y="534"/>
                    <a:pt x="576" y="535"/>
                    <a:pt x="579" y="534"/>
                  </a:cubicBezTo>
                  <a:cubicBezTo>
                    <a:pt x="581" y="533"/>
                    <a:pt x="586" y="536"/>
                    <a:pt x="586" y="539"/>
                  </a:cubicBezTo>
                  <a:cubicBezTo>
                    <a:pt x="585" y="541"/>
                    <a:pt x="588" y="544"/>
                    <a:pt x="588" y="547"/>
                  </a:cubicBezTo>
                  <a:cubicBezTo>
                    <a:pt x="588" y="549"/>
                    <a:pt x="585" y="550"/>
                    <a:pt x="587" y="551"/>
                  </a:cubicBezTo>
                  <a:cubicBezTo>
                    <a:pt x="588" y="553"/>
                    <a:pt x="595" y="552"/>
                    <a:pt x="597" y="550"/>
                  </a:cubicBezTo>
                  <a:cubicBezTo>
                    <a:pt x="599" y="547"/>
                    <a:pt x="601" y="551"/>
                    <a:pt x="601" y="552"/>
                  </a:cubicBezTo>
                  <a:cubicBezTo>
                    <a:pt x="601" y="554"/>
                    <a:pt x="604" y="555"/>
                    <a:pt x="604" y="553"/>
                  </a:cubicBezTo>
                  <a:cubicBezTo>
                    <a:pt x="604" y="551"/>
                    <a:pt x="608" y="552"/>
                    <a:pt x="610" y="554"/>
                  </a:cubicBezTo>
                  <a:cubicBezTo>
                    <a:pt x="611" y="555"/>
                    <a:pt x="616" y="552"/>
                    <a:pt x="616" y="555"/>
                  </a:cubicBezTo>
                  <a:cubicBezTo>
                    <a:pt x="616" y="557"/>
                    <a:pt x="609" y="559"/>
                    <a:pt x="612" y="562"/>
                  </a:cubicBezTo>
                  <a:cubicBezTo>
                    <a:pt x="615" y="565"/>
                    <a:pt x="616" y="559"/>
                    <a:pt x="620" y="560"/>
                  </a:cubicBezTo>
                  <a:cubicBezTo>
                    <a:pt x="624" y="561"/>
                    <a:pt x="629" y="556"/>
                    <a:pt x="632" y="555"/>
                  </a:cubicBezTo>
                  <a:cubicBezTo>
                    <a:pt x="636" y="554"/>
                    <a:pt x="640" y="551"/>
                    <a:pt x="643" y="549"/>
                  </a:cubicBezTo>
                  <a:cubicBezTo>
                    <a:pt x="646" y="547"/>
                    <a:pt x="652" y="548"/>
                    <a:pt x="650" y="550"/>
                  </a:cubicBezTo>
                  <a:cubicBezTo>
                    <a:pt x="648" y="552"/>
                    <a:pt x="646" y="556"/>
                    <a:pt x="653" y="558"/>
                  </a:cubicBezTo>
                  <a:cubicBezTo>
                    <a:pt x="661" y="561"/>
                    <a:pt x="669" y="576"/>
                    <a:pt x="674" y="583"/>
                  </a:cubicBezTo>
                  <a:cubicBezTo>
                    <a:pt x="679" y="590"/>
                    <a:pt x="683" y="603"/>
                    <a:pt x="686" y="603"/>
                  </a:cubicBezTo>
                  <a:cubicBezTo>
                    <a:pt x="688" y="603"/>
                    <a:pt x="689" y="597"/>
                    <a:pt x="692" y="596"/>
                  </a:cubicBezTo>
                  <a:cubicBezTo>
                    <a:pt x="696" y="595"/>
                    <a:pt x="698" y="601"/>
                    <a:pt x="701" y="602"/>
                  </a:cubicBezTo>
                  <a:cubicBezTo>
                    <a:pt x="705" y="603"/>
                    <a:pt x="709" y="605"/>
                    <a:pt x="712" y="604"/>
                  </a:cubicBezTo>
                  <a:cubicBezTo>
                    <a:pt x="715" y="603"/>
                    <a:pt x="721" y="599"/>
                    <a:pt x="723" y="601"/>
                  </a:cubicBezTo>
                  <a:cubicBezTo>
                    <a:pt x="726" y="602"/>
                    <a:pt x="729" y="602"/>
                    <a:pt x="731" y="607"/>
                  </a:cubicBezTo>
                  <a:cubicBezTo>
                    <a:pt x="733" y="611"/>
                    <a:pt x="736" y="612"/>
                    <a:pt x="738" y="612"/>
                  </a:cubicBezTo>
                  <a:cubicBezTo>
                    <a:pt x="740" y="612"/>
                    <a:pt x="740" y="615"/>
                    <a:pt x="740" y="617"/>
                  </a:cubicBezTo>
                  <a:cubicBezTo>
                    <a:pt x="740" y="619"/>
                    <a:pt x="744" y="621"/>
                    <a:pt x="746" y="621"/>
                  </a:cubicBezTo>
                  <a:cubicBezTo>
                    <a:pt x="748" y="621"/>
                    <a:pt x="753" y="621"/>
                    <a:pt x="755" y="620"/>
                  </a:cubicBezTo>
                  <a:cubicBezTo>
                    <a:pt x="756" y="619"/>
                    <a:pt x="758" y="618"/>
                    <a:pt x="759" y="620"/>
                  </a:cubicBezTo>
                  <a:cubicBezTo>
                    <a:pt x="759" y="622"/>
                    <a:pt x="762" y="626"/>
                    <a:pt x="764" y="626"/>
                  </a:cubicBezTo>
                  <a:cubicBezTo>
                    <a:pt x="766" y="626"/>
                    <a:pt x="770" y="628"/>
                    <a:pt x="770" y="626"/>
                  </a:cubicBezTo>
                  <a:cubicBezTo>
                    <a:pt x="771" y="624"/>
                    <a:pt x="776" y="623"/>
                    <a:pt x="778" y="623"/>
                  </a:cubicBezTo>
                  <a:cubicBezTo>
                    <a:pt x="780" y="623"/>
                    <a:pt x="787" y="621"/>
                    <a:pt x="788" y="618"/>
                  </a:cubicBezTo>
                  <a:cubicBezTo>
                    <a:pt x="790" y="615"/>
                    <a:pt x="795" y="615"/>
                    <a:pt x="797" y="613"/>
                  </a:cubicBezTo>
                  <a:cubicBezTo>
                    <a:pt x="799" y="611"/>
                    <a:pt x="803" y="610"/>
                    <a:pt x="804" y="608"/>
                  </a:cubicBezTo>
                  <a:cubicBezTo>
                    <a:pt x="805" y="606"/>
                    <a:pt x="811" y="607"/>
                    <a:pt x="812" y="605"/>
                  </a:cubicBezTo>
                  <a:cubicBezTo>
                    <a:pt x="813" y="603"/>
                    <a:pt x="818" y="603"/>
                    <a:pt x="820" y="604"/>
                  </a:cubicBezTo>
                  <a:cubicBezTo>
                    <a:pt x="822" y="604"/>
                    <a:pt x="834" y="607"/>
                    <a:pt x="836" y="606"/>
                  </a:cubicBezTo>
                  <a:cubicBezTo>
                    <a:pt x="837" y="606"/>
                    <a:pt x="838" y="612"/>
                    <a:pt x="839" y="613"/>
                  </a:cubicBezTo>
                  <a:cubicBezTo>
                    <a:pt x="841" y="613"/>
                    <a:pt x="847" y="618"/>
                    <a:pt x="849" y="616"/>
                  </a:cubicBezTo>
                  <a:cubicBezTo>
                    <a:pt x="850" y="615"/>
                    <a:pt x="854" y="614"/>
                    <a:pt x="858" y="616"/>
                  </a:cubicBezTo>
                  <a:cubicBezTo>
                    <a:pt x="861" y="618"/>
                    <a:pt x="864" y="620"/>
                    <a:pt x="866" y="618"/>
                  </a:cubicBezTo>
                  <a:cubicBezTo>
                    <a:pt x="867" y="616"/>
                    <a:pt x="874" y="615"/>
                    <a:pt x="875" y="613"/>
                  </a:cubicBezTo>
                  <a:cubicBezTo>
                    <a:pt x="876" y="612"/>
                    <a:pt x="877" y="608"/>
                    <a:pt x="875" y="607"/>
                  </a:cubicBezTo>
                  <a:cubicBezTo>
                    <a:pt x="874" y="605"/>
                    <a:pt x="872" y="600"/>
                    <a:pt x="871" y="597"/>
                  </a:cubicBezTo>
                  <a:cubicBezTo>
                    <a:pt x="871" y="595"/>
                    <a:pt x="875" y="594"/>
                    <a:pt x="876" y="592"/>
                  </a:cubicBezTo>
                  <a:cubicBezTo>
                    <a:pt x="877" y="589"/>
                    <a:pt x="881" y="589"/>
                    <a:pt x="882" y="588"/>
                  </a:cubicBezTo>
                  <a:cubicBezTo>
                    <a:pt x="883" y="586"/>
                    <a:pt x="884" y="583"/>
                    <a:pt x="886" y="584"/>
                  </a:cubicBezTo>
                  <a:cubicBezTo>
                    <a:pt x="888" y="585"/>
                    <a:pt x="893" y="586"/>
                    <a:pt x="894" y="587"/>
                  </a:cubicBezTo>
                  <a:cubicBezTo>
                    <a:pt x="895" y="588"/>
                    <a:pt x="899" y="589"/>
                    <a:pt x="901" y="589"/>
                  </a:cubicBezTo>
                  <a:cubicBezTo>
                    <a:pt x="904" y="589"/>
                    <a:pt x="907" y="591"/>
                    <a:pt x="910" y="592"/>
                  </a:cubicBezTo>
                  <a:cubicBezTo>
                    <a:pt x="912" y="594"/>
                    <a:pt x="919" y="594"/>
                    <a:pt x="921" y="596"/>
                  </a:cubicBezTo>
                  <a:cubicBezTo>
                    <a:pt x="922" y="598"/>
                    <a:pt x="920" y="603"/>
                    <a:pt x="922" y="605"/>
                  </a:cubicBezTo>
                  <a:cubicBezTo>
                    <a:pt x="924" y="607"/>
                    <a:pt x="928" y="612"/>
                    <a:pt x="929" y="611"/>
                  </a:cubicBezTo>
                  <a:cubicBezTo>
                    <a:pt x="930" y="610"/>
                    <a:pt x="937" y="614"/>
                    <a:pt x="939" y="614"/>
                  </a:cubicBezTo>
                  <a:cubicBezTo>
                    <a:pt x="941" y="613"/>
                    <a:pt x="945" y="610"/>
                    <a:pt x="947" y="610"/>
                  </a:cubicBezTo>
                  <a:cubicBezTo>
                    <a:pt x="949" y="610"/>
                    <a:pt x="955" y="608"/>
                    <a:pt x="957" y="608"/>
                  </a:cubicBezTo>
                  <a:cubicBezTo>
                    <a:pt x="959" y="609"/>
                    <a:pt x="967" y="611"/>
                    <a:pt x="968" y="611"/>
                  </a:cubicBezTo>
                  <a:cubicBezTo>
                    <a:pt x="969" y="610"/>
                    <a:pt x="975" y="611"/>
                    <a:pt x="976" y="613"/>
                  </a:cubicBezTo>
                  <a:cubicBezTo>
                    <a:pt x="977" y="615"/>
                    <a:pt x="986" y="615"/>
                    <a:pt x="986" y="617"/>
                  </a:cubicBezTo>
                  <a:cubicBezTo>
                    <a:pt x="986" y="620"/>
                    <a:pt x="990" y="621"/>
                    <a:pt x="992" y="624"/>
                  </a:cubicBezTo>
                  <a:cubicBezTo>
                    <a:pt x="993" y="626"/>
                    <a:pt x="1004" y="625"/>
                    <a:pt x="1006" y="626"/>
                  </a:cubicBezTo>
                  <a:cubicBezTo>
                    <a:pt x="1008" y="628"/>
                    <a:pt x="1021" y="628"/>
                    <a:pt x="1021" y="626"/>
                  </a:cubicBezTo>
                  <a:cubicBezTo>
                    <a:pt x="1021" y="625"/>
                    <a:pt x="1033" y="624"/>
                    <a:pt x="1036" y="623"/>
                  </a:cubicBezTo>
                  <a:cubicBezTo>
                    <a:pt x="1038" y="621"/>
                    <a:pt x="1044" y="622"/>
                    <a:pt x="1045" y="619"/>
                  </a:cubicBezTo>
                  <a:cubicBezTo>
                    <a:pt x="1045" y="617"/>
                    <a:pt x="1051" y="615"/>
                    <a:pt x="1054" y="613"/>
                  </a:cubicBezTo>
                  <a:cubicBezTo>
                    <a:pt x="1056" y="611"/>
                    <a:pt x="1067" y="612"/>
                    <a:pt x="1068" y="614"/>
                  </a:cubicBezTo>
                  <a:cubicBezTo>
                    <a:pt x="1068" y="616"/>
                    <a:pt x="1075" y="617"/>
                    <a:pt x="1077" y="616"/>
                  </a:cubicBezTo>
                  <a:cubicBezTo>
                    <a:pt x="1080" y="615"/>
                    <a:pt x="1087" y="616"/>
                    <a:pt x="1088" y="619"/>
                  </a:cubicBezTo>
                  <a:cubicBezTo>
                    <a:pt x="1089" y="621"/>
                    <a:pt x="1097" y="622"/>
                    <a:pt x="1099" y="622"/>
                  </a:cubicBezTo>
                  <a:cubicBezTo>
                    <a:pt x="1101" y="621"/>
                    <a:pt x="1107" y="616"/>
                    <a:pt x="1110" y="616"/>
                  </a:cubicBezTo>
                  <a:cubicBezTo>
                    <a:pt x="1112" y="616"/>
                    <a:pt x="1115" y="613"/>
                    <a:pt x="1115" y="611"/>
                  </a:cubicBezTo>
                  <a:cubicBezTo>
                    <a:pt x="1114" y="609"/>
                    <a:pt x="1119" y="602"/>
                    <a:pt x="1120" y="599"/>
                  </a:cubicBezTo>
                  <a:cubicBezTo>
                    <a:pt x="1121" y="597"/>
                    <a:pt x="1125" y="589"/>
                    <a:pt x="1127" y="589"/>
                  </a:cubicBezTo>
                  <a:cubicBezTo>
                    <a:pt x="1129" y="588"/>
                    <a:pt x="1132" y="585"/>
                    <a:pt x="1132" y="583"/>
                  </a:cubicBezTo>
                  <a:cubicBezTo>
                    <a:pt x="1132" y="581"/>
                    <a:pt x="1131" y="575"/>
                    <a:pt x="1129" y="575"/>
                  </a:cubicBezTo>
                  <a:cubicBezTo>
                    <a:pt x="1127" y="575"/>
                    <a:pt x="1123" y="575"/>
                    <a:pt x="1128" y="569"/>
                  </a:cubicBezTo>
                  <a:cubicBezTo>
                    <a:pt x="1132" y="563"/>
                    <a:pt x="1141" y="564"/>
                    <a:pt x="1142" y="564"/>
                  </a:cubicBezTo>
                  <a:cubicBezTo>
                    <a:pt x="1143" y="564"/>
                    <a:pt x="1154" y="562"/>
                    <a:pt x="1159" y="563"/>
                  </a:cubicBezTo>
                  <a:cubicBezTo>
                    <a:pt x="1163" y="564"/>
                    <a:pt x="1166" y="562"/>
                    <a:pt x="1171" y="565"/>
                  </a:cubicBezTo>
                  <a:cubicBezTo>
                    <a:pt x="1176" y="568"/>
                    <a:pt x="1183" y="567"/>
                    <a:pt x="1185" y="569"/>
                  </a:cubicBezTo>
                  <a:cubicBezTo>
                    <a:pt x="1187" y="571"/>
                    <a:pt x="1193" y="573"/>
                    <a:pt x="1192" y="577"/>
                  </a:cubicBezTo>
                  <a:cubicBezTo>
                    <a:pt x="1191" y="581"/>
                    <a:pt x="1196" y="579"/>
                    <a:pt x="1198" y="588"/>
                  </a:cubicBezTo>
                  <a:cubicBezTo>
                    <a:pt x="1199" y="596"/>
                    <a:pt x="1203" y="597"/>
                    <a:pt x="1204" y="601"/>
                  </a:cubicBezTo>
                  <a:cubicBezTo>
                    <a:pt x="1205" y="605"/>
                    <a:pt x="1211" y="612"/>
                    <a:pt x="1210" y="615"/>
                  </a:cubicBezTo>
                  <a:cubicBezTo>
                    <a:pt x="1209" y="617"/>
                    <a:pt x="1209" y="621"/>
                    <a:pt x="1214" y="621"/>
                  </a:cubicBezTo>
                  <a:cubicBezTo>
                    <a:pt x="1220" y="621"/>
                    <a:pt x="1224" y="626"/>
                    <a:pt x="1225" y="625"/>
                  </a:cubicBezTo>
                  <a:cubicBezTo>
                    <a:pt x="1227" y="624"/>
                    <a:pt x="1233" y="627"/>
                    <a:pt x="1237" y="630"/>
                  </a:cubicBezTo>
                  <a:cubicBezTo>
                    <a:pt x="1240" y="633"/>
                    <a:pt x="1245" y="632"/>
                    <a:pt x="1245" y="635"/>
                  </a:cubicBezTo>
                  <a:cubicBezTo>
                    <a:pt x="1244" y="639"/>
                    <a:pt x="1247" y="642"/>
                    <a:pt x="1247" y="645"/>
                  </a:cubicBezTo>
                  <a:cubicBezTo>
                    <a:pt x="1247" y="648"/>
                    <a:pt x="1253" y="650"/>
                    <a:pt x="1258" y="649"/>
                  </a:cubicBezTo>
                  <a:cubicBezTo>
                    <a:pt x="1263" y="649"/>
                    <a:pt x="1266" y="651"/>
                    <a:pt x="1268" y="647"/>
                  </a:cubicBezTo>
                  <a:cubicBezTo>
                    <a:pt x="1270" y="643"/>
                    <a:pt x="1277" y="645"/>
                    <a:pt x="1279" y="643"/>
                  </a:cubicBezTo>
                  <a:cubicBezTo>
                    <a:pt x="1281" y="641"/>
                    <a:pt x="1288" y="639"/>
                    <a:pt x="1288" y="645"/>
                  </a:cubicBezTo>
                  <a:cubicBezTo>
                    <a:pt x="1288" y="651"/>
                    <a:pt x="1292" y="653"/>
                    <a:pt x="1288" y="655"/>
                  </a:cubicBezTo>
                  <a:cubicBezTo>
                    <a:pt x="1285" y="657"/>
                    <a:pt x="1283" y="665"/>
                    <a:pt x="1282" y="669"/>
                  </a:cubicBezTo>
                  <a:cubicBezTo>
                    <a:pt x="1281" y="673"/>
                    <a:pt x="1276" y="674"/>
                    <a:pt x="1276" y="678"/>
                  </a:cubicBezTo>
                  <a:cubicBezTo>
                    <a:pt x="1275" y="682"/>
                    <a:pt x="1270" y="682"/>
                    <a:pt x="1270" y="685"/>
                  </a:cubicBezTo>
                  <a:cubicBezTo>
                    <a:pt x="1270" y="688"/>
                    <a:pt x="1264" y="687"/>
                    <a:pt x="1260" y="685"/>
                  </a:cubicBezTo>
                  <a:cubicBezTo>
                    <a:pt x="1257" y="683"/>
                    <a:pt x="1254" y="689"/>
                    <a:pt x="1251" y="689"/>
                  </a:cubicBezTo>
                  <a:cubicBezTo>
                    <a:pt x="1248" y="689"/>
                    <a:pt x="1249" y="695"/>
                    <a:pt x="1249" y="697"/>
                  </a:cubicBezTo>
                  <a:cubicBezTo>
                    <a:pt x="1250" y="700"/>
                    <a:pt x="1248" y="703"/>
                    <a:pt x="1250" y="707"/>
                  </a:cubicBezTo>
                  <a:cubicBezTo>
                    <a:pt x="1251" y="709"/>
                    <a:pt x="1250" y="713"/>
                    <a:pt x="1251" y="717"/>
                  </a:cubicBezTo>
                  <a:cubicBezTo>
                    <a:pt x="1255" y="714"/>
                    <a:pt x="1259" y="712"/>
                    <a:pt x="1260" y="712"/>
                  </a:cubicBezTo>
                  <a:cubicBezTo>
                    <a:pt x="1264" y="712"/>
                    <a:pt x="1269" y="719"/>
                    <a:pt x="1273" y="720"/>
                  </a:cubicBezTo>
                  <a:cubicBezTo>
                    <a:pt x="1278" y="720"/>
                    <a:pt x="1299" y="706"/>
                    <a:pt x="1299" y="703"/>
                  </a:cubicBezTo>
                  <a:cubicBezTo>
                    <a:pt x="1299" y="701"/>
                    <a:pt x="1312" y="689"/>
                    <a:pt x="1318" y="683"/>
                  </a:cubicBezTo>
                  <a:cubicBezTo>
                    <a:pt x="1323" y="677"/>
                    <a:pt x="1331" y="668"/>
                    <a:pt x="1334" y="661"/>
                  </a:cubicBezTo>
                  <a:cubicBezTo>
                    <a:pt x="1336" y="656"/>
                    <a:pt x="1344" y="648"/>
                    <a:pt x="1346" y="645"/>
                  </a:cubicBezTo>
                  <a:cubicBezTo>
                    <a:pt x="1348" y="641"/>
                    <a:pt x="1349" y="641"/>
                    <a:pt x="1353" y="633"/>
                  </a:cubicBezTo>
                  <a:cubicBezTo>
                    <a:pt x="1357" y="625"/>
                    <a:pt x="1357" y="605"/>
                    <a:pt x="1358" y="604"/>
                  </a:cubicBezTo>
                  <a:cubicBezTo>
                    <a:pt x="1359" y="602"/>
                    <a:pt x="1358" y="599"/>
                    <a:pt x="1360" y="597"/>
                  </a:cubicBezTo>
                  <a:cubicBezTo>
                    <a:pt x="1362" y="594"/>
                    <a:pt x="1361" y="591"/>
                    <a:pt x="1364" y="589"/>
                  </a:cubicBezTo>
                  <a:cubicBezTo>
                    <a:pt x="1368" y="586"/>
                    <a:pt x="1367" y="583"/>
                    <a:pt x="1366" y="581"/>
                  </a:cubicBezTo>
                  <a:cubicBezTo>
                    <a:pt x="1365" y="579"/>
                    <a:pt x="1366" y="574"/>
                    <a:pt x="1365" y="573"/>
                  </a:cubicBezTo>
                  <a:cubicBezTo>
                    <a:pt x="1365" y="571"/>
                    <a:pt x="1365" y="570"/>
                    <a:pt x="1367" y="569"/>
                  </a:cubicBezTo>
                  <a:cubicBezTo>
                    <a:pt x="1369" y="568"/>
                    <a:pt x="1365" y="565"/>
                    <a:pt x="1363" y="564"/>
                  </a:cubicBezTo>
                  <a:cubicBezTo>
                    <a:pt x="1360" y="562"/>
                    <a:pt x="1356" y="561"/>
                    <a:pt x="1356" y="558"/>
                  </a:cubicBezTo>
                  <a:cubicBezTo>
                    <a:pt x="1355" y="555"/>
                    <a:pt x="1351" y="551"/>
                    <a:pt x="1347" y="551"/>
                  </a:cubicBezTo>
                  <a:cubicBezTo>
                    <a:pt x="1343" y="552"/>
                    <a:pt x="1336" y="549"/>
                    <a:pt x="1337" y="552"/>
                  </a:cubicBezTo>
                  <a:cubicBezTo>
                    <a:pt x="1338" y="554"/>
                    <a:pt x="1337" y="556"/>
                    <a:pt x="1335" y="556"/>
                  </a:cubicBezTo>
                  <a:cubicBezTo>
                    <a:pt x="1333" y="555"/>
                    <a:pt x="1332" y="557"/>
                    <a:pt x="1330" y="560"/>
                  </a:cubicBezTo>
                  <a:cubicBezTo>
                    <a:pt x="1328" y="563"/>
                    <a:pt x="1320" y="564"/>
                    <a:pt x="1324" y="560"/>
                  </a:cubicBezTo>
                  <a:cubicBezTo>
                    <a:pt x="1327" y="557"/>
                    <a:pt x="1323" y="557"/>
                    <a:pt x="1323" y="554"/>
                  </a:cubicBezTo>
                  <a:cubicBezTo>
                    <a:pt x="1324" y="550"/>
                    <a:pt x="1327" y="547"/>
                    <a:pt x="1323" y="549"/>
                  </a:cubicBezTo>
                  <a:cubicBezTo>
                    <a:pt x="1319" y="551"/>
                    <a:pt x="1319" y="557"/>
                    <a:pt x="1316" y="557"/>
                  </a:cubicBezTo>
                  <a:cubicBezTo>
                    <a:pt x="1313" y="558"/>
                    <a:pt x="1314" y="548"/>
                    <a:pt x="1315" y="546"/>
                  </a:cubicBezTo>
                  <a:cubicBezTo>
                    <a:pt x="1316" y="543"/>
                    <a:pt x="1309" y="546"/>
                    <a:pt x="1302" y="545"/>
                  </a:cubicBezTo>
                  <a:cubicBezTo>
                    <a:pt x="1295" y="545"/>
                    <a:pt x="1297" y="540"/>
                    <a:pt x="1302" y="537"/>
                  </a:cubicBezTo>
                  <a:cubicBezTo>
                    <a:pt x="1308" y="534"/>
                    <a:pt x="1307" y="531"/>
                    <a:pt x="1310" y="530"/>
                  </a:cubicBezTo>
                  <a:cubicBezTo>
                    <a:pt x="1313" y="529"/>
                    <a:pt x="1320" y="524"/>
                    <a:pt x="1324" y="522"/>
                  </a:cubicBezTo>
                  <a:cubicBezTo>
                    <a:pt x="1329" y="519"/>
                    <a:pt x="1330" y="516"/>
                    <a:pt x="1331" y="513"/>
                  </a:cubicBezTo>
                  <a:cubicBezTo>
                    <a:pt x="1332" y="511"/>
                    <a:pt x="1340" y="507"/>
                    <a:pt x="1347" y="501"/>
                  </a:cubicBezTo>
                  <a:cubicBezTo>
                    <a:pt x="1354" y="495"/>
                    <a:pt x="1357" y="492"/>
                    <a:pt x="1359" y="489"/>
                  </a:cubicBezTo>
                  <a:cubicBezTo>
                    <a:pt x="1361" y="485"/>
                    <a:pt x="1371" y="481"/>
                    <a:pt x="1372" y="478"/>
                  </a:cubicBezTo>
                  <a:cubicBezTo>
                    <a:pt x="1372" y="475"/>
                    <a:pt x="1384" y="469"/>
                    <a:pt x="1393" y="467"/>
                  </a:cubicBezTo>
                  <a:cubicBezTo>
                    <a:pt x="1401" y="465"/>
                    <a:pt x="1415" y="468"/>
                    <a:pt x="1417" y="470"/>
                  </a:cubicBezTo>
                  <a:cubicBezTo>
                    <a:pt x="1420" y="473"/>
                    <a:pt x="1422" y="472"/>
                    <a:pt x="1423" y="470"/>
                  </a:cubicBezTo>
                  <a:cubicBezTo>
                    <a:pt x="1425" y="468"/>
                    <a:pt x="1428" y="469"/>
                    <a:pt x="1434" y="470"/>
                  </a:cubicBezTo>
                  <a:cubicBezTo>
                    <a:pt x="1439" y="470"/>
                    <a:pt x="1441" y="467"/>
                    <a:pt x="1444" y="468"/>
                  </a:cubicBezTo>
                  <a:cubicBezTo>
                    <a:pt x="1448" y="469"/>
                    <a:pt x="1451" y="470"/>
                    <a:pt x="1454" y="466"/>
                  </a:cubicBezTo>
                  <a:cubicBezTo>
                    <a:pt x="1456" y="461"/>
                    <a:pt x="1467" y="462"/>
                    <a:pt x="1470" y="464"/>
                  </a:cubicBezTo>
                  <a:cubicBezTo>
                    <a:pt x="1472" y="466"/>
                    <a:pt x="1474" y="468"/>
                    <a:pt x="1478" y="465"/>
                  </a:cubicBezTo>
                  <a:cubicBezTo>
                    <a:pt x="1482" y="463"/>
                    <a:pt x="1482" y="469"/>
                    <a:pt x="1486" y="469"/>
                  </a:cubicBezTo>
                  <a:cubicBezTo>
                    <a:pt x="1490" y="470"/>
                    <a:pt x="1487" y="473"/>
                    <a:pt x="1484" y="473"/>
                  </a:cubicBezTo>
                  <a:cubicBezTo>
                    <a:pt x="1481" y="473"/>
                    <a:pt x="1476" y="475"/>
                    <a:pt x="1480" y="477"/>
                  </a:cubicBezTo>
                  <a:cubicBezTo>
                    <a:pt x="1484" y="479"/>
                    <a:pt x="1489" y="475"/>
                    <a:pt x="1492" y="475"/>
                  </a:cubicBezTo>
                  <a:cubicBezTo>
                    <a:pt x="1495" y="475"/>
                    <a:pt x="1499" y="476"/>
                    <a:pt x="1503" y="473"/>
                  </a:cubicBezTo>
                  <a:cubicBezTo>
                    <a:pt x="1508" y="470"/>
                    <a:pt x="1509" y="475"/>
                    <a:pt x="1511" y="473"/>
                  </a:cubicBezTo>
                  <a:cubicBezTo>
                    <a:pt x="1514" y="471"/>
                    <a:pt x="1520" y="470"/>
                    <a:pt x="1523" y="470"/>
                  </a:cubicBezTo>
                  <a:cubicBezTo>
                    <a:pt x="1526" y="470"/>
                    <a:pt x="1524" y="467"/>
                    <a:pt x="1519" y="467"/>
                  </a:cubicBezTo>
                  <a:cubicBezTo>
                    <a:pt x="1514" y="467"/>
                    <a:pt x="1514" y="464"/>
                    <a:pt x="1518" y="457"/>
                  </a:cubicBezTo>
                  <a:cubicBezTo>
                    <a:pt x="1522" y="450"/>
                    <a:pt x="1529" y="447"/>
                    <a:pt x="1534" y="442"/>
                  </a:cubicBezTo>
                  <a:cubicBezTo>
                    <a:pt x="1539" y="438"/>
                    <a:pt x="1543" y="440"/>
                    <a:pt x="1543" y="438"/>
                  </a:cubicBezTo>
                  <a:cubicBezTo>
                    <a:pt x="1543" y="435"/>
                    <a:pt x="1545" y="427"/>
                    <a:pt x="1549" y="427"/>
                  </a:cubicBezTo>
                  <a:cubicBezTo>
                    <a:pt x="1552" y="427"/>
                    <a:pt x="1561" y="429"/>
                    <a:pt x="1567" y="426"/>
                  </a:cubicBezTo>
                  <a:cubicBezTo>
                    <a:pt x="1573" y="422"/>
                    <a:pt x="1572" y="428"/>
                    <a:pt x="1575" y="429"/>
                  </a:cubicBezTo>
                  <a:cubicBezTo>
                    <a:pt x="1577" y="430"/>
                    <a:pt x="1580" y="424"/>
                    <a:pt x="1583" y="426"/>
                  </a:cubicBezTo>
                  <a:cubicBezTo>
                    <a:pt x="1585" y="427"/>
                    <a:pt x="1579" y="431"/>
                    <a:pt x="1577" y="436"/>
                  </a:cubicBezTo>
                  <a:cubicBezTo>
                    <a:pt x="1576" y="441"/>
                    <a:pt x="1581" y="439"/>
                    <a:pt x="1584" y="440"/>
                  </a:cubicBezTo>
                  <a:cubicBezTo>
                    <a:pt x="1586" y="442"/>
                    <a:pt x="1580" y="444"/>
                    <a:pt x="1581" y="445"/>
                  </a:cubicBezTo>
                  <a:cubicBezTo>
                    <a:pt x="1581" y="446"/>
                    <a:pt x="1587" y="446"/>
                    <a:pt x="1594" y="439"/>
                  </a:cubicBezTo>
                  <a:cubicBezTo>
                    <a:pt x="1602" y="432"/>
                    <a:pt x="1608" y="430"/>
                    <a:pt x="1613" y="430"/>
                  </a:cubicBezTo>
                  <a:cubicBezTo>
                    <a:pt x="1618" y="431"/>
                    <a:pt x="1615" y="426"/>
                    <a:pt x="1615" y="419"/>
                  </a:cubicBezTo>
                  <a:cubicBezTo>
                    <a:pt x="1616" y="412"/>
                    <a:pt x="1630" y="410"/>
                    <a:pt x="1635" y="412"/>
                  </a:cubicBezTo>
                  <a:cubicBezTo>
                    <a:pt x="1639" y="414"/>
                    <a:pt x="1639" y="416"/>
                    <a:pt x="1634" y="415"/>
                  </a:cubicBezTo>
                  <a:cubicBezTo>
                    <a:pt x="1630" y="414"/>
                    <a:pt x="1626" y="418"/>
                    <a:pt x="1626" y="424"/>
                  </a:cubicBezTo>
                  <a:cubicBezTo>
                    <a:pt x="1626" y="429"/>
                    <a:pt x="1622" y="431"/>
                    <a:pt x="1624" y="433"/>
                  </a:cubicBezTo>
                  <a:cubicBezTo>
                    <a:pt x="1626" y="435"/>
                    <a:pt x="1621" y="436"/>
                    <a:pt x="1621" y="438"/>
                  </a:cubicBezTo>
                  <a:cubicBezTo>
                    <a:pt x="1621" y="441"/>
                    <a:pt x="1621" y="442"/>
                    <a:pt x="1617" y="443"/>
                  </a:cubicBezTo>
                  <a:cubicBezTo>
                    <a:pt x="1614" y="444"/>
                    <a:pt x="1603" y="446"/>
                    <a:pt x="1603" y="450"/>
                  </a:cubicBezTo>
                  <a:cubicBezTo>
                    <a:pt x="1602" y="454"/>
                    <a:pt x="1596" y="455"/>
                    <a:pt x="1593" y="460"/>
                  </a:cubicBezTo>
                  <a:cubicBezTo>
                    <a:pt x="1591" y="465"/>
                    <a:pt x="1580" y="469"/>
                    <a:pt x="1573" y="479"/>
                  </a:cubicBezTo>
                  <a:cubicBezTo>
                    <a:pt x="1565" y="490"/>
                    <a:pt x="1554" y="490"/>
                    <a:pt x="1554" y="492"/>
                  </a:cubicBezTo>
                  <a:cubicBezTo>
                    <a:pt x="1554" y="494"/>
                    <a:pt x="1546" y="494"/>
                    <a:pt x="1544" y="494"/>
                  </a:cubicBezTo>
                  <a:cubicBezTo>
                    <a:pt x="1541" y="494"/>
                    <a:pt x="1546" y="501"/>
                    <a:pt x="1540" y="508"/>
                  </a:cubicBezTo>
                  <a:cubicBezTo>
                    <a:pt x="1533" y="515"/>
                    <a:pt x="1529" y="524"/>
                    <a:pt x="1529" y="534"/>
                  </a:cubicBezTo>
                  <a:cubicBezTo>
                    <a:pt x="1530" y="543"/>
                    <a:pt x="1533" y="570"/>
                    <a:pt x="1536" y="575"/>
                  </a:cubicBezTo>
                  <a:cubicBezTo>
                    <a:pt x="1538" y="580"/>
                    <a:pt x="1537" y="592"/>
                    <a:pt x="1539" y="594"/>
                  </a:cubicBezTo>
                  <a:cubicBezTo>
                    <a:pt x="1541" y="597"/>
                    <a:pt x="1541" y="601"/>
                    <a:pt x="1542" y="603"/>
                  </a:cubicBezTo>
                  <a:cubicBezTo>
                    <a:pt x="1544" y="604"/>
                    <a:pt x="1550" y="596"/>
                    <a:pt x="1554" y="592"/>
                  </a:cubicBezTo>
                  <a:cubicBezTo>
                    <a:pt x="1558" y="589"/>
                    <a:pt x="1557" y="588"/>
                    <a:pt x="1560" y="586"/>
                  </a:cubicBezTo>
                  <a:cubicBezTo>
                    <a:pt x="1562" y="584"/>
                    <a:pt x="1561" y="576"/>
                    <a:pt x="1562" y="574"/>
                  </a:cubicBezTo>
                  <a:cubicBezTo>
                    <a:pt x="1563" y="572"/>
                    <a:pt x="1568" y="571"/>
                    <a:pt x="1570" y="569"/>
                  </a:cubicBezTo>
                  <a:cubicBezTo>
                    <a:pt x="1571" y="567"/>
                    <a:pt x="1576" y="568"/>
                    <a:pt x="1578" y="568"/>
                  </a:cubicBezTo>
                  <a:cubicBezTo>
                    <a:pt x="1580" y="567"/>
                    <a:pt x="1578" y="561"/>
                    <a:pt x="1577" y="558"/>
                  </a:cubicBezTo>
                  <a:cubicBezTo>
                    <a:pt x="1576" y="555"/>
                    <a:pt x="1584" y="551"/>
                    <a:pt x="1588" y="548"/>
                  </a:cubicBezTo>
                  <a:cubicBezTo>
                    <a:pt x="1592" y="545"/>
                    <a:pt x="1597" y="550"/>
                    <a:pt x="1601" y="545"/>
                  </a:cubicBezTo>
                  <a:cubicBezTo>
                    <a:pt x="1606" y="541"/>
                    <a:pt x="1601" y="536"/>
                    <a:pt x="1599" y="534"/>
                  </a:cubicBezTo>
                  <a:cubicBezTo>
                    <a:pt x="1598" y="532"/>
                    <a:pt x="1604" y="522"/>
                    <a:pt x="1607" y="521"/>
                  </a:cubicBezTo>
                  <a:cubicBezTo>
                    <a:pt x="1611" y="520"/>
                    <a:pt x="1613" y="523"/>
                    <a:pt x="1616" y="520"/>
                  </a:cubicBezTo>
                  <a:cubicBezTo>
                    <a:pt x="1619" y="517"/>
                    <a:pt x="1613" y="512"/>
                    <a:pt x="1611" y="513"/>
                  </a:cubicBezTo>
                  <a:cubicBezTo>
                    <a:pt x="1608" y="513"/>
                    <a:pt x="1608" y="504"/>
                    <a:pt x="1613" y="500"/>
                  </a:cubicBezTo>
                  <a:cubicBezTo>
                    <a:pt x="1619" y="496"/>
                    <a:pt x="1616" y="495"/>
                    <a:pt x="1613" y="494"/>
                  </a:cubicBezTo>
                  <a:cubicBezTo>
                    <a:pt x="1609" y="493"/>
                    <a:pt x="1608" y="494"/>
                    <a:pt x="1606" y="494"/>
                  </a:cubicBezTo>
                  <a:cubicBezTo>
                    <a:pt x="1603" y="495"/>
                    <a:pt x="1600" y="489"/>
                    <a:pt x="1604" y="483"/>
                  </a:cubicBezTo>
                  <a:cubicBezTo>
                    <a:pt x="1609" y="477"/>
                    <a:pt x="1613" y="478"/>
                    <a:pt x="1614" y="473"/>
                  </a:cubicBezTo>
                  <a:cubicBezTo>
                    <a:pt x="1615" y="468"/>
                    <a:pt x="1621" y="461"/>
                    <a:pt x="1622" y="459"/>
                  </a:cubicBezTo>
                  <a:cubicBezTo>
                    <a:pt x="1624" y="456"/>
                    <a:pt x="1630" y="459"/>
                    <a:pt x="1632" y="458"/>
                  </a:cubicBezTo>
                  <a:cubicBezTo>
                    <a:pt x="1634" y="458"/>
                    <a:pt x="1634" y="463"/>
                    <a:pt x="1636" y="460"/>
                  </a:cubicBezTo>
                  <a:cubicBezTo>
                    <a:pt x="1639" y="458"/>
                    <a:pt x="1644" y="449"/>
                    <a:pt x="1648" y="449"/>
                  </a:cubicBezTo>
                  <a:cubicBezTo>
                    <a:pt x="1652" y="449"/>
                    <a:pt x="1649" y="455"/>
                    <a:pt x="1650" y="459"/>
                  </a:cubicBezTo>
                  <a:cubicBezTo>
                    <a:pt x="1651" y="463"/>
                    <a:pt x="1653" y="458"/>
                    <a:pt x="1661" y="453"/>
                  </a:cubicBezTo>
                  <a:cubicBezTo>
                    <a:pt x="1668" y="448"/>
                    <a:pt x="1684" y="449"/>
                    <a:pt x="1689" y="451"/>
                  </a:cubicBezTo>
                  <a:cubicBezTo>
                    <a:pt x="1694" y="453"/>
                    <a:pt x="1694" y="459"/>
                    <a:pt x="1697" y="458"/>
                  </a:cubicBezTo>
                  <a:cubicBezTo>
                    <a:pt x="1701" y="457"/>
                    <a:pt x="1698" y="453"/>
                    <a:pt x="1702" y="451"/>
                  </a:cubicBezTo>
                  <a:cubicBezTo>
                    <a:pt x="1706" y="450"/>
                    <a:pt x="1713" y="446"/>
                    <a:pt x="1718" y="442"/>
                  </a:cubicBezTo>
                  <a:cubicBezTo>
                    <a:pt x="1723" y="438"/>
                    <a:pt x="1722" y="441"/>
                    <a:pt x="1725" y="438"/>
                  </a:cubicBezTo>
                  <a:cubicBezTo>
                    <a:pt x="1728" y="434"/>
                    <a:pt x="1730" y="436"/>
                    <a:pt x="1731" y="433"/>
                  </a:cubicBezTo>
                  <a:cubicBezTo>
                    <a:pt x="1732" y="431"/>
                    <a:pt x="1740" y="427"/>
                    <a:pt x="1750" y="425"/>
                  </a:cubicBezTo>
                  <a:cubicBezTo>
                    <a:pt x="1761" y="423"/>
                    <a:pt x="1774" y="416"/>
                    <a:pt x="1774" y="413"/>
                  </a:cubicBezTo>
                  <a:cubicBezTo>
                    <a:pt x="1773" y="411"/>
                    <a:pt x="1778" y="410"/>
                    <a:pt x="1778" y="412"/>
                  </a:cubicBezTo>
                  <a:cubicBezTo>
                    <a:pt x="1779" y="415"/>
                    <a:pt x="1783" y="414"/>
                    <a:pt x="1788" y="415"/>
                  </a:cubicBezTo>
                  <a:cubicBezTo>
                    <a:pt x="1794" y="416"/>
                    <a:pt x="1796" y="418"/>
                    <a:pt x="1801" y="414"/>
                  </a:cubicBezTo>
                  <a:cubicBezTo>
                    <a:pt x="1805" y="410"/>
                    <a:pt x="1800" y="408"/>
                    <a:pt x="1800" y="405"/>
                  </a:cubicBezTo>
                  <a:cubicBezTo>
                    <a:pt x="1800" y="401"/>
                    <a:pt x="1793" y="398"/>
                    <a:pt x="1794" y="394"/>
                  </a:cubicBezTo>
                  <a:cubicBezTo>
                    <a:pt x="1795" y="391"/>
                    <a:pt x="1788" y="382"/>
                    <a:pt x="1786" y="383"/>
                  </a:cubicBezTo>
                  <a:cubicBezTo>
                    <a:pt x="1784" y="385"/>
                    <a:pt x="1779" y="382"/>
                    <a:pt x="1779" y="379"/>
                  </a:cubicBezTo>
                  <a:cubicBezTo>
                    <a:pt x="1779" y="377"/>
                    <a:pt x="1779" y="373"/>
                    <a:pt x="1776" y="375"/>
                  </a:cubicBezTo>
                  <a:cubicBezTo>
                    <a:pt x="1773" y="377"/>
                    <a:pt x="1767" y="376"/>
                    <a:pt x="1766" y="373"/>
                  </a:cubicBezTo>
                  <a:cubicBezTo>
                    <a:pt x="1765" y="370"/>
                    <a:pt x="1773" y="368"/>
                    <a:pt x="1778" y="370"/>
                  </a:cubicBezTo>
                  <a:cubicBezTo>
                    <a:pt x="1783" y="372"/>
                    <a:pt x="1781" y="374"/>
                    <a:pt x="1784" y="376"/>
                  </a:cubicBezTo>
                  <a:cubicBezTo>
                    <a:pt x="1786" y="377"/>
                    <a:pt x="1793" y="377"/>
                    <a:pt x="1796" y="375"/>
                  </a:cubicBezTo>
                  <a:cubicBezTo>
                    <a:pt x="1800" y="373"/>
                    <a:pt x="1810" y="370"/>
                    <a:pt x="1811" y="367"/>
                  </a:cubicBezTo>
                  <a:cubicBezTo>
                    <a:pt x="1813" y="364"/>
                    <a:pt x="1811" y="363"/>
                    <a:pt x="1815" y="361"/>
                  </a:cubicBezTo>
                  <a:cubicBezTo>
                    <a:pt x="1818" y="360"/>
                    <a:pt x="1815" y="356"/>
                    <a:pt x="1813" y="355"/>
                  </a:cubicBezTo>
                  <a:cubicBezTo>
                    <a:pt x="1810" y="353"/>
                    <a:pt x="1810" y="349"/>
                    <a:pt x="1813" y="349"/>
                  </a:cubicBezTo>
                  <a:cubicBezTo>
                    <a:pt x="1816" y="349"/>
                    <a:pt x="1816" y="346"/>
                    <a:pt x="1818" y="346"/>
                  </a:cubicBezTo>
                  <a:cubicBezTo>
                    <a:pt x="1820" y="345"/>
                    <a:pt x="1820" y="347"/>
                    <a:pt x="1824" y="345"/>
                  </a:cubicBezTo>
                  <a:cubicBezTo>
                    <a:pt x="1827" y="343"/>
                    <a:pt x="1824" y="348"/>
                    <a:pt x="1822" y="351"/>
                  </a:cubicBezTo>
                  <a:cubicBezTo>
                    <a:pt x="1820" y="354"/>
                    <a:pt x="1826" y="357"/>
                    <a:pt x="1826" y="359"/>
                  </a:cubicBezTo>
                  <a:cubicBezTo>
                    <a:pt x="1827" y="361"/>
                    <a:pt x="1834" y="361"/>
                    <a:pt x="1838" y="359"/>
                  </a:cubicBezTo>
                  <a:cubicBezTo>
                    <a:pt x="1842" y="357"/>
                    <a:pt x="1855" y="362"/>
                    <a:pt x="1855" y="365"/>
                  </a:cubicBezTo>
                  <a:cubicBezTo>
                    <a:pt x="1856" y="368"/>
                    <a:pt x="1858" y="372"/>
                    <a:pt x="1863" y="375"/>
                  </a:cubicBezTo>
                  <a:cubicBezTo>
                    <a:pt x="1869" y="377"/>
                    <a:pt x="1874" y="376"/>
                    <a:pt x="1875" y="379"/>
                  </a:cubicBezTo>
                  <a:cubicBezTo>
                    <a:pt x="1876" y="381"/>
                    <a:pt x="1878" y="383"/>
                    <a:pt x="1881" y="382"/>
                  </a:cubicBezTo>
                  <a:cubicBezTo>
                    <a:pt x="1884" y="381"/>
                    <a:pt x="1885" y="385"/>
                    <a:pt x="1887" y="383"/>
                  </a:cubicBezTo>
                  <a:cubicBezTo>
                    <a:pt x="1890" y="381"/>
                    <a:pt x="1891" y="384"/>
                    <a:pt x="1894" y="381"/>
                  </a:cubicBezTo>
                  <a:cubicBezTo>
                    <a:pt x="1896" y="379"/>
                    <a:pt x="1887" y="377"/>
                    <a:pt x="1889" y="375"/>
                  </a:cubicBezTo>
                  <a:cubicBezTo>
                    <a:pt x="1890" y="373"/>
                    <a:pt x="1892" y="377"/>
                    <a:pt x="1894" y="376"/>
                  </a:cubicBezTo>
                  <a:cubicBezTo>
                    <a:pt x="1897" y="376"/>
                    <a:pt x="1893" y="371"/>
                    <a:pt x="1895" y="371"/>
                  </a:cubicBezTo>
                  <a:cubicBezTo>
                    <a:pt x="1897" y="370"/>
                    <a:pt x="1896" y="360"/>
                    <a:pt x="1894" y="360"/>
                  </a:cubicBezTo>
                  <a:cubicBezTo>
                    <a:pt x="1892" y="359"/>
                    <a:pt x="1893" y="356"/>
                    <a:pt x="1897" y="358"/>
                  </a:cubicBezTo>
                  <a:cubicBezTo>
                    <a:pt x="1901" y="361"/>
                    <a:pt x="1907" y="361"/>
                    <a:pt x="1910" y="361"/>
                  </a:cubicBezTo>
                  <a:cubicBezTo>
                    <a:pt x="1913" y="361"/>
                    <a:pt x="1910" y="358"/>
                    <a:pt x="1907" y="358"/>
                  </a:cubicBezTo>
                  <a:cubicBezTo>
                    <a:pt x="1904" y="357"/>
                    <a:pt x="1908" y="355"/>
                    <a:pt x="1910" y="357"/>
                  </a:cubicBezTo>
                  <a:cubicBezTo>
                    <a:pt x="1912" y="359"/>
                    <a:pt x="1915" y="360"/>
                    <a:pt x="1916" y="358"/>
                  </a:cubicBezTo>
                  <a:cubicBezTo>
                    <a:pt x="1916" y="356"/>
                    <a:pt x="1918" y="351"/>
                    <a:pt x="1922" y="351"/>
                  </a:cubicBezTo>
                  <a:cubicBezTo>
                    <a:pt x="1925" y="352"/>
                    <a:pt x="1926" y="350"/>
                    <a:pt x="1923" y="348"/>
                  </a:cubicBezTo>
                  <a:close/>
                  <a:moveTo>
                    <a:pt x="993" y="567"/>
                  </a:moveTo>
                  <a:cubicBezTo>
                    <a:pt x="984" y="576"/>
                    <a:pt x="965" y="578"/>
                    <a:pt x="965" y="585"/>
                  </a:cubicBezTo>
                  <a:cubicBezTo>
                    <a:pt x="965" y="592"/>
                    <a:pt x="942" y="595"/>
                    <a:pt x="940" y="592"/>
                  </a:cubicBezTo>
                  <a:cubicBezTo>
                    <a:pt x="938" y="589"/>
                    <a:pt x="957" y="589"/>
                    <a:pt x="961" y="579"/>
                  </a:cubicBezTo>
                  <a:cubicBezTo>
                    <a:pt x="966" y="569"/>
                    <a:pt x="983" y="563"/>
                    <a:pt x="991" y="550"/>
                  </a:cubicBezTo>
                  <a:cubicBezTo>
                    <a:pt x="997" y="541"/>
                    <a:pt x="1002" y="526"/>
                    <a:pt x="1006" y="527"/>
                  </a:cubicBezTo>
                  <a:cubicBezTo>
                    <a:pt x="1009" y="528"/>
                    <a:pt x="1003" y="559"/>
                    <a:pt x="993" y="567"/>
                  </a:cubicBezTo>
                  <a:close/>
                  <a:moveTo>
                    <a:pt x="385" y="202"/>
                  </a:moveTo>
                  <a:cubicBezTo>
                    <a:pt x="385" y="206"/>
                    <a:pt x="383" y="208"/>
                    <a:pt x="377" y="208"/>
                  </a:cubicBezTo>
                  <a:cubicBezTo>
                    <a:pt x="370" y="208"/>
                    <a:pt x="380" y="212"/>
                    <a:pt x="380" y="216"/>
                  </a:cubicBezTo>
                  <a:cubicBezTo>
                    <a:pt x="381" y="219"/>
                    <a:pt x="374" y="217"/>
                    <a:pt x="374" y="222"/>
                  </a:cubicBezTo>
                  <a:cubicBezTo>
                    <a:pt x="373" y="228"/>
                    <a:pt x="361" y="222"/>
                    <a:pt x="360" y="230"/>
                  </a:cubicBezTo>
                  <a:cubicBezTo>
                    <a:pt x="358" y="237"/>
                    <a:pt x="366" y="236"/>
                    <a:pt x="371" y="236"/>
                  </a:cubicBezTo>
                  <a:cubicBezTo>
                    <a:pt x="376" y="237"/>
                    <a:pt x="369" y="242"/>
                    <a:pt x="373" y="245"/>
                  </a:cubicBezTo>
                  <a:cubicBezTo>
                    <a:pt x="377" y="248"/>
                    <a:pt x="380" y="247"/>
                    <a:pt x="377" y="241"/>
                  </a:cubicBezTo>
                  <a:cubicBezTo>
                    <a:pt x="375" y="235"/>
                    <a:pt x="391" y="243"/>
                    <a:pt x="386" y="247"/>
                  </a:cubicBezTo>
                  <a:cubicBezTo>
                    <a:pt x="381" y="252"/>
                    <a:pt x="394" y="255"/>
                    <a:pt x="401" y="255"/>
                  </a:cubicBezTo>
                  <a:cubicBezTo>
                    <a:pt x="407" y="256"/>
                    <a:pt x="429" y="260"/>
                    <a:pt x="430" y="255"/>
                  </a:cubicBezTo>
                  <a:cubicBezTo>
                    <a:pt x="430" y="252"/>
                    <a:pt x="422" y="249"/>
                    <a:pt x="415" y="242"/>
                  </a:cubicBezTo>
                  <a:cubicBezTo>
                    <a:pt x="408" y="234"/>
                    <a:pt x="403" y="222"/>
                    <a:pt x="411" y="217"/>
                  </a:cubicBezTo>
                  <a:cubicBezTo>
                    <a:pt x="419" y="212"/>
                    <a:pt x="412" y="210"/>
                    <a:pt x="420" y="204"/>
                  </a:cubicBezTo>
                  <a:cubicBezTo>
                    <a:pt x="428" y="199"/>
                    <a:pt x="423" y="193"/>
                    <a:pt x="430" y="193"/>
                  </a:cubicBezTo>
                  <a:cubicBezTo>
                    <a:pt x="436" y="192"/>
                    <a:pt x="429" y="186"/>
                    <a:pt x="436" y="185"/>
                  </a:cubicBezTo>
                  <a:cubicBezTo>
                    <a:pt x="442" y="184"/>
                    <a:pt x="444" y="177"/>
                    <a:pt x="443" y="174"/>
                  </a:cubicBezTo>
                  <a:cubicBezTo>
                    <a:pt x="442" y="171"/>
                    <a:pt x="450" y="174"/>
                    <a:pt x="453" y="170"/>
                  </a:cubicBezTo>
                  <a:cubicBezTo>
                    <a:pt x="457" y="166"/>
                    <a:pt x="466" y="169"/>
                    <a:pt x="468" y="163"/>
                  </a:cubicBezTo>
                  <a:cubicBezTo>
                    <a:pt x="471" y="158"/>
                    <a:pt x="509" y="145"/>
                    <a:pt x="531" y="140"/>
                  </a:cubicBezTo>
                  <a:cubicBezTo>
                    <a:pt x="553" y="135"/>
                    <a:pt x="568" y="126"/>
                    <a:pt x="560" y="120"/>
                  </a:cubicBezTo>
                  <a:cubicBezTo>
                    <a:pt x="552" y="114"/>
                    <a:pt x="531" y="122"/>
                    <a:pt x="525" y="126"/>
                  </a:cubicBezTo>
                  <a:cubicBezTo>
                    <a:pt x="520" y="131"/>
                    <a:pt x="512" y="128"/>
                    <a:pt x="507" y="131"/>
                  </a:cubicBezTo>
                  <a:cubicBezTo>
                    <a:pt x="502" y="134"/>
                    <a:pt x="490" y="136"/>
                    <a:pt x="485" y="133"/>
                  </a:cubicBezTo>
                  <a:cubicBezTo>
                    <a:pt x="479" y="129"/>
                    <a:pt x="472" y="137"/>
                    <a:pt x="468" y="137"/>
                  </a:cubicBezTo>
                  <a:cubicBezTo>
                    <a:pt x="464" y="136"/>
                    <a:pt x="459" y="141"/>
                    <a:pt x="454" y="141"/>
                  </a:cubicBezTo>
                  <a:cubicBezTo>
                    <a:pt x="449" y="140"/>
                    <a:pt x="440" y="144"/>
                    <a:pt x="439" y="147"/>
                  </a:cubicBezTo>
                  <a:cubicBezTo>
                    <a:pt x="439" y="150"/>
                    <a:pt x="431" y="149"/>
                    <a:pt x="431" y="152"/>
                  </a:cubicBezTo>
                  <a:cubicBezTo>
                    <a:pt x="431" y="156"/>
                    <a:pt x="424" y="159"/>
                    <a:pt x="421" y="156"/>
                  </a:cubicBezTo>
                  <a:cubicBezTo>
                    <a:pt x="418" y="153"/>
                    <a:pt x="414" y="159"/>
                    <a:pt x="418" y="163"/>
                  </a:cubicBezTo>
                  <a:cubicBezTo>
                    <a:pt x="423" y="168"/>
                    <a:pt x="410" y="168"/>
                    <a:pt x="412" y="171"/>
                  </a:cubicBezTo>
                  <a:cubicBezTo>
                    <a:pt x="414" y="173"/>
                    <a:pt x="407" y="175"/>
                    <a:pt x="409" y="178"/>
                  </a:cubicBezTo>
                  <a:cubicBezTo>
                    <a:pt x="410" y="181"/>
                    <a:pt x="404" y="182"/>
                    <a:pt x="399" y="183"/>
                  </a:cubicBezTo>
                  <a:cubicBezTo>
                    <a:pt x="394" y="184"/>
                    <a:pt x="391" y="191"/>
                    <a:pt x="398" y="191"/>
                  </a:cubicBezTo>
                  <a:cubicBezTo>
                    <a:pt x="404" y="191"/>
                    <a:pt x="394" y="192"/>
                    <a:pt x="395" y="197"/>
                  </a:cubicBezTo>
                  <a:cubicBezTo>
                    <a:pt x="395" y="202"/>
                    <a:pt x="384" y="199"/>
                    <a:pt x="385" y="202"/>
                  </a:cubicBezTo>
                  <a:close/>
                  <a:moveTo>
                    <a:pt x="430" y="29"/>
                  </a:moveTo>
                  <a:cubicBezTo>
                    <a:pt x="431" y="32"/>
                    <a:pt x="429" y="32"/>
                    <a:pt x="422" y="32"/>
                  </a:cubicBezTo>
                  <a:cubicBezTo>
                    <a:pt x="415" y="32"/>
                    <a:pt x="412" y="36"/>
                    <a:pt x="415" y="39"/>
                  </a:cubicBezTo>
                  <a:cubicBezTo>
                    <a:pt x="419" y="42"/>
                    <a:pt x="437" y="41"/>
                    <a:pt x="440" y="37"/>
                  </a:cubicBezTo>
                  <a:cubicBezTo>
                    <a:pt x="443" y="33"/>
                    <a:pt x="451" y="36"/>
                    <a:pt x="452" y="32"/>
                  </a:cubicBezTo>
                  <a:cubicBezTo>
                    <a:pt x="453" y="28"/>
                    <a:pt x="429" y="26"/>
                    <a:pt x="430" y="29"/>
                  </a:cubicBezTo>
                  <a:close/>
                  <a:moveTo>
                    <a:pt x="387" y="33"/>
                  </a:moveTo>
                  <a:cubicBezTo>
                    <a:pt x="387" y="28"/>
                    <a:pt x="370" y="34"/>
                    <a:pt x="373" y="35"/>
                  </a:cubicBezTo>
                  <a:cubicBezTo>
                    <a:pt x="376" y="36"/>
                    <a:pt x="387" y="39"/>
                    <a:pt x="387" y="33"/>
                  </a:cubicBezTo>
                  <a:close/>
                  <a:moveTo>
                    <a:pt x="429" y="11"/>
                  </a:moveTo>
                  <a:cubicBezTo>
                    <a:pt x="437" y="11"/>
                    <a:pt x="434" y="6"/>
                    <a:pt x="440" y="7"/>
                  </a:cubicBezTo>
                  <a:cubicBezTo>
                    <a:pt x="445" y="7"/>
                    <a:pt x="452" y="7"/>
                    <a:pt x="449" y="4"/>
                  </a:cubicBezTo>
                  <a:cubicBezTo>
                    <a:pt x="447" y="0"/>
                    <a:pt x="427" y="2"/>
                    <a:pt x="429" y="4"/>
                  </a:cubicBezTo>
                  <a:cubicBezTo>
                    <a:pt x="431" y="7"/>
                    <a:pt x="414" y="6"/>
                    <a:pt x="414" y="7"/>
                  </a:cubicBezTo>
                  <a:cubicBezTo>
                    <a:pt x="415" y="9"/>
                    <a:pt x="421" y="11"/>
                    <a:pt x="429" y="11"/>
                  </a:cubicBezTo>
                  <a:close/>
                  <a:moveTo>
                    <a:pt x="487" y="23"/>
                  </a:moveTo>
                  <a:cubicBezTo>
                    <a:pt x="490" y="20"/>
                    <a:pt x="483" y="20"/>
                    <a:pt x="482" y="17"/>
                  </a:cubicBezTo>
                  <a:cubicBezTo>
                    <a:pt x="482" y="14"/>
                    <a:pt x="463" y="13"/>
                    <a:pt x="464" y="16"/>
                  </a:cubicBezTo>
                  <a:cubicBezTo>
                    <a:pt x="465" y="20"/>
                    <a:pt x="451" y="23"/>
                    <a:pt x="455" y="27"/>
                  </a:cubicBezTo>
                  <a:cubicBezTo>
                    <a:pt x="463" y="33"/>
                    <a:pt x="485" y="26"/>
                    <a:pt x="487" y="23"/>
                  </a:cubicBezTo>
                  <a:close/>
                  <a:moveTo>
                    <a:pt x="434" y="17"/>
                  </a:moveTo>
                  <a:cubicBezTo>
                    <a:pt x="435" y="10"/>
                    <a:pt x="424" y="16"/>
                    <a:pt x="415" y="12"/>
                  </a:cubicBezTo>
                  <a:cubicBezTo>
                    <a:pt x="406" y="9"/>
                    <a:pt x="401" y="9"/>
                    <a:pt x="407" y="14"/>
                  </a:cubicBezTo>
                  <a:cubicBezTo>
                    <a:pt x="410" y="16"/>
                    <a:pt x="392" y="18"/>
                    <a:pt x="395" y="21"/>
                  </a:cubicBezTo>
                  <a:cubicBezTo>
                    <a:pt x="401" y="27"/>
                    <a:pt x="433" y="24"/>
                    <a:pt x="434" y="1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16304" y="4027865"/>
              <a:ext cx="471942" cy="496581"/>
            </a:xfrm>
            <a:custGeom>
              <a:avLst/>
              <a:gdLst/>
              <a:ahLst/>
              <a:cxnLst>
                <a:cxn ang="0">
                  <a:pos x="184" y="102"/>
                </a:cxn>
                <a:cxn ang="0">
                  <a:pos x="184" y="95"/>
                </a:cxn>
                <a:cxn ang="0">
                  <a:pos x="181" y="91"/>
                </a:cxn>
                <a:cxn ang="0">
                  <a:pos x="186" y="81"/>
                </a:cxn>
                <a:cxn ang="0">
                  <a:pos x="189" y="71"/>
                </a:cxn>
                <a:cxn ang="0">
                  <a:pos x="194" y="54"/>
                </a:cxn>
                <a:cxn ang="0">
                  <a:pos x="203" y="44"/>
                </a:cxn>
                <a:cxn ang="0">
                  <a:pos x="203" y="33"/>
                </a:cxn>
                <a:cxn ang="0">
                  <a:pos x="204" y="23"/>
                </a:cxn>
                <a:cxn ang="0">
                  <a:pos x="185" y="13"/>
                </a:cxn>
                <a:cxn ang="0">
                  <a:pos x="172" y="13"/>
                </a:cxn>
                <a:cxn ang="0">
                  <a:pos x="164" y="4"/>
                </a:cxn>
                <a:cxn ang="0">
                  <a:pos x="156" y="6"/>
                </a:cxn>
                <a:cxn ang="0">
                  <a:pos x="134" y="6"/>
                </a:cxn>
                <a:cxn ang="0">
                  <a:pos x="114" y="9"/>
                </a:cxn>
                <a:cxn ang="0">
                  <a:pos x="89" y="13"/>
                </a:cxn>
                <a:cxn ang="0">
                  <a:pos x="68" y="16"/>
                </a:cxn>
                <a:cxn ang="0">
                  <a:pos x="66" y="35"/>
                </a:cxn>
                <a:cxn ang="0">
                  <a:pos x="53" y="71"/>
                </a:cxn>
                <a:cxn ang="0">
                  <a:pos x="43" y="102"/>
                </a:cxn>
                <a:cxn ang="0">
                  <a:pos x="32" y="117"/>
                </a:cxn>
                <a:cxn ang="0">
                  <a:pos x="18" y="117"/>
                </a:cxn>
                <a:cxn ang="0">
                  <a:pos x="0" y="121"/>
                </a:cxn>
                <a:cxn ang="0">
                  <a:pos x="4" y="135"/>
                </a:cxn>
                <a:cxn ang="0">
                  <a:pos x="47" y="132"/>
                </a:cxn>
                <a:cxn ang="0">
                  <a:pos x="53" y="150"/>
                </a:cxn>
                <a:cxn ang="0">
                  <a:pos x="76" y="155"/>
                </a:cxn>
                <a:cxn ang="0">
                  <a:pos x="89" y="145"/>
                </a:cxn>
                <a:cxn ang="0">
                  <a:pos x="102" y="149"/>
                </a:cxn>
                <a:cxn ang="0">
                  <a:pos x="103" y="174"/>
                </a:cxn>
                <a:cxn ang="0">
                  <a:pos x="108" y="192"/>
                </a:cxn>
                <a:cxn ang="0">
                  <a:pos x="124" y="188"/>
                </a:cxn>
                <a:cxn ang="0">
                  <a:pos x="130" y="191"/>
                </a:cxn>
                <a:cxn ang="0">
                  <a:pos x="140" y="193"/>
                </a:cxn>
                <a:cxn ang="0">
                  <a:pos x="153" y="201"/>
                </a:cxn>
                <a:cxn ang="0">
                  <a:pos x="162" y="198"/>
                </a:cxn>
                <a:cxn ang="0">
                  <a:pos x="177" y="206"/>
                </a:cxn>
                <a:cxn ang="0">
                  <a:pos x="189" y="216"/>
                </a:cxn>
                <a:cxn ang="0">
                  <a:pos x="190" y="203"/>
                </a:cxn>
                <a:cxn ang="0">
                  <a:pos x="175" y="196"/>
                </a:cxn>
                <a:cxn ang="0">
                  <a:pos x="178" y="173"/>
                </a:cxn>
                <a:cxn ang="0">
                  <a:pos x="182" y="160"/>
                </a:cxn>
                <a:cxn ang="0">
                  <a:pos x="196" y="157"/>
                </a:cxn>
                <a:cxn ang="0">
                  <a:pos x="189" y="144"/>
                </a:cxn>
              </a:cxnLst>
              <a:rect l="0" t="0" r="r" b="b"/>
              <a:pathLst>
                <a:path w="206" h="218">
                  <a:moveTo>
                    <a:pt x="189" y="144"/>
                  </a:moveTo>
                  <a:cubicBezTo>
                    <a:pt x="183" y="141"/>
                    <a:pt x="181" y="103"/>
                    <a:pt x="184" y="102"/>
                  </a:cubicBezTo>
                  <a:cubicBezTo>
                    <a:pt x="184" y="102"/>
                    <a:pt x="185" y="102"/>
                    <a:pt x="185" y="103"/>
                  </a:cubicBezTo>
                  <a:cubicBezTo>
                    <a:pt x="184" y="95"/>
                    <a:pt x="184" y="95"/>
                    <a:pt x="184" y="95"/>
                  </a:cubicBezTo>
                  <a:cubicBezTo>
                    <a:pt x="184" y="95"/>
                    <a:pt x="184" y="94"/>
                    <a:pt x="184" y="94"/>
                  </a:cubicBezTo>
                  <a:cubicBezTo>
                    <a:pt x="183" y="94"/>
                    <a:pt x="181" y="93"/>
                    <a:pt x="181" y="91"/>
                  </a:cubicBezTo>
                  <a:cubicBezTo>
                    <a:pt x="181" y="88"/>
                    <a:pt x="184" y="88"/>
                    <a:pt x="184" y="88"/>
                  </a:cubicBezTo>
                  <a:cubicBezTo>
                    <a:pt x="184" y="88"/>
                    <a:pt x="183" y="82"/>
                    <a:pt x="186" y="81"/>
                  </a:cubicBezTo>
                  <a:cubicBezTo>
                    <a:pt x="187" y="80"/>
                    <a:pt x="187" y="80"/>
                    <a:pt x="187" y="79"/>
                  </a:cubicBezTo>
                  <a:cubicBezTo>
                    <a:pt x="189" y="78"/>
                    <a:pt x="189" y="74"/>
                    <a:pt x="189" y="71"/>
                  </a:cubicBezTo>
                  <a:cubicBezTo>
                    <a:pt x="189" y="68"/>
                    <a:pt x="190" y="64"/>
                    <a:pt x="191" y="62"/>
                  </a:cubicBezTo>
                  <a:cubicBezTo>
                    <a:pt x="193" y="59"/>
                    <a:pt x="192" y="55"/>
                    <a:pt x="194" y="54"/>
                  </a:cubicBezTo>
                  <a:cubicBezTo>
                    <a:pt x="196" y="52"/>
                    <a:pt x="196" y="48"/>
                    <a:pt x="198" y="47"/>
                  </a:cubicBezTo>
                  <a:cubicBezTo>
                    <a:pt x="201" y="47"/>
                    <a:pt x="203" y="46"/>
                    <a:pt x="203" y="44"/>
                  </a:cubicBezTo>
                  <a:cubicBezTo>
                    <a:pt x="203" y="43"/>
                    <a:pt x="206" y="41"/>
                    <a:pt x="206" y="38"/>
                  </a:cubicBezTo>
                  <a:cubicBezTo>
                    <a:pt x="206" y="36"/>
                    <a:pt x="203" y="36"/>
                    <a:pt x="203" y="33"/>
                  </a:cubicBezTo>
                  <a:cubicBezTo>
                    <a:pt x="203" y="30"/>
                    <a:pt x="204" y="23"/>
                    <a:pt x="204" y="23"/>
                  </a:cubicBezTo>
                  <a:cubicBezTo>
                    <a:pt x="204" y="23"/>
                    <a:pt x="204" y="23"/>
                    <a:pt x="204" y="23"/>
                  </a:cubicBezTo>
                  <a:cubicBezTo>
                    <a:pt x="198" y="18"/>
                    <a:pt x="192" y="13"/>
                    <a:pt x="191" y="12"/>
                  </a:cubicBezTo>
                  <a:cubicBezTo>
                    <a:pt x="189" y="11"/>
                    <a:pt x="185" y="13"/>
                    <a:pt x="185" y="13"/>
                  </a:cubicBezTo>
                  <a:cubicBezTo>
                    <a:pt x="185" y="13"/>
                    <a:pt x="182" y="10"/>
                    <a:pt x="179" y="13"/>
                  </a:cubicBezTo>
                  <a:cubicBezTo>
                    <a:pt x="176" y="15"/>
                    <a:pt x="172" y="13"/>
                    <a:pt x="172" y="13"/>
                  </a:cubicBezTo>
                  <a:cubicBezTo>
                    <a:pt x="172" y="13"/>
                    <a:pt x="168" y="11"/>
                    <a:pt x="167" y="7"/>
                  </a:cubicBezTo>
                  <a:cubicBezTo>
                    <a:pt x="166" y="6"/>
                    <a:pt x="165" y="5"/>
                    <a:pt x="164" y="4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6" y="6"/>
                    <a:pt x="146" y="0"/>
                    <a:pt x="143" y="5"/>
                  </a:cubicBezTo>
                  <a:cubicBezTo>
                    <a:pt x="141" y="9"/>
                    <a:pt x="139" y="6"/>
                    <a:pt x="134" y="6"/>
                  </a:cubicBezTo>
                  <a:cubicBezTo>
                    <a:pt x="130" y="6"/>
                    <a:pt x="125" y="8"/>
                    <a:pt x="123" y="9"/>
                  </a:cubicBezTo>
                  <a:cubicBezTo>
                    <a:pt x="120" y="11"/>
                    <a:pt x="116" y="8"/>
                    <a:pt x="114" y="9"/>
                  </a:cubicBezTo>
                  <a:cubicBezTo>
                    <a:pt x="111" y="11"/>
                    <a:pt x="110" y="17"/>
                    <a:pt x="110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84" y="7"/>
                    <a:pt x="79" y="7"/>
                  </a:cubicBezTo>
                  <a:cubicBezTo>
                    <a:pt x="75" y="7"/>
                    <a:pt x="68" y="16"/>
                    <a:pt x="68" y="16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9" y="28"/>
                    <a:pt x="67" y="33"/>
                    <a:pt x="66" y="35"/>
                  </a:cubicBezTo>
                  <a:cubicBezTo>
                    <a:pt x="64" y="38"/>
                    <a:pt x="62" y="40"/>
                    <a:pt x="62" y="47"/>
                  </a:cubicBezTo>
                  <a:cubicBezTo>
                    <a:pt x="62" y="54"/>
                    <a:pt x="53" y="65"/>
                    <a:pt x="53" y="71"/>
                  </a:cubicBezTo>
                  <a:cubicBezTo>
                    <a:pt x="53" y="76"/>
                    <a:pt x="44" y="80"/>
                    <a:pt x="44" y="83"/>
                  </a:cubicBezTo>
                  <a:cubicBezTo>
                    <a:pt x="44" y="87"/>
                    <a:pt x="43" y="94"/>
                    <a:pt x="43" y="102"/>
                  </a:cubicBezTo>
                  <a:cubicBezTo>
                    <a:pt x="43" y="110"/>
                    <a:pt x="39" y="103"/>
                    <a:pt x="39" y="110"/>
                  </a:cubicBezTo>
                  <a:cubicBezTo>
                    <a:pt x="39" y="117"/>
                    <a:pt x="35" y="113"/>
                    <a:pt x="32" y="117"/>
                  </a:cubicBezTo>
                  <a:cubicBezTo>
                    <a:pt x="28" y="120"/>
                    <a:pt x="27" y="121"/>
                    <a:pt x="27" y="117"/>
                  </a:cubicBezTo>
                  <a:cubicBezTo>
                    <a:pt x="27" y="114"/>
                    <a:pt x="22" y="113"/>
                    <a:pt x="18" y="117"/>
                  </a:cubicBezTo>
                  <a:cubicBezTo>
                    <a:pt x="14" y="120"/>
                    <a:pt x="12" y="117"/>
                    <a:pt x="10" y="116"/>
                  </a:cubicBezTo>
                  <a:cubicBezTo>
                    <a:pt x="9" y="115"/>
                    <a:pt x="4" y="118"/>
                    <a:pt x="0" y="121"/>
                  </a:cubicBezTo>
                  <a:cubicBezTo>
                    <a:pt x="2" y="126"/>
                    <a:pt x="3" y="130"/>
                    <a:pt x="4" y="134"/>
                  </a:cubicBezTo>
                  <a:cubicBezTo>
                    <a:pt x="4" y="134"/>
                    <a:pt x="4" y="135"/>
                    <a:pt x="4" y="135"/>
                  </a:cubicBezTo>
                  <a:cubicBezTo>
                    <a:pt x="6" y="133"/>
                    <a:pt x="9" y="132"/>
                    <a:pt x="10" y="132"/>
                  </a:cubicBezTo>
                  <a:cubicBezTo>
                    <a:pt x="14" y="131"/>
                    <a:pt x="47" y="132"/>
                    <a:pt x="47" y="132"/>
                  </a:cubicBezTo>
                  <a:cubicBezTo>
                    <a:pt x="47" y="132"/>
                    <a:pt x="50" y="137"/>
                    <a:pt x="49" y="141"/>
                  </a:cubicBezTo>
                  <a:cubicBezTo>
                    <a:pt x="48" y="146"/>
                    <a:pt x="51" y="144"/>
                    <a:pt x="53" y="150"/>
                  </a:cubicBezTo>
                  <a:cubicBezTo>
                    <a:pt x="56" y="156"/>
                    <a:pt x="58" y="158"/>
                    <a:pt x="63" y="157"/>
                  </a:cubicBezTo>
                  <a:cubicBezTo>
                    <a:pt x="68" y="155"/>
                    <a:pt x="74" y="154"/>
                    <a:pt x="76" y="155"/>
                  </a:cubicBezTo>
                  <a:cubicBezTo>
                    <a:pt x="78" y="155"/>
                    <a:pt x="77" y="146"/>
                    <a:pt x="80" y="145"/>
                  </a:cubicBezTo>
                  <a:cubicBezTo>
                    <a:pt x="83" y="143"/>
                    <a:pt x="89" y="145"/>
                    <a:pt x="89" y="145"/>
                  </a:cubicBezTo>
                  <a:cubicBezTo>
                    <a:pt x="89" y="145"/>
                    <a:pt x="90" y="147"/>
                    <a:pt x="95" y="147"/>
                  </a:cubicBezTo>
                  <a:cubicBezTo>
                    <a:pt x="100" y="147"/>
                    <a:pt x="102" y="145"/>
                    <a:pt x="102" y="149"/>
                  </a:cubicBezTo>
                  <a:cubicBezTo>
                    <a:pt x="102" y="152"/>
                    <a:pt x="103" y="156"/>
                    <a:pt x="104" y="158"/>
                  </a:cubicBezTo>
                  <a:cubicBezTo>
                    <a:pt x="106" y="159"/>
                    <a:pt x="100" y="172"/>
                    <a:pt x="103" y="174"/>
                  </a:cubicBezTo>
                  <a:cubicBezTo>
                    <a:pt x="105" y="176"/>
                    <a:pt x="109" y="180"/>
                    <a:pt x="108" y="183"/>
                  </a:cubicBezTo>
                  <a:cubicBezTo>
                    <a:pt x="108" y="185"/>
                    <a:pt x="106" y="191"/>
                    <a:pt x="108" y="192"/>
                  </a:cubicBezTo>
                  <a:cubicBezTo>
                    <a:pt x="110" y="192"/>
                    <a:pt x="111" y="189"/>
                    <a:pt x="114" y="189"/>
                  </a:cubicBezTo>
                  <a:cubicBezTo>
                    <a:pt x="118" y="189"/>
                    <a:pt x="121" y="189"/>
                    <a:pt x="124" y="188"/>
                  </a:cubicBezTo>
                  <a:cubicBezTo>
                    <a:pt x="126" y="187"/>
                    <a:pt x="127" y="187"/>
                    <a:pt x="127" y="188"/>
                  </a:cubicBezTo>
                  <a:cubicBezTo>
                    <a:pt x="129" y="189"/>
                    <a:pt x="130" y="191"/>
                    <a:pt x="130" y="191"/>
                  </a:cubicBezTo>
                  <a:cubicBezTo>
                    <a:pt x="130" y="191"/>
                    <a:pt x="131" y="194"/>
                    <a:pt x="133" y="193"/>
                  </a:cubicBezTo>
                  <a:cubicBezTo>
                    <a:pt x="135" y="192"/>
                    <a:pt x="141" y="191"/>
                    <a:pt x="140" y="193"/>
                  </a:cubicBezTo>
                  <a:cubicBezTo>
                    <a:pt x="140" y="195"/>
                    <a:pt x="142" y="199"/>
                    <a:pt x="144" y="198"/>
                  </a:cubicBezTo>
                  <a:cubicBezTo>
                    <a:pt x="146" y="197"/>
                    <a:pt x="151" y="201"/>
                    <a:pt x="153" y="201"/>
                  </a:cubicBezTo>
                  <a:cubicBezTo>
                    <a:pt x="156" y="201"/>
                    <a:pt x="158" y="201"/>
                    <a:pt x="158" y="200"/>
                  </a:cubicBezTo>
                  <a:cubicBezTo>
                    <a:pt x="158" y="198"/>
                    <a:pt x="161" y="196"/>
                    <a:pt x="162" y="198"/>
                  </a:cubicBezTo>
                  <a:cubicBezTo>
                    <a:pt x="163" y="200"/>
                    <a:pt x="166" y="204"/>
                    <a:pt x="168" y="204"/>
                  </a:cubicBezTo>
                  <a:cubicBezTo>
                    <a:pt x="171" y="204"/>
                    <a:pt x="177" y="204"/>
                    <a:pt x="177" y="206"/>
                  </a:cubicBezTo>
                  <a:cubicBezTo>
                    <a:pt x="177" y="208"/>
                    <a:pt x="179" y="214"/>
                    <a:pt x="181" y="216"/>
                  </a:cubicBezTo>
                  <a:cubicBezTo>
                    <a:pt x="184" y="218"/>
                    <a:pt x="189" y="216"/>
                    <a:pt x="189" y="216"/>
                  </a:cubicBezTo>
                  <a:cubicBezTo>
                    <a:pt x="189" y="216"/>
                    <a:pt x="191" y="214"/>
                    <a:pt x="191" y="211"/>
                  </a:cubicBezTo>
                  <a:cubicBezTo>
                    <a:pt x="191" y="207"/>
                    <a:pt x="191" y="203"/>
                    <a:pt x="190" y="203"/>
                  </a:cubicBezTo>
                  <a:cubicBezTo>
                    <a:pt x="188" y="203"/>
                    <a:pt x="186" y="206"/>
                    <a:pt x="182" y="205"/>
                  </a:cubicBezTo>
                  <a:cubicBezTo>
                    <a:pt x="179" y="204"/>
                    <a:pt x="176" y="197"/>
                    <a:pt x="175" y="196"/>
                  </a:cubicBezTo>
                  <a:cubicBezTo>
                    <a:pt x="173" y="195"/>
                    <a:pt x="177" y="189"/>
                    <a:pt x="177" y="186"/>
                  </a:cubicBezTo>
                  <a:cubicBezTo>
                    <a:pt x="177" y="183"/>
                    <a:pt x="180" y="174"/>
                    <a:pt x="178" y="173"/>
                  </a:cubicBezTo>
                  <a:cubicBezTo>
                    <a:pt x="176" y="172"/>
                    <a:pt x="177" y="169"/>
                    <a:pt x="179" y="167"/>
                  </a:cubicBezTo>
                  <a:cubicBezTo>
                    <a:pt x="182" y="165"/>
                    <a:pt x="178" y="160"/>
                    <a:pt x="182" y="160"/>
                  </a:cubicBezTo>
                  <a:cubicBezTo>
                    <a:pt x="186" y="160"/>
                    <a:pt x="194" y="160"/>
                    <a:pt x="196" y="157"/>
                  </a:cubicBezTo>
                  <a:cubicBezTo>
                    <a:pt x="196" y="157"/>
                    <a:pt x="196" y="157"/>
                    <a:pt x="196" y="157"/>
                  </a:cubicBezTo>
                  <a:cubicBezTo>
                    <a:pt x="197" y="156"/>
                    <a:pt x="197" y="156"/>
                    <a:pt x="197" y="155"/>
                  </a:cubicBezTo>
                  <a:cubicBezTo>
                    <a:pt x="195" y="151"/>
                    <a:pt x="192" y="145"/>
                    <a:pt x="189" y="14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037071" y="4234459"/>
              <a:ext cx="41698" cy="54966"/>
            </a:xfrm>
            <a:custGeom>
              <a:avLst/>
              <a:gdLst/>
              <a:ahLst/>
              <a:cxnLst>
                <a:cxn ang="0">
                  <a:pos x="1" y="12"/>
                </a:cxn>
                <a:cxn ang="0">
                  <a:pos x="4" y="24"/>
                </a:cxn>
                <a:cxn ang="0">
                  <a:pos x="9" y="21"/>
                </a:cxn>
                <a:cxn ang="0">
                  <a:pos x="18" y="8"/>
                </a:cxn>
                <a:cxn ang="0">
                  <a:pos x="15" y="6"/>
                </a:cxn>
                <a:cxn ang="0">
                  <a:pos x="14" y="0"/>
                </a:cxn>
                <a:cxn ang="0">
                  <a:pos x="9" y="0"/>
                </a:cxn>
                <a:cxn ang="0">
                  <a:pos x="3" y="4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1" y="12"/>
                </a:cxn>
              </a:cxnLst>
              <a:rect l="0" t="0" r="r" b="b"/>
              <a:pathLst>
                <a:path w="18" h="24">
                  <a:moveTo>
                    <a:pt x="1" y="12"/>
                  </a:moveTo>
                  <a:cubicBezTo>
                    <a:pt x="2" y="14"/>
                    <a:pt x="3" y="19"/>
                    <a:pt x="4" y="24"/>
                  </a:cubicBezTo>
                  <a:cubicBezTo>
                    <a:pt x="6" y="22"/>
                    <a:pt x="8" y="21"/>
                    <a:pt x="9" y="21"/>
                  </a:cubicBezTo>
                  <a:cubicBezTo>
                    <a:pt x="11" y="20"/>
                    <a:pt x="18" y="8"/>
                    <a:pt x="18" y="8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3"/>
                    <a:pt x="14" y="0"/>
                  </a:cubicBezTo>
                  <a:cubicBezTo>
                    <a:pt x="12" y="0"/>
                    <a:pt x="9" y="0"/>
                    <a:pt x="9" y="0"/>
                  </a:cubicBezTo>
                  <a:cubicBezTo>
                    <a:pt x="9" y="0"/>
                    <a:pt x="10" y="5"/>
                    <a:pt x="3" y="4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lnTo>
                    <a:pt x="1" y="12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061711" y="4446737"/>
              <a:ext cx="274826" cy="439720"/>
            </a:xfrm>
            <a:custGeom>
              <a:avLst/>
              <a:gdLst/>
              <a:ahLst/>
              <a:cxnLst>
                <a:cxn ang="0">
                  <a:pos x="119" y="50"/>
                </a:cxn>
                <a:cxn ang="0">
                  <a:pos x="116" y="28"/>
                </a:cxn>
                <a:cxn ang="0">
                  <a:pos x="115" y="1"/>
                </a:cxn>
                <a:cxn ang="0">
                  <a:pos x="115" y="0"/>
                </a:cxn>
                <a:cxn ang="0">
                  <a:pos x="103" y="7"/>
                </a:cxn>
                <a:cxn ang="0">
                  <a:pos x="95" y="9"/>
                </a:cxn>
                <a:cxn ang="0">
                  <a:pos x="89" y="8"/>
                </a:cxn>
                <a:cxn ang="0">
                  <a:pos x="85" y="13"/>
                </a:cxn>
                <a:cxn ang="0">
                  <a:pos x="78" y="13"/>
                </a:cxn>
                <a:cxn ang="0">
                  <a:pos x="69" y="15"/>
                </a:cxn>
                <a:cxn ang="0">
                  <a:pos x="65" y="11"/>
                </a:cxn>
                <a:cxn ang="0">
                  <a:pos x="58" y="13"/>
                </a:cxn>
                <a:cxn ang="0">
                  <a:pos x="52" y="12"/>
                </a:cxn>
                <a:cxn ang="0">
                  <a:pos x="51" y="16"/>
                </a:cxn>
                <a:cxn ang="0">
                  <a:pos x="56" y="40"/>
                </a:cxn>
                <a:cxn ang="0">
                  <a:pos x="63" y="46"/>
                </a:cxn>
                <a:cxn ang="0">
                  <a:pos x="63" y="58"/>
                </a:cxn>
                <a:cxn ang="0">
                  <a:pos x="57" y="65"/>
                </a:cxn>
                <a:cxn ang="0">
                  <a:pos x="56" y="75"/>
                </a:cxn>
                <a:cxn ang="0">
                  <a:pos x="46" y="62"/>
                </a:cxn>
                <a:cxn ang="0">
                  <a:pos x="48" y="47"/>
                </a:cxn>
                <a:cxn ang="0">
                  <a:pos x="39" y="46"/>
                </a:cxn>
                <a:cxn ang="0">
                  <a:pos x="31" y="40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2" y="60"/>
                </a:cxn>
                <a:cxn ang="0">
                  <a:pos x="3" y="64"/>
                </a:cxn>
                <a:cxn ang="0">
                  <a:pos x="18" y="67"/>
                </a:cxn>
                <a:cxn ang="0">
                  <a:pos x="31" y="72"/>
                </a:cxn>
                <a:cxn ang="0">
                  <a:pos x="31" y="89"/>
                </a:cxn>
                <a:cxn ang="0">
                  <a:pos x="28" y="99"/>
                </a:cxn>
                <a:cxn ang="0">
                  <a:pos x="32" y="108"/>
                </a:cxn>
                <a:cxn ang="0">
                  <a:pos x="26" y="116"/>
                </a:cxn>
                <a:cxn ang="0">
                  <a:pos x="23" y="127"/>
                </a:cxn>
                <a:cxn ang="0">
                  <a:pos x="11" y="138"/>
                </a:cxn>
                <a:cxn ang="0">
                  <a:pos x="12" y="139"/>
                </a:cxn>
                <a:cxn ang="0">
                  <a:pos x="19" y="160"/>
                </a:cxn>
                <a:cxn ang="0">
                  <a:pos x="20" y="180"/>
                </a:cxn>
                <a:cxn ang="0">
                  <a:pos x="21" y="193"/>
                </a:cxn>
                <a:cxn ang="0">
                  <a:pos x="30" y="193"/>
                </a:cxn>
                <a:cxn ang="0">
                  <a:pos x="30" y="187"/>
                </a:cxn>
                <a:cxn ang="0">
                  <a:pos x="26" y="183"/>
                </a:cxn>
                <a:cxn ang="0">
                  <a:pos x="43" y="170"/>
                </a:cxn>
                <a:cxn ang="0">
                  <a:pos x="57" y="161"/>
                </a:cxn>
                <a:cxn ang="0">
                  <a:pos x="59" y="145"/>
                </a:cxn>
                <a:cxn ang="0">
                  <a:pos x="57" y="130"/>
                </a:cxn>
                <a:cxn ang="0">
                  <a:pos x="51" y="116"/>
                </a:cxn>
                <a:cxn ang="0">
                  <a:pos x="53" y="108"/>
                </a:cxn>
                <a:cxn ang="0">
                  <a:pos x="58" y="102"/>
                </a:cxn>
                <a:cxn ang="0">
                  <a:pos x="68" y="96"/>
                </a:cxn>
                <a:cxn ang="0">
                  <a:pos x="79" y="83"/>
                </a:cxn>
                <a:cxn ang="0">
                  <a:pos x="101" y="73"/>
                </a:cxn>
                <a:cxn ang="0">
                  <a:pos x="119" y="50"/>
                </a:cxn>
              </a:cxnLst>
              <a:rect l="0" t="0" r="r" b="b"/>
              <a:pathLst>
                <a:path w="120" h="193">
                  <a:moveTo>
                    <a:pt x="119" y="50"/>
                  </a:moveTo>
                  <a:cubicBezTo>
                    <a:pt x="118" y="47"/>
                    <a:pt x="116" y="33"/>
                    <a:pt x="116" y="28"/>
                  </a:cubicBezTo>
                  <a:cubicBezTo>
                    <a:pt x="117" y="22"/>
                    <a:pt x="115" y="8"/>
                    <a:pt x="115" y="1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0" y="3"/>
                    <a:pt x="104" y="5"/>
                    <a:pt x="103" y="7"/>
                  </a:cubicBezTo>
                  <a:cubicBezTo>
                    <a:pt x="102" y="9"/>
                    <a:pt x="98" y="6"/>
                    <a:pt x="95" y="9"/>
                  </a:cubicBezTo>
                  <a:cubicBezTo>
                    <a:pt x="93" y="11"/>
                    <a:pt x="91" y="9"/>
                    <a:pt x="89" y="8"/>
                  </a:cubicBezTo>
                  <a:cubicBezTo>
                    <a:pt x="86" y="8"/>
                    <a:pt x="85" y="11"/>
                    <a:pt x="85" y="13"/>
                  </a:cubicBezTo>
                  <a:cubicBezTo>
                    <a:pt x="85" y="15"/>
                    <a:pt x="80" y="14"/>
                    <a:pt x="78" y="13"/>
                  </a:cubicBezTo>
                  <a:cubicBezTo>
                    <a:pt x="77" y="13"/>
                    <a:pt x="71" y="15"/>
                    <a:pt x="69" y="15"/>
                  </a:cubicBezTo>
                  <a:cubicBezTo>
                    <a:pt x="66" y="15"/>
                    <a:pt x="68" y="12"/>
                    <a:pt x="65" y="11"/>
                  </a:cubicBezTo>
                  <a:cubicBezTo>
                    <a:pt x="62" y="10"/>
                    <a:pt x="60" y="13"/>
                    <a:pt x="58" y="13"/>
                  </a:cubicBezTo>
                  <a:cubicBezTo>
                    <a:pt x="57" y="13"/>
                    <a:pt x="54" y="12"/>
                    <a:pt x="52" y="12"/>
                  </a:cubicBezTo>
                  <a:cubicBezTo>
                    <a:pt x="52" y="13"/>
                    <a:pt x="52" y="15"/>
                    <a:pt x="51" y="16"/>
                  </a:cubicBezTo>
                  <a:cubicBezTo>
                    <a:pt x="49" y="21"/>
                    <a:pt x="56" y="34"/>
                    <a:pt x="56" y="40"/>
                  </a:cubicBezTo>
                  <a:cubicBezTo>
                    <a:pt x="59" y="42"/>
                    <a:pt x="62" y="44"/>
                    <a:pt x="63" y="46"/>
                  </a:cubicBezTo>
                  <a:cubicBezTo>
                    <a:pt x="66" y="50"/>
                    <a:pt x="63" y="50"/>
                    <a:pt x="63" y="58"/>
                  </a:cubicBezTo>
                  <a:cubicBezTo>
                    <a:pt x="64" y="66"/>
                    <a:pt x="60" y="62"/>
                    <a:pt x="57" y="65"/>
                  </a:cubicBezTo>
                  <a:cubicBezTo>
                    <a:pt x="54" y="68"/>
                    <a:pt x="57" y="74"/>
                    <a:pt x="56" y="75"/>
                  </a:cubicBezTo>
                  <a:cubicBezTo>
                    <a:pt x="55" y="77"/>
                    <a:pt x="46" y="64"/>
                    <a:pt x="46" y="62"/>
                  </a:cubicBezTo>
                  <a:cubicBezTo>
                    <a:pt x="45" y="60"/>
                    <a:pt x="49" y="52"/>
                    <a:pt x="48" y="47"/>
                  </a:cubicBezTo>
                  <a:cubicBezTo>
                    <a:pt x="47" y="42"/>
                    <a:pt x="41" y="45"/>
                    <a:pt x="39" y="46"/>
                  </a:cubicBezTo>
                  <a:cubicBezTo>
                    <a:pt x="37" y="46"/>
                    <a:pt x="32" y="40"/>
                    <a:pt x="31" y="40"/>
                  </a:cubicBezTo>
                  <a:cubicBezTo>
                    <a:pt x="30" y="40"/>
                    <a:pt x="0" y="52"/>
                    <a:pt x="0" y="52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13" y="64"/>
                    <a:pt x="18" y="67"/>
                  </a:cubicBezTo>
                  <a:cubicBezTo>
                    <a:pt x="22" y="70"/>
                    <a:pt x="29" y="71"/>
                    <a:pt x="31" y="72"/>
                  </a:cubicBezTo>
                  <a:cubicBezTo>
                    <a:pt x="32" y="73"/>
                    <a:pt x="31" y="84"/>
                    <a:pt x="31" y="89"/>
                  </a:cubicBezTo>
                  <a:cubicBezTo>
                    <a:pt x="32" y="95"/>
                    <a:pt x="25" y="96"/>
                    <a:pt x="28" y="99"/>
                  </a:cubicBezTo>
                  <a:cubicBezTo>
                    <a:pt x="31" y="102"/>
                    <a:pt x="30" y="107"/>
                    <a:pt x="32" y="108"/>
                  </a:cubicBezTo>
                  <a:cubicBezTo>
                    <a:pt x="34" y="108"/>
                    <a:pt x="28" y="115"/>
                    <a:pt x="26" y="116"/>
                  </a:cubicBezTo>
                  <a:cubicBezTo>
                    <a:pt x="23" y="118"/>
                    <a:pt x="26" y="123"/>
                    <a:pt x="23" y="127"/>
                  </a:cubicBezTo>
                  <a:cubicBezTo>
                    <a:pt x="21" y="130"/>
                    <a:pt x="15" y="135"/>
                    <a:pt x="11" y="138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3" y="141"/>
                    <a:pt x="16" y="158"/>
                    <a:pt x="19" y="160"/>
                  </a:cubicBezTo>
                  <a:cubicBezTo>
                    <a:pt x="22" y="162"/>
                    <a:pt x="20" y="179"/>
                    <a:pt x="20" y="180"/>
                  </a:cubicBezTo>
                  <a:cubicBezTo>
                    <a:pt x="20" y="182"/>
                    <a:pt x="21" y="193"/>
                    <a:pt x="21" y="193"/>
                  </a:cubicBezTo>
                  <a:cubicBezTo>
                    <a:pt x="21" y="193"/>
                    <a:pt x="26" y="193"/>
                    <a:pt x="30" y="193"/>
                  </a:cubicBezTo>
                  <a:cubicBezTo>
                    <a:pt x="30" y="190"/>
                    <a:pt x="30" y="188"/>
                    <a:pt x="30" y="187"/>
                  </a:cubicBezTo>
                  <a:cubicBezTo>
                    <a:pt x="30" y="182"/>
                    <a:pt x="27" y="186"/>
                    <a:pt x="26" y="183"/>
                  </a:cubicBezTo>
                  <a:cubicBezTo>
                    <a:pt x="24" y="179"/>
                    <a:pt x="34" y="173"/>
                    <a:pt x="43" y="170"/>
                  </a:cubicBezTo>
                  <a:cubicBezTo>
                    <a:pt x="53" y="166"/>
                    <a:pt x="56" y="164"/>
                    <a:pt x="57" y="161"/>
                  </a:cubicBezTo>
                  <a:cubicBezTo>
                    <a:pt x="58" y="158"/>
                    <a:pt x="57" y="148"/>
                    <a:pt x="59" y="145"/>
                  </a:cubicBezTo>
                  <a:cubicBezTo>
                    <a:pt x="60" y="141"/>
                    <a:pt x="58" y="139"/>
                    <a:pt x="57" y="130"/>
                  </a:cubicBezTo>
                  <a:cubicBezTo>
                    <a:pt x="55" y="122"/>
                    <a:pt x="52" y="121"/>
                    <a:pt x="51" y="116"/>
                  </a:cubicBezTo>
                  <a:cubicBezTo>
                    <a:pt x="50" y="111"/>
                    <a:pt x="50" y="108"/>
                    <a:pt x="53" y="108"/>
                  </a:cubicBezTo>
                  <a:cubicBezTo>
                    <a:pt x="56" y="107"/>
                    <a:pt x="56" y="106"/>
                    <a:pt x="58" y="102"/>
                  </a:cubicBezTo>
                  <a:cubicBezTo>
                    <a:pt x="60" y="97"/>
                    <a:pt x="63" y="99"/>
                    <a:pt x="68" y="96"/>
                  </a:cubicBezTo>
                  <a:cubicBezTo>
                    <a:pt x="72" y="92"/>
                    <a:pt x="72" y="88"/>
                    <a:pt x="79" y="83"/>
                  </a:cubicBezTo>
                  <a:cubicBezTo>
                    <a:pt x="87" y="77"/>
                    <a:pt x="94" y="77"/>
                    <a:pt x="101" y="73"/>
                  </a:cubicBezTo>
                  <a:cubicBezTo>
                    <a:pt x="108" y="69"/>
                    <a:pt x="120" y="53"/>
                    <a:pt x="119" y="5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046548" y="4196552"/>
              <a:ext cx="278617" cy="284302"/>
            </a:xfrm>
            <a:custGeom>
              <a:avLst/>
              <a:gdLst/>
              <a:ahLst/>
              <a:cxnLst>
                <a:cxn ang="0">
                  <a:pos x="114" y="100"/>
                </a:cxn>
                <a:cxn ang="0">
                  <a:pos x="110" y="88"/>
                </a:cxn>
                <a:cxn ang="0">
                  <a:pos x="109" y="79"/>
                </a:cxn>
                <a:cxn ang="0">
                  <a:pos x="111" y="71"/>
                </a:cxn>
                <a:cxn ang="0">
                  <a:pos x="105" y="61"/>
                </a:cxn>
                <a:cxn ang="0">
                  <a:pos x="110" y="44"/>
                </a:cxn>
                <a:cxn ang="0">
                  <a:pos x="91" y="30"/>
                </a:cxn>
                <a:cxn ang="0">
                  <a:pos x="92" y="24"/>
                </a:cxn>
                <a:cxn ang="0">
                  <a:pos x="49" y="1"/>
                </a:cxn>
                <a:cxn ang="0">
                  <a:pos x="44" y="12"/>
                </a:cxn>
                <a:cxn ang="0">
                  <a:pos x="44" y="19"/>
                </a:cxn>
                <a:cxn ang="0">
                  <a:pos x="26" y="18"/>
                </a:cxn>
                <a:cxn ang="0">
                  <a:pos x="26" y="0"/>
                </a:cxn>
                <a:cxn ang="0">
                  <a:pos x="17" y="1"/>
                </a:cxn>
                <a:cxn ang="0">
                  <a:pos x="11" y="2"/>
                </a:cxn>
                <a:cxn ang="0">
                  <a:pos x="13" y="7"/>
                </a:cxn>
                <a:cxn ang="0">
                  <a:pos x="15" y="15"/>
                </a:cxn>
                <a:cxn ang="0">
                  <a:pos x="10" y="17"/>
                </a:cxn>
                <a:cxn ang="0">
                  <a:pos x="11" y="23"/>
                </a:cxn>
                <a:cxn ang="0">
                  <a:pos x="14" y="25"/>
                </a:cxn>
                <a:cxn ang="0">
                  <a:pos x="5" y="38"/>
                </a:cxn>
                <a:cxn ang="0">
                  <a:pos x="0" y="41"/>
                </a:cxn>
                <a:cxn ang="0">
                  <a:pos x="7" y="62"/>
                </a:cxn>
                <a:cxn ang="0">
                  <a:pos x="13" y="77"/>
                </a:cxn>
                <a:cxn ang="0">
                  <a:pos x="15" y="86"/>
                </a:cxn>
                <a:cxn ang="0">
                  <a:pos x="9" y="81"/>
                </a:cxn>
                <a:cxn ang="0">
                  <a:pos x="8" y="83"/>
                </a:cxn>
                <a:cxn ang="0">
                  <a:pos x="8" y="83"/>
                </a:cxn>
                <a:cxn ang="0">
                  <a:pos x="16" y="88"/>
                </a:cxn>
                <a:cxn ang="0">
                  <a:pos x="26" y="92"/>
                </a:cxn>
                <a:cxn ang="0">
                  <a:pos x="41" y="99"/>
                </a:cxn>
                <a:cxn ang="0">
                  <a:pos x="42" y="100"/>
                </a:cxn>
                <a:cxn ang="0">
                  <a:pos x="49" y="100"/>
                </a:cxn>
                <a:cxn ang="0">
                  <a:pos x="51" y="99"/>
                </a:cxn>
                <a:cxn ang="0">
                  <a:pos x="59" y="122"/>
                </a:cxn>
                <a:cxn ang="0">
                  <a:pos x="65" y="123"/>
                </a:cxn>
                <a:cxn ang="0">
                  <a:pos x="72" y="121"/>
                </a:cxn>
                <a:cxn ang="0">
                  <a:pos x="76" y="125"/>
                </a:cxn>
                <a:cxn ang="0">
                  <a:pos x="85" y="123"/>
                </a:cxn>
                <a:cxn ang="0">
                  <a:pos x="92" y="123"/>
                </a:cxn>
                <a:cxn ang="0">
                  <a:pos x="96" y="118"/>
                </a:cxn>
                <a:cxn ang="0">
                  <a:pos x="102" y="119"/>
                </a:cxn>
                <a:cxn ang="0">
                  <a:pos x="110" y="117"/>
                </a:cxn>
                <a:cxn ang="0">
                  <a:pos x="122" y="110"/>
                </a:cxn>
                <a:cxn ang="0">
                  <a:pos x="114" y="100"/>
                </a:cxn>
              </a:cxnLst>
              <a:rect l="0" t="0" r="r" b="b"/>
              <a:pathLst>
                <a:path w="122" h="125">
                  <a:moveTo>
                    <a:pt x="114" y="100"/>
                  </a:moveTo>
                  <a:cubicBezTo>
                    <a:pt x="114" y="93"/>
                    <a:pt x="110" y="93"/>
                    <a:pt x="110" y="88"/>
                  </a:cubicBezTo>
                  <a:cubicBezTo>
                    <a:pt x="110" y="84"/>
                    <a:pt x="111" y="80"/>
                    <a:pt x="109" y="79"/>
                  </a:cubicBezTo>
                  <a:cubicBezTo>
                    <a:pt x="107" y="79"/>
                    <a:pt x="108" y="75"/>
                    <a:pt x="111" y="71"/>
                  </a:cubicBezTo>
                  <a:cubicBezTo>
                    <a:pt x="114" y="67"/>
                    <a:pt x="106" y="66"/>
                    <a:pt x="105" y="61"/>
                  </a:cubicBezTo>
                  <a:cubicBezTo>
                    <a:pt x="105" y="59"/>
                    <a:pt x="107" y="52"/>
                    <a:pt x="110" y="44"/>
                  </a:cubicBezTo>
                  <a:cubicBezTo>
                    <a:pt x="101" y="37"/>
                    <a:pt x="91" y="30"/>
                    <a:pt x="91" y="30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6"/>
                    <a:pt x="47" y="10"/>
                    <a:pt x="44" y="12"/>
                  </a:cubicBezTo>
                  <a:cubicBezTo>
                    <a:pt x="40" y="13"/>
                    <a:pt x="48" y="18"/>
                    <a:pt x="44" y="19"/>
                  </a:cubicBezTo>
                  <a:cubicBezTo>
                    <a:pt x="41" y="19"/>
                    <a:pt x="32" y="15"/>
                    <a:pt x="26" y="18"/>
                  </a:cubicBezTo>
                  <a:cubicBezTo>
                    <a:pt x="22" y="19"/>
                    <a:pt x="23" y="9"/>
                    <a:pt x="2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4" y="2"/>
                    <a:pt x="11" y="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5" y="12"/>
                    <a:pt x="15" y="15"/>
                  </a:cubicBezTo>
                  <a:cubicBezTo>
                    <a:pt x="15" y="16"/>
                    <a:pt x="13" y="17"/>
                    <a:pt x="10" y="17"/>
                  </a:cubicBezTo>
                  <a:cubicBezTo>
                    <a:pt x="11" y="20"/>
                    <a:pt x="11" y="23"/>
                    <a:pt x="11" y="2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7" y="37"/>
                    <a:pt x="5" y="38"/>
                  </a:cubicBezTo>
                  <a:cubicBezTo>
                    <a:pt x="4" y="38"/>
                    <a:pt x="2" y="39"/>
                    <a:pt x="0" y="41"/>
                  </a:cubicBezTo>
                  <a:cubicBezTo>
                    <a:pt x="1" y="49"/>
                    <a:pt x="3" y="59"/>
                    <a:pt x="7" y="62"/>
                  </a:cubicBezTo>
                  <a:cubicBezTo>
                    <a:pt x="12" y="68"/>
                    <a:pt x="11" y="74"/>
                    <a:pt x="13" y="77"/>
                  </a:cubicBezTo>
                  <a:cubicBezTo>
                    <a:pt x="14" y="81"/>
                    <a:pt x="19" y="85"/>
                    <a:pt x="15" y="86"/>
                  </a:cubicBezTo>
                  <a:cubicBezTo>
                    <a:pt x="13" y="87"/>
                    <a:pt x="11" y="85"/>
                    <a:pt x="9" y="81"/>
                  </a:cubicBezTo>
                  <a:cubicBezTo>
                    <a:pt x="9" y="82"/>
                    <a:pt x="9" y="82"/>
                    <a:pt x="8" y="83"/>
                  </a:cubicBezTo>
                  <a:cubicBezTo>
                    <a:pt x="8" y="83"/>
                    <a:pt x="8" y="83"/>
                    <a:pt x="8" y="83"/>
                  </a:cubicBezTo>
                  <a:cubicBezTo>
                    <a:pt x="11" y="86"/>
                    <a:pt x="15" y="88"/>
                    <a:pt x="16" y="88"/>
                  </a:cubicBezTo>
                  <a:cubicBezTo>
                    <a:pt x="19" y="88"/>
                    <a:pt x="24" y="92"/>
                    <a:pt x="26" y="92"/>
                  </a:cubicBezTo>
                  <a:cubicBezTo>
                    <a:pt x="29" y="93"/>
                    <a:pt x="40" y="97"/>
                    <a:pt x="41" y="99"/>
                  </a:cubicBezTo>
                  <a:cubicBezTo>
                    <a:pt x="41" y="99"/>
                    <a:pt x="41" y="99"/>
                    <a:pt x="42" y="100"/>
                  </a:cubicBezTo>
                  <a:cubicBezTo>
                    <a:pt x="44" y="100"/>
                    <a:pt x="47" y="99"/>
                    <a:pt x="49" y="100"/>
                  </a:cubicBezTo>
                  <a:cubicBezTo>
                    <a:pt x="50" y="99"/>
                    <a:pt x="50" y="99"/>
                    <a:pt x="51" y="99"/>
                  </a:cubicBezTo>
                  <a:cubicBezTo>
                    <a:pt x="55" y="99"/>
                    <a:pt x="59" y="113"/>
                    <a:pt x="59" y="122"/>
                  </a:cubicBezTo>
                  <a:cubicBezTo>
                    <a:pt x="61" y="122"/>
                    <a:pt x="64" y="123"/>
                    <a:pt x="65" y="123"/>
                  </a:cubicBezTo>
                  <a:cubicBezTo>
                    <a:pt x="67" y="123"/>
                    <a:pt x="69" y="120"/>
                    <a:pt x="72" y="121"/>
                  </a:cubicBezTo>
                  <a:cubicBezTo>
                    <a:pt x="75" y="122"/>
                    <a:pt x="73" y="125"/>
                    <a:pt x="76" y="125"/>
                  </a:cubicBezTo>
                  <a:cubicBezTo>
                    <a:pt x="78" y="125"/>
                    <a:pt x="84" y="123"/>
                    <a:pt x="85" y="123"/>
                  </a:cubicBezTo>
                  <a:cubicBezTo>
                    <a:pt x="87" y="124"/>
                    <a:pt x="92" y="125"/>
                    <a:pt x="92" y="123"/>
                  </a:cubicBezTo>
                  <a:cubicBezTo>
                    <a:pt x="92" y="121"/>
                    <a:pt x="93" y="118"/>
                    <a:pt x="96" y="118"/>
                  </a:cubicBezTo>
                  <a:cubicBezTo>
                    <a:pt x="98" y="119"/>
                    <a:pt x="100" y="121"/>
                    <a:pt x="102" y="119"/>
                  </a:cubicBezTo>
                  <a:cubicBezTo>
                    <a:pt x="105" y="116"/>
                    <a:pt x="109" y="119"/>
                    <a:pt x="110" y="117"/>
                  </a:cubicBezTo>
                  <a:cubicBezTo>
                    <a:pt x="111" y="115"/>
                    <a:pt x="117" y="113"/>
                    <a:pt x="122" y="110"/>
                  </a:cubicBezTo>
                  <a:cubicBezTo>
                    <a:pt x="122" y="104"/>
                    <a:pt x="115" y="107"/>
                    <a:pt x="114" y="10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28047" y="4422097"/>
              <a:ext cx="85291" cy="200907"/>
            </a:xfrm>
            <a:custGeom>
              <a:avLst/>
              <a:gdLst/>
              <a:ahLst/>
              <a:cxnLst>
                <a:cxn ang="0">
                  <a:pos x="34" y="57"/>
                </a:cxn>
                <a:cxn ang="0">
                  <a:pos x="27" y="51"/>
                </a:cxn>
                <a:cxn ang="0">
                  <a:pos x="27" y="53"/>
                </a:cxn>
                <a:cxn ang="0">
                  <a:pos x="15" y="35"/>
                </a:cxn>
                <a:cxn ang="0">
                  <a:pos x="16" y="15"/>
                </a:cxn>
                <a:cxn ang="0">
                  <a:pos x="13" y="1"/>
                </a:cxn>
                <a:cxn ang="0">
                  <a:pos x="6" y="1"/>
                </a:cxn>
                <a:cxn ang="0">
                  <a:pos x="10" y="12"/>
                </a:cxn>
                <a:cxn ang="0">
                  <a:pos x="6" y="14"/>
                </a:cxn>
                <a:cxn ang="0">
                  <a:pos x="7" y="32"/>
                </a:cxn>
                <a:cxn ang="0">
                  <a:pos x="2" y="35"/>
                </a:cxn>
                <a:cxn ang="0">
                  <a:pos x="0" y="46"/>
                </a:cxn>
                <a:cxn ang="0">
                  <a:pos x="2" y="51"/>
                </a:cxn>
                <a:cxn ang="0">
                  <a:pos x="2" y="51"/>
                </a:cxn>
                <a:cxn ang="0">
                  <a:pos x="10" y="57"/>
                </a:cxn>
                <a:cxn ang="0">
                  <a:pos x="19" y="58"/>
                </a:cxn>
                <a:cxn ang="0">
                  <a:pos x="17" y="73"/>
                </a:cxn>
                <a:cxn ang="0">
                  <a:pos x="27" y="86"/>
                </a:cxn>
                <a:cxn ang="0">
                  <a:pos x="28" y="76"/>
                </a:cxn>
                <a:cxn ang="0">
                  <a:pos x="34" y="69"/>
                </a:cxn>
                <a:cxn ang="0">
                  <a:pos x="34" y="57"/>
                </a:cxn>
              </a:cxnLst>
              <a:rect l="0" t="0" r="r" b="b"/>
              <a:pathLst>
                <a:path w="37" h="88">
                  <a:moveTo>
                    <a:pt x="34" y="57"/>
                  </a:moveTo>
                  <a:cubicBezTo>
                    <a:pt x="33" y="55"/>
                    <a:pt x="30" y="53"/>
                    <a:pt x="27" y="51"/>
                  </a:cubicBezTo>
                  <a:cubicBezTo>
                    <a:pt x="27" y="51"/>
                    <a:pt x="27" y="52"/>
                    <a:pt x="27" y="53"/>
                  </a:cubicBezTo>
                  <a:cubicBezTo>
                    <a:pt x="24" y="57"/>
                    <a:pt x="16" y="44"/>
                    <a:pt x="15" y="35"/>
                  </a:cubicBezTo>
                  <a:cubicBezTo>
                    <a:pt x="14" y="27"/>
                    <a:pt x="19" y="23"/>
                    <a:pt x="16" y="15"/>
                  </a:cubicBezTo>
                  <a:cubicBezTo>
                    <a:pt x="13" y="9"/>
                    <a:pt x="11" y="3"/>
                    <a:pt x="13" y="1"/>
                  </a:cubicBezTo>
                  <a:cubicBezTo>
                    <a:pt x="11" y="0"/>
                    <a:pt x="8" y="1"/>
                    <a:pt x="6" y="1"/>
                  </a:cubicBezTo>
                  <a:cubicBezTo>
                    <a:pt x="7" y="4"/>
                    <a:pt x="10" y="10"/>
                    <a:pt x="10" y="12"/>
                  </a:cubicBezTo>
                  <a:cubicBezTo>
                    <a:pt x="10" y="14"/>
                    <a:pt x="7" y="11"/>
                    <a:pt x="6" y="14"/>
                  </a:cubicBezTo>
                  <a:cubicBezTo>
                    <a:pt x="5" y="17"/>
                    <a:pt x="4" y="30"/>
                    <a:pt x="7" y="32"/>
                  </a:cubicBezTo>
                  <a:cubicBezTo>
                    <a:pt x="9" y="35"/>
                    <a:pt x="2" y="33"/>
                    <a:pt x="2" y="35"/>
                  </a:cubicBezTo>
                  <a:cubicBezTo>
                    <a:pt x="2" y="38"/>
                    <a:pt x="1" y="46"/>
                    <a:pt x="0" y="46"/>
                  </a:cubicBezTo>
                  <a:cubicBezTo>
                    <a:pt x="0" y="47"/>
                    <a:pt x="1" y="49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3" y="51"/>
                    <a:pt x="8" y="57"/>
                    <a:pt x="10" y="57"/>
                  </a:cubicBezTo>
                  <a:cubicBezTo>
                    <a:pt x="12" y="56"/>
                    <a:pt x="18" y="53"/>
                    <a:pt x="19" y="58"/>
                  </a:cubicBezTo>
                  <a:cubicBezTo>
                    <a:pt x="20" y="63"/>
                    <a:pt x="16" y="71"/>
                    <a:pt x="17" y="73"/>
                  </a:cubicBezTo>
                  <a:cubicBezTo>
                    <a:pt x="17" y="75"/>
                    <a:pt x="26" y="88"/>
                    <a:pt x="27" y="86"/>
                  </a:cubicBezTo>
                  <a:cubicBezTo>
                    <a:pt x="28" y="85"/>
                    <a:pt x="25" y="79"/>
                    <a:pt x="28" y="76"/>
                  </a:cubicBezTo>
                  <a:cubicBezTo>
                    <a:pt x="31" y="73"/>
                    <a:pt x="35" y="77"/>
                    <a:pt x="34" y="69"/>
                  </a:cubicBezTo>
                  <a:cubicBezTo>
                    <a:pt x="34" y="61"/>
                    <a:pt x="37" y="61"/>
                    <a:pt x="34" y="5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503660" y="4710190"/>
              <a:ext cx="87186" cy="68232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34" y="27"/>
                </a:cxn>
                <a:cxn ang="0">
                  <a:pos x="1" y="5"/>
                </a:cxn>
              </a:cxnLst>
              <a:rect l="0" t="0" r="r" b="b"/>
              <a:pathLst>
                <a:path w="38" h="30">
                  <a:moveTo>
                    <a:pt x="1" y="5"/>
                  </a:moveTo>
                  <a:cubicBezTo>
                    <a:pt x="0" y="0"/>
                    <a:pt x="38" y="25"/>
                    <a:pt x="34" y="27"/>
                  </a:cubicBezTo>
                  <a:cubicBezTo>
                    <a:pt x="30" y="30"/>
                    <a:pt x="2" y="9"/>
                    <a:pt x="1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7041604" y="3051763"/>
              <a:ext cx="199012" cy="132674"/>
            </a:xfrm>
            <a:custGeom>
              <a:avLst/>
              <a:gdLst/>
              <a:ahLst/>
              <a:cxnLst>
                <a:cxn ang="0">
                  <a:pos x="71" y="47"/>
                </a:cxn>
                <a:cxn ang="0">
                  <a:pos x="75" y="51"/>
                </a:cxn>
                <a:cxn ang="0">
                  <a:pos x="83" y="53"/>
                </a:cxn>
                <a:cxn ang="0">
                  <a:pos x="87" y="52"/>
                </a:cxn>
                <a:cxn ang="0">
                  <a:pos x="84" y="37"/>
                </a:cxn>
                <a:cxn ang="0">
                  <a:pos x="73" y="30"/>
                </a:cxn>
                <a:cxn ang="0">
                  <a:pos x="72" y="20"/>
                </a:cxn>
                <a:cxn ang="0">
                  <a:pos x="57" y="21"/>
                </a:cxn>
                <a:cxn ang="0">
                  <a:pos x="47" y="19"/>
                </a:cxn>
                <a:cxn ang="0">
                  <a:pos x="37" y="19"/>
                </a:cxn>
                <a:cxn ang="0">
                  <a:pos x="21" y="18"/>
                </a:cxn>
                <a:cxn ang="0">
                  <a:pos x="29" y="11"/>
                </a:cxn>
                <a:cxn ang="0">
                  <a:pos x="33" y="11"/>
                </a:cxn>
                <a:cxn ang="0">
                  <a:pos x="37" y="2"/>
                </a:cxn>
                <a:cxn ang="0">
                  <a:pos x="29" y="4"/>
                </a:cxn>
                <a:cxn ang="0">
                  <a:pos x="20" y="6"/>
                </a:cxn>
                <a:cxn ang="0">
                  <a:pos x="15" y="12"/>
                </a:cxn>
                <a:cxn ang="0">
                  <a:pos x="11" y="18"/>
                </a:cxn>
                <a:cxn ang="0">
                  <a:pos x="1" y="22"/>
                </a:cxn>
                <a:cxn ang="0">
                  <a:pos x="8" y="31"/>
                </a:cxn>
                <a:cxn ang="0">
                  <a:pos x="9" y="41"/>
                </a:cxn>
                <a:cxn ang="0">
                  <a:pos x="4" y="52"/>
                </a:cxn>
                <a:cxn ang="0">
                  <a:pos x="10" y="53"/>
                </a:cxn>
                <a:cxn ang="0">
                  <a:pos x="21" y="50"/>
                </a:cxn>
                <a:cxn ang="0">
                  <a:pos x="32" y="44"/>
                </a:cxn>
                <a:cxn ang="0">
                  <a:pos x="42" y="35"/>
                </a:cxn>
                <a:cxn ang="0">
                  <a:pos x="47" y="44"/>
                </a:cxn>
                <a:cxn ang="0">
                  <a:pos x="47" y="57"/>
                </a:cxn>
                <a:cxn ang="0">
                  <a:pos x="52" y="58"/>
                </a:cxn>
                <a:cxn ang="0">
                  <a:pos x="58" y="56"/>
                </a:cxn>
                <a:cxn ang="0">
                  <a:pos x="71" y="47"/>
                </a:cxn>
              </a:cxnLst>
              <a:rect l="0" t="0" r="r" b="b"/>
              <a:pathLst>
                <a:path w="87" h="58">
                  <a:moveTo>
                    <a:pt x="71" y="47"/>
                  </a:moveTo>
                  <a:cubicBezTo>
                    <a:pt x="73" y="49"/>
                    <a:pt x="73" y="51"/>
                    <a:pt x="75" y="51"/>
                  </a:cubicBezTo>
                  <a:cubicBezTo>
                    <a:pt x="77" y="50"/>
                    <a:pt x="81" y="51"/>
                    <a:pt x="83" y="53"/>
                  </a:cubicBezTo>
                  <a:cubicBezTo>
                    <a:pt x="85" y="53"/>
                    <a:pt x="87" y="52"/>
                    <a:pt x="87" y="52"/>
                  </a:cubicBezTo>
                  <a:cubicBezTo>
                    <a:pt x="87" y="52"/>
                    <a:pt x="85" y="41"/>
                    <a:pt x="84" y="37"/>
                  </a:cubicBezTo>
                  <a:cubicBezTo>
                    <a:pt x="84" y="34"/>
                    <a:pt x="73" y="30"/>
                    <a:pt x="73" y="3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20"/>
                    <a:pt x="59" y="22"/>
                    <a:pt x="57" y="21"/>
                  </a:cubicBezTo>
                  <a:cubicBezTo>
                    <a:pt x="55" y="20"/>
                    <a:pt x="50" y="23"/>
                    <a:pt x="47" y="19"/>
                  </a:cubicBezTo>
                  <a:cubicBezTo>
                    <a:pt x="45" y="16"/>
                    <a:pt x="41" y="22"/>
                    <a:pt x="37" y="19"/>
                  </a:cubicBezTo>
                  <a:cubicBezTo>
                    <a:pt x="33" y="16"/>
                    <a:pt x="22" y="20"/>
                    <a:pt x="21" y="18"/>
                  </a:cubicBezTo>
                  <a:cubicBezTo>
                    <a:pt x="21" y="15"/>
                    <a:pt x="26" y="11"/>
                    <a:pt x="29" y="11"/>
                  </a:cubicBezTo>
                  <a:cubicBezTo>
                    <a:pt x="30" y="11"/>
                    <a:pt x="31" y="11"/>
                    <a:pt x="33" y="11"/>
                  </a:cubicBezTo>
                  <a:cubicBezTo>
                    <a:pt x="34" y="9"/>
                    <a:pt x="37" y="3"/>
                    <a:pt x="37" y="2"/>
                  </a:cubicBezTo>
                  <a:cubicBezTo>
                    <a:pt x="36" y="0"/>
                    <a:pt x="32" y="2"/>
                    <a:pt x="29" y="4"/>
                  </a:cubicBezTo>
                  <a:cubicBezTo>
                    <a:pt x="26" y="6"/>
                    <a:pt x="21" y="3"/>
                    <a:pt x="20" y="6"/>
                  </a:cubicBezTo>
                  <a:cubicBezTo>
                    <a:pt x="19" y="9"/>
                    <a:pt x="18" y="12"/>
                    <a:pt x="15" y="12"/>
                  </a:cubicBezTo>
                  <a:cubicBezTo>
                    <a:pt x="12" y="12"/>
                    <a:pt x="14" y="17"/>
                    <a:pt x="11" y="18"/>
                  </a:cubicBezTo>
                  <a:cubicBezTo>
                    <a:pt x="8" y="19"/>
                    <a:pt x="1" y="19"/>
                    <a:pt x="1" y="22"/>
                  </a:cubicBezTo>
                  <a:cubicBezTo>
                    <a:pt x="0" y="25"/>
                    <a:pt x="8" y="27"/>
                    <a:pt x="8" y="31"/>
                  </a:cubicBezTo>
                  <a:cubicBezTo>
                    <a:pt x="7" y="34"/>
                    <a:pt x="12" y="38"/>
                    <a:pt x="9" y="41"/>
                  </a:cubicBezTo>
                  <a:cubicBezTo>
                    <a:pt x="6" y="43"/>
                    <a:pt x="4" y="46"/>
                    <a:pt x="4" y="52"/>
                  </a:cubicBezTo>
                  <a:cubicBezTo>
                    <a:pt x="7" y="54"/>
                    <a:pt x="9" y="55"/>
                    <a:pt x="10" y="53"/>
                  </a:cubicBezTo>
                  <a:cubicBezTo>
                    <a:pt x="11" y="49"/>
                    <a:pt x="21" y="53"/>
                    <a:pt x="21" y="50"/>
                  </a:cubicBezTo>
                  <a:cubicBezTo>
                    <a:pt x="21" y="47"/>
                    <a:pt x="32" y="48"/>
                    <a:pt x="32" y="44"/>
                  </a:cubicBezTo>
                  <a:cubicBezTo>
                    <a:pt x="32" y="41"/>
                    <a:pt x="38" y="34"/>
                    <a:pt x="42" y="35"/>
                  </a:cubicBezTo>
                  <a:cubicBezTo>
                    <a:pt x="46" y="35"/>
                    <a:pt x="42" y="42"/>
                    <a:pt x="47" y="44"/>
                  </a:cubicBezTo>
                  <a:cubicBezTo>
                    <a:pt x="51" y="46"/>
                    <a:pt x="44" y="54"/>
                    <a:pt x="47" y="57"/>
                  </a:cubicBezTo>
                  <a:cubicBezTo>
                    <a:pt x="48" y="58"/>
                    <a:pt x="50" y="58"/>
                    <a:pt x="52" y="58"/>
                  </a:cubicBezTo>
                  <a:cubicBezTo>
                    <a:pt x="54" y="57"/>
                    <a:pt x="56" y="56"/>
                    <a:pt x="58" y="56"/>
                  </a:cubicBezTo>
                  <a:cubicBezTo>
                    <a:pt x="63" y="52"/>
                    <a:pt x="69" y="46"/>
                    <a:pt x="71" y="4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269864" y="3502855"/>
              <a:ext cx="22744" cy="47384"/>
            </a:xfrm>
            <a:custGeom>
              <a:avLst/>
              <a:gdLst/>
              <a:ahLst/>
              <a:cxnLst>
                <a:cxn ang="0">
                  <a:pos x="8" y="19"/>
                </a:cxn>
                <a:cxn ang="0">
                  <a:pos x="4" y="15"/>
                </a:cxn>
                <a:cxn ang="0">
                  <a:pos x="0" y="7"/>
                </a:cxn>
                <a:cxn ang="0">
                  <a:pos x="4" y="4"/>
                </a:cxn>
                <a:cxn ang="0">
                  <a:pos x="5" y="12"/>
                </a:cxn>
                <a:cxn ang="0">
                  <a:pos x="8" y="19"/>
                </a:cxn>
              </a:cxnLst>
              <a:rect l="0" t="0" r="r" b="b"/>
              <a:pathLst>
                <a:path w="10" h="21">
                  <a:moveTo>
                    <a:pt x="8" y="19"/>
                  </a:moveTo>
                  <a:cubicBezTo>
                    <a:pt x="8" y="21"/>
                    <a:pt x="4" y="17"/>
                    <a:pt x="4" y="15"/>
                  </a:cubicBezTo>
                  <a:cubicBezTo>
                    <a:pt x="4" y="12"/>
                    <a:pt x="0" y="12"/>
                    <a:pt x="0" y="7"/>
                  </a:cubicBezTo>
                  <a:cubicBezTo>
                    <a:pt x="0" y="3"/>
                    <a:pt x="2" y="0"/>
                    <a:pt x="4" y="4"/>
                  </a:cubicBezTo>
                  <a:cubicBezTo>
                    <a:pt x="7" y="8"/>
                    <a:pt x="5" y="10"/>
                    <a:pt x="5" y="12"/>
                  </a:cubicBezTo>
                  <a:cubicBezTo>
                    <a:pt x="6" y="14"/>
                    <a:pt x="10" y="17"/>
                    <a:pt x="8" y="1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6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3694422" y="3893296"/>
              <a:ext cx="30326" cy="24640"/>
            </a:xfrm>
            <a:custGeom>
              <a:avLst/>
              <a:gdLst/>
              <a:ahLst/>
              <a:cxnLst>
                <a:cxn ang="0">
                  <a:pos x="3" y="10"/>
                </a:cxn>
                <a:cxn ang="0">
                  <a:pos x="2" y="4"/>
                </a:cxn>
                <a:cxn ang="0">
                  <a:pos x="11" y="2"/>
                </a:cxn>
                <a:cxn ang="0">
                  <a:pos x="11" y="8"/>
                </a:cxn>
                <a:cxn ang="0">
                  <a:pos x="3" y="10"/>
                </a:cxn>
              </a:cxnLst>
              <a:rect l="0" t="0" r="r" b="b"/>
              <a:pathLst>
                <a:path w="13" h="11">
                  <a:moveTo>
                    <a:pt x="3" y="10"/>
                  </a:moveTo>
                  <a:cubicBezTo>
                    <a:pt x="1" y="8"/>
                    <a:pt x="5" y="5"/>
                    <a:pt x="2" y="4"/>
                  </a:cubicBezTo>
                  <a:cubicBezTo>
                    <a:pt x="0" y="3"/>
                    <a:pt x="8" y="0"/>
                    <a:pt x="11" y="2"/>
                  </a:cubicBezTo>
                  <a:cubicBezTo>
                    <a:pt x="13" y="4"/>
                    <a:pt x="13" y="7"/>
                    <a:pt x="11" y="8"/>
                  </a:cubicBezTo>
                  <a:cubicBezTo>
                    <a:pt x="9" y="9"/>
                    <a:pt x="4" y="11"/>
                    <a:pt x="3" y="1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408558" y="3038495"/>
              <a:ext cx="85291" cy="73919"/>
            </a:xfrm>
            <a:custGeom>
              <a:avLst/>
              <a:gdLst/>
              <a:ahLst/>
              <a:cxnLst>
                <a:cxn ang="0">
                  <a:pos x="35" y="26"/>
                </a:cxn>
                <a:cxn ang="0">
                  <a:pos x="28" y="17"/>
                </a:cxn>
                <a:cxn ang="0">
                  <a:pos x="24" y="8"/>
                </a:cxn>
                <a:cxn ang="0">
                  <a:pos x="21" y="2"/>
                </a:cxn>
                <a:cxn ang="0">
                  <a:pos x="11" y="1"/>
                </a:cxn>
                <a:cxn ang="0">
                  <a:pos x="0" y="3"/>
                </a:cxn>
                <a:cxn ang="0">
                  <a:pos x="2" y="12"/>
                </a:cxn>
                <a:cxn ang="0">
                  <a:pos x="11" y="16"/>
                </a:cxn>
                <a:cxn ang="0">
                  <a:pos x="13" y="20"/>
                </a:cxn>
                <a:cxn ang="0">
                  <a:pos x="14" y="20"/>
                </a:cxn>
                <a:cxn ang="0">
                  <a:pos x="17" y="22"/>
                </a:cxn>
                <a:cxn ang="0">
                  <a:pos x="22" y="25"/>
                </a:cxn>
                <a:cxn ang="0">
                  <a:pos x="28" y="27"/>
                </a:cxn>
                <a:cxn ang="0">
                  <a:pos x="30" y="33"/>
                </a:cxn>
                <a:cxn ang="0">
                  <a:pos x="37" y="31"/>
                </a:cxn>
                <a:cxn ang="0">
                  <a:pos x="35" y="26"/>
                </a:cxn>
              </a:cxnLst>
              <a:rect l="0" t="0" r="r" b="b"/>
              <a:pathLst>
                <a:path w="37" h="33">
                  <a:moveTo>
                    <a:pt x="35" y="26"/>
                  </a:moveTo>
                  <a:cubicBezTo>
                    <a:pt x="35" y="23"/>
                    <a:pt x="28" y="21"/>
                    <a:pt x="28" y="17"/>
                  </a:cubicBezTo>
                  <a:cubicBezTo>
                    <a:pt x="28" y="14"/>
                    <a:pt x="23" y="11"/>
                    <a:pt x="24" y="8"/>
                  </a:cubicBezTo>
                  <a:cubicBezTo>
                    <a:pt x="24" y="6"/>
                    <a:pt x="22" y="4"/>
                    <a:pt x="21" y="2"/>
                  </a:cubicBezTo>
                  <a:cubicBezTo>
                    <a:pt x="18" y="1"/>
                    <a:pt x="14" y="0"/>
                    <a:pt x="11" y="1"/>
                  </a:cubicBezTo>
                  <a:cubicBezTo>
                    <a:pt x="7" y="1"/>
                    <a:pt x="4" y="2"/>
                    <a:pt x="0" y="3"/>
                  </a:cubicBezTo>
                  <a:cubicBezTo>
                    <a:pt x="2" y="6"/>
                    <a:pt x="0" y="7"/>
                    <a:pt x="2" y="12"/>
                  </a:cubicBezTo>
                  <a:cubicBezTo>
                    <a:pt x="4" y="17"/>
                    <a:pt x="9" y="14"/>
                    <a:pt x="11" y="16"/>
                  </a:cubicBezTo>
                  <a:cubicBezTo>
                    <a:pt x="11" y="16"/>
                    <a:pt x="12" y="18"/>
                    <a:pt x="13" y="20"/>
                  </a:cubicBezTo>
                  <a:cubicBezTo>
                    <a:pt x="13" y="20"/>
                    <a:pt x="13" y="20"/>
                    <a:pt x="14" y="20"/>
                  </a:cubicBezTo>
                  <a:cubicBezTo>
                    <a:pt x="16" y="20"/>
                    <a:pt x="16" y="21"/>
                    <a:pt x="17" y="22"/>
                  </a:cubicBezTo>
                  <a:cubicBezTo>
                    <a:pt x="19" y="23"/>
                    <a:pt x="21" y="24"/>
                    <a:pt x="22" y="25"/>
                  </a:cubicBezTo>
                  <a:cubicBezTo>
                    <a:pt x="24" y="25"/>
                    <a:pt x="25" y="23"/>
                    <a:pt x="28" y="27"/>
                  </a:cubicBezTo>
                  <a:cubicBezTo>
                    <a:pt x="30" y="29"/>
                    <a:pt x="30" y="30"/>
                    <a:pt x="30" y="33"/>
                  </a:cubicBezTo>
                  <a:cubicBezTo>
                    <a:pt x="33" y="33"/>
                    <a:pt x="35" y="32"/>
                    <a:pt x="37" y="31"/>
                  </a:cubicBezTo>
                  <a:cubicBezTo>
                    <a:pt x="36" y="29"/>
                    <a:pt x="35" y="27"/>
                    <a:pt x="35" y="26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1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6448361" y="3021437"/>
              <a:ext cx="126989" cy="104245"/>
            </a:xfrm>
            <a:custGeom>
              <a:avLst/>
              <a:gdLst/>
              <a:ahLst/>
              <a:cxnLst>
                <a:cxn ang="0">
                  <a:pos x="53" y="15"/>
                </a:cxn>
                <a:cxn ang="0">
                  <a:pos x="43" y="2"/>
                </a:cxn>
                <a:cxn ang="0">
                  <a:pos x="35" y="8"/>
                </a:cxn>
                <a:cxn ang="0">
                  <a:pos x="30" y="8"/>
                </a:cxn>
                <a:cxn ang="0">
                  <a:pos x="22" y="2"/>
                </a:cxn>
                <a:cxn ang="0">
                  <a:pos x="18" y="0"/>
                </a:cxn>
                <a:cxn ang="0">
                  <a:pos x="16" y="4"/>
                </a:cxn>
                <a:cxn ang="0">
                  <a:pos x="20" y="9"/>
                </a:cxn>
                <a:cxn ang="0">
                  <a:pos x="11" y="9"/>
                </a:cxn>
                <a:cxn ang="0">
                  <a:pos x="3" y="6"/>
                </a:cxn>
                <a:cxn ang="0">
                  <a:pos x="7" y="15"/>
                </a:cxn>
                <a:cxn ang="0">
                  <a:pos x="11" y="24"/>
                </a:cxn>
                <a:cxn ang="0">
                  <a:pos x="18" y="33"/>
                </a:cxn>
                <a:cxn ang="0">
                  <a:pos x="20" y="38"/>
                </a:cxn>
                <a:cxn ang="0">
                  <a:pos x="34" y="30"/>
                </a:cxn>
                <a:cxn ang="0">
                  <a:pos x="36" y="40"/>
                </a:cxn>
                <a:cxn ang="0">
                  <a:pos x="44" y="46"/>
                </a:cxn>
                <a:cxn ang="0">
                  <a:pos x="46" y="39"/>
                </a:cxn>
                <a:cxn ang="0">
                  <a:pos x="53" y="15"/>
                </a:cxn>
                <a:cxn ang="0">
                  <a:pos x="5" y="32"/>
                </a:cxn>
                <a:cxn ang="0">
                  <a:pos x="0" y="29"/>
                </a:cxn>
                <a:cxn ang="0">
                  <a:pos x="3" y="35"/>
                </a:cxn>
                <a:cxn ang="0">
                  <a:pos x="11" y="40"/>
                </a:cxn>
                <a:cxn ang="0">
                  <a:pos x="13" y="40"/>
                </a:cxn>
                <a:cxn ang="0">
                  <a:pos x="11" y="34"/>
                </a:cxn>
                <a:cxn ang="0">
                  <a:pos x="5" y="32"/>
                </a:cxn>
              </a:cxnLst>
              <a:rect l="0" t="0" r="r" b="b"/>
              <a:pathLst>
                <a:path w="56" h="46">
                  <a:moveTo>
                    <a:pt x="53" y="15"/>
                  </a:moveTo>
                  <a:cubicBezTo>
                    <a:pt x="51" y="13"/>
                    <a:pt x="47" y="8"/>
                    <a:pt x="43" y="2"/>
                  </a:cubicBezTo>
                  <a:cubicBezTo>
                    <a:pt x="41" y="6"/>
                    <a:pt x="36" y="5"/>
                    <a:pt x="35" y="8"/>
                  </a:cubicBezTo>
                  <a:cubicBezTo>
                    <a:pt x="34" y="10"/>
                    <a:pt x="32" y="7"/>
                    <a:pt x="30" y="8"/>
                  </a:cubicBezTo>
                  <a:cubicBezTo>
                    <a:pt x="29" y="8"/>
                    <a:pt x="25" y="2"/>
                    <a:pt x="22" y="2"/>
                  </a:cubicBezTo>
                  <a:cubicBezTo>
                    <a:pt x="21" y="1"/>
                    <a:pt x="20" y="1"/>
                    <a:pt x="18" y="0"/>
                  </a:cubicBezTo>
                  <a:cubicBezTo>
                    <a:pt x="17" y="2"/>
                    <a:pt x="16" y="3"/>
                    <a:pt x="16" y="4"/>
                  </a:cubicBezTo>
                  <a:cubicBezTo>
                    <a:pt x="17" y="6"/>
                    <a:pt x="21" y="8"/>
                    <a:pt x="20" y="9"/>
                  </a:cubicBezTo>
                  <a:cubicBezTo>
                    <a:pt x="18" y="11"/>
                    <a:pt x="13" y="10"/>
                    <a:pt x="11" y="9"/>
                  </a:cubicBezTo>
                  <a:cubicBezTo>
                    <a:pt x="9" y="7"/>
                    <a:pt x="4" y="4"/>
                    <a:pt x="3" y="6"/>
                  </a:cubicBezTo>
                  <a:cubicBezTo>
                    <a:pt x="2" y="8"/>
                    <a:pt x="8" y="13"/>
                    <a:pt x="7" y="15"/>
                  </a:cubicBezTo>
                  <a:cubicBezTo>
                    <a:pt x="6" y="18"/>
                    <a:pt x="11" y="21"/>
                    <a:pt x="11" y="24"/>
                  </a:cubicBezTo>
                  <a:cubicBezTo>
                    <a:pt x="11" y="28"/>
                    <a:pt x="18" y="30"/>
                    <a:pt x="18" y="33"/>
                  </a:cubicBezTo>
                  <a:cubicBezTo>
                    <a:pt x="18" y="34"/>
                    <a:pt x="19" y="36"/>
                    <a:pt x="20" y="38"/>
                  </a:cubicBezTo>
                  <a:cubicBezTo>
                    <a:pt x="26" y="36"/>
                    <a:pt x="30" y="32"/>
                    <a:pt x="34" y="30"/>
                  </a:cubicBezTo>
                  <a:cubicBezTo>
                    <a:pt x="39" y="27"/>
                    <a:pt x="37" y="38"/>
                    <a:pt x="36" y="40"/>
                  </a:cubicBezTo>
                  <a:cubicBezTo>
                    <a:pt x="35" y="41"/>
                    <a:pt x="40" y="44"/>
                    <a:pt x="44" y="46"/>
                  </a:cubicBezTo>
                  <a:cubicBezTo>
                    <a:pt x="44" y="43"/>
                    <a:pt x="44" y="41"/>
                    <a:pt x="46" y="39"/>
                  </a:cubicBezTo>
                  <a:cubicBezTo>
                    <a:pt x="52" y="32"/>
                    <a:pt x="56" y="21"/>
                    <a:pt x="53" y="15"/>
                  </a:cubicBezTo>
                  <a:close/>
                  <a:moveTo>
                    <a:pt x="5" y="32"/>
                  </a:moveTo>
                  <a:cubicBezTo>
                    <a:pt x="4" y="31"/>
                    <a:pt x="2" y="30"/>
                    <a:pt x="0" y="29"/>
                  </a:cubicBezTo>
                  <a:cubicBezTo>
                    <a:pt x="0" y="31"/>
                    <a:pt x="0" y="34"/>
                    <a:pt x="3" y="35"/>
                  </a:cubicBezTo>
                  <a:cubicBezTo>
                    <a:pt x="8" y="37"/>
                    <a:pt x="1" y="38"/>
                    <a:pt x="11" y="40"/>
                  </a:cubicBezTo>
                  <a:cubicBezTo>
                    <a:pt x="12" y="40"/>
                    <a:pt x="12" y="40"/>
                    <a:pt x="13" y="40"/>
                  </a:cubicBezTo>
                  <a:cubicBezTo>
                    <a:pt x="13" y="37"/>
                    <a:pt x="13" y="36"/>
                    <a:pt x="11" y="34"/>
                  </a:cubicBezTo>
                  <a:cubicBezTo>
                    <a:pt x="8" y="30"/>
                    <a:pt x="7" y="32"/>
                    <a:pt x="5" y="32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2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855860" y="3129471"/>
              <a:ext cx="369593" cy="263454"/>
            </a:xfrm>
            <a:custGeom>
              <a:avLst/>
              <a:gdLst/>
              <a:ahLst/>
              <a:cxnLst>
                <a:cxn ang="0">
                  <a:pos x="156" y="17"/>
                </a:cxn>
                <a:cxn ang="0">
                  <a:pos x="152" y="13"/>
                </a:cxn>
                <a:cxn ang="0">
                  <a:pos x="139" y="22"/>
                </a:cxn>
                <a:cxn ang="0">
                  <a:pos x="134" y="24"/>
                </a:cxn>
                <a:cxn ang="0">
                  <a:pos x="128" y="23"/>
                </a:cxn>
                <a:cxn ang="0">
                  <a:pos x="128" y="10"/>
                </a:cxn>
                <a:cxn ang="0">
                  <a:pos x="123" y="1"/>
                </a:cxn>
                <a:cxn ang="0">
                  <a:pos x="113" y="10"/>
                </a:cxn>
                <a:cxn ang="0">
                  <a:pos x="102" y="16"/>
                </a:cxn>
                <a:cxn ang="0">
                  <a:pos x="91" y="19"/>
                </a:cxn>
                <a:cxn ang="0">
                  <a:pos x="81" y="16"/>
                </a:cxn>
                <a:cxn ang="0">
                  <a:pos x="72" y="13"/>
                </a:cxn>
                <a:cxn ang="0">
                  <a:pos x="62" y="11"/>
                </a:cxn>
                <a:cxn ang="0">
                  <a:pos x="53" y="17"/>
                </a:cxn>
                <a:cxn ang="0">
                  <a:pos x="47" y="28"/>
                </a:cxn>
                <a:cxn ang="0">
                  <a:pos x="31" y="37"/>
                </a:cxn>
                <a:cxn ang="0">
                  <a:pos x="21" y="41"/>
                </a:cxn>
                <a:cxn ang="0">
                  <a:pos x="13" y="38"/>
                </a:cxn>
                <a:cxn ang="0">
                  <a:pos x="8" y="44"/>
                </a:cxn>
                <a:cxn ang="0">
                  <a:pos x="3" y="53"/>
                </a:cxn>
                <a:cxn ang="0">
                  <a:pos x="2" y="62"/>
                </a:cxn>
                <a:cxn ang="0">
                  <a:pos x="2" y="74"/>
                </a:cxn>
                <a:cxn ang="0">
                  <a:pos x="4" y="87"/>
                </a:cxn>
                <a:cxn ang="0">
                  <a:pos x="15" y="93"/>
                </a:cxn>
                <a:cxn ang="0">
                  <a:pos x="3" y="109"/>
                </a:cxn>
                <a:cxn ang="0">
                  <a:pos x="6" y="113"/>
                </a:cxn>
                <a:cxn ang="0">
                  <a:pos x="23" y="115"/>
                </a:cxn>
                <a:cxn ang="0">
                  <a:pos x="68" y="109"/>
                </a:cxn>
                <a:cxn ang="0">
                  <a:pos x="67" y="98"/>
                </a:cxn>
                <a:cxn ang="0">
                  <a:pos x="76" y="93"/>
                </a:cxn>
                <a:cxn ang="0">
                  <a:pos x="84" y="91"/>
                </a:cxn>
                <a:cxn ang="0">
                  <a:pos x="96" y="87"/>
                </a:cxn>
                <a:cxn ang="0">
                  <a:pos x="101" y="82"/>
                </a:cxn>
                <a:cxn ang="0">
                  <a:pos x="105" y="70"/>
                </a:cxn>
                <a:cxn ang="0">
                  <a:pos x="113" y="65"/>
                </a:cxn>
                <a:cxn ang="0">
                  <a:pos x="109" y="58"/>
                </a:cxn>
                <a:cxn ang="0">
                  <a:pos x="122" y="58"/>
                </a:cxn>
                <a:cxn ang="0">
                  <a:pos x="123" y="49"/>
                </a:cxn>
                <a:cxn ang="0">
                  <a:pos x="128" y="41"/>
                </a:cxn>
                <a:cxn ang="0">
                  <a:pos x="126" y="34"/>
                </a:cxn>
                <a:cxn ang="0">
                  <a:pos x="128" y="29"/>
                </a:cxn>
                <a:cxn ang="0">
                  <a:pos x="129" y="28"/>
                </a:cxn>
                <a:cxn ang="0">
                  <a:pos x="135" y="26"/>
                </a:cxn>
                <a:cxn ang="0">
                  <a:pos x="150" y="21"/>
                </a:cxn>
                <a:cxn ang="0">
                  <a:pos x="162" y="18"/>
                </a:cxn>
                <a:cxn ang="0">
                  <a:pos x="156" y="17"/>
                </a:cxn>
              </a:cxnLst>
              <a:rect l="0" t="0" r="r" b="b"/>
              <a:pathLst>
                <a:path w="162" h="116">
                  <a:moveTo>
                    <a:pt x="156" y="17"/>
                  </a:moveTo>
                  <a:cubicBezTo>
                    <a:pt x="154" y="17"/>
                    <a:pt x="154" y="15"/>
                    <a:pt x="152" y="13"/>
                  </a:cubicBezTo>
                  <a:cubicBezTo>
                    <a:pt x="150" y="12"/>
                    <a:pt x="144" y="18"/>
                    <a:pt x="139" y="22"/>
                  </a:cubicBezTo>
                  <a:cubicBezTo>
                    <a:pt x="137" y="22"/>
                    <a:pt x="135" y="23"/>
                    <a:pt x="134" y="24"/>
                  </a:cubicBezTo>
                  <a:cubicBezTo>
                    <a:pt x="131" y="24"/>
                    <a:pt x="129" y="24"/>
                    <a:pt x="128" y="23"/>
                  </a:cubicBezTo>
                  <a:cubicBezTo>
                    <a:pt x="125" y="20"/>
                    <a:pt x="132" y="12"/>
                    <a:pt x="128" y="10"/>
                  </a:cubicBezTo>
                  <a:cubicBezTo>
                    <a:pt x="123" y="8"/>
                    <a:pt x="127" y="1"/>
                    <a:pt x="123" y="1"/>
                  </a:cubicBezTo>
                  <a:cubicBezTo>
                    <a:pt x="119" y="0"/>
                    <a:pt x="113" y="7"/>
                    <a:pt x="113" y="10"/>
                  </a:cubicBezTo>
                  <a:cubicBezTo>
                    <a:pt x="113" y="14"/>
                    <a:pt x="102" y="13"/>
                    <a:pt x="102" y="16"/>
                  </a:cubicBezTo>
                  <a:cubicBezTo>
                    <a:pt x="102" y="19"/>
                    <a:pt x="92" y="15"/>
                    <a:pt x="91" y="19"/>
                  </a:cubicBezTo>
                  <a:cubicBezTo>
                    <a:pt x="89" y="22"/>
                    <a:pt x="84" y="16"/>
                    <a:pt x="81" y="16"/>
                  </a:cubicBezTo>
                  <a:cubicBezTo>
                    <a:pt x="78" y="16"/>
                    <a:pt x="76" y="12"/>
                    <a:pt x="72" y="13"/>
                  </a:cubicBezTo>
                  <a:cubicBezTo>
                    <a:pt x="68" y="14"/>
                    <a:pt x="65" y="12"/>
                    <a:pt x="62" y="11"/>
                  </a:cubicBezTo>
                  <a:cubicBezTo>
                    <a:pt x="59" y="11"/>
                    <a:pt x="57" y="18"/>
                    <a:pt x="53" y="17"/>
                  </a:cubicBezTo>
                  <a:cubicBezTo>
                    <a:pt x="50" y="15"/>
                    <a:pt x="48" y="23"/>
                    <a:pt x="47" y="28"/>
                  </a:cubicBezTo>
                  <a:cubicBezTo>
                    <a:pt x="45" y="32"/>
                    <a:pt x="30" y="32"/>
                    <a:pt x="31" y="37"/>
                  </a:cubicBezTo>
                  <a:cubicBezTo>
                    <a:pt x="31" y="42"/>
                    <a:pt x="22" y="44"/>
                    <a:pt x="21" y="41"/>
                  </a:cubicBezTo>
                  <a:cubicBezTo>
                    <a:pt x="20" y="38"/>
                    <a:pt x="14" y="39"/>
                    <a:pt x="13" y="38"/>
                  </a:cubicBezTo>
                  <a:cubicBezTo>
                    <a:pt x="11" y="38"/>
                    <a:pt x="7" y="39"/>
                    <a:pt x="8" y="44"/>
                  </a:cubicBezTo>
                  <a:cubicBezTo>
                    <a:pt x="8" y="48"/>
                    <a:pt x="4" y="51"/>
                    <a:pt x="3" y="53"/>
                  </a:cubicBezTo>
                  <a:cubicBezTo>
                    <a:pt x="3" y="54"/>
                    <a:pt x="0" y="60"/>
                    <a:pt x="2" y="62"/>
                  </a:cubicBezTo>
                  <a:cubicBezTo>
                    <a:pt x="4" y="65"/>
                    <a:pt x="0" y="70"/>
                    <a:pt x="2" y="74"/>
                  </a:cubicBezTo>
                  <a:cubicBezTo>
                    <a:pt x="4" y="79"/>
                    <a:pt x="3" y="86"/>
                    <a:pt x="4" y="87"/>
                  </a:cubicBezTo>
                  <a:cubicBezTo>
                    <a:pt x="5" y="89"/>
                    <a:pt x="13" y="88"/>
                    <a:pt x="15" y="93"/>
                  </a:cubicBezTo>
                  <a:cubicBezTo>
                    <a:pt x="17" y="98"/>
                    <a:pt x="4" y="107"/>
                    <a:pt x="3" y="109"/>
                  </a:cubicBezTo>
                  <a:cubicBezTo>
                    <a:pt x="3" y="110"/>
                    <a:pt x="4" y="112"/>
                    <a:pt x="6" y="113"/>
                  </a:cubicBezTo>
                  <a:cubicBezTo>
                    <a:pt x="11" y="113"/>
                    <a:pt x="17" y="114"/>
                    <a:pt x="23" y="115"/>
                  </a:cubicBezTo>
                  <a:cubicBezTo>
                    <a:pt x="30" y="116"/>
                    <a:pt x="68" y="111"/>
                    <a:pt x="68" y="109"/>
                  </a:cubicBezTo>
                  <a:cubicBezTo>
                    <a:pt x="69" y="108"/>
                    <a:pt x="67" y="100"/>
                    <a:pt x="67" y="98"/>
                  </a:cubicBezTo>
                  <a:cubicBezTo>
                    <a:pt x="68" y="96"/>
                    <a:pt x="72" y="92"/>
                    <a:pt x="76" y="93"/>
                  </a:cubicBezTo>
                  <a:cubicBezTo>
                    <a:pt x="80" y="93"/>
                    <a:pt x="84" y="94"/>
                    <a:pt x="84" y="91"/>
                  </a:cubicBezTo>
                  <a:cubicBezTo>
                    <a:pt x="84" y="88"/>
                    <a:pt x="95" y="84"/>
                    <a:pt x="96" y="87"/>
                  </a:cubicBezTo>
                  <a:cubicBezTo>
                    <a:pt x="97" y="89"/>
                    <a:pt x="101" y="88"/>
                    <a:pt x="101" y="82"/>
                  </a:cubicBezTo>
                  <a:cubicBezTo>
                    <a:pt x="102" y="75"/>
                    <a:pt x="101" y="70"/>
                    <a:pt x="105" y="70"/>
                  </a:cubicBezTo>
                  <a:cubicBezTo>
                    <a:pt x="109" y="69"/>
                    <a:pt x="113" y="67"/>
                    <a:pt x="113" y="65"/>
                  </a:cubicBezTo>
                  <a:cubicBezTo>
                    <a:pt x="112" y="63"/>
                    <a:pt x="108" y="59"/>
                    <a:pt x="109" y="58"/>
                  </a:cubicBezTo>
                  <a:cubicBezTo>
                    <a:pt x="110" y="56"/>
                    <a:pt x="120" y="61"/>
                    <a:pt x="122" y="58"/>
                  </a:cubicBezTo>
                  <a:cubicBezTo>
                    <a:pt x="123" y="55"/>
                    <a:pt x="121" y="52"/>
                    <a:pt x="123" y="49"/>
                  </a:cubicBezTo>
                  <a:cubicBezTo>
                    <a:pt x="124" y="46"/>
                    <a:pt x="128" y="44"/>
                    <a:pt x="128" y="41"/>
                  </a:cubicBezTo>
                  <a:cubicBezTo>
                    <a:pt x="128" y="38"/>
                    <a:pt x="128" y="37"/>
                    <a:pt x="126" y="34"/>
                  </a:cubicBezTo>
                  <a:cubicBezTo>
                    <a:pt x="124" y="32"/>
                    <a:pt x="125" y="29"/>
                    <a:pt x="128" y="29"/>
                  </a:cubicBezTo>
                  <a:cubicBezTo>
                    <a:pt x="128" y="28"/>
                    <a:pt x="129" y="28"/>
                    <a:pt x="129" y="28"/>
                  </a:cubicBezTo>
                  <a:cubicBezTo>
                    <a:pt x="132" y="27"/>
                    <a:pt x="134" y="27"/>
                    <a:pt x="135" y="26"/>
                  </a:cubicBezTo>
                  <a:cubicBezTo>
                    <a:pt x="139" y="23"/>
                    <a:pt x="147" y="20"/>
                    <a:pt x="150" y="21"/>
                  </a:cubicBezTo>
                  <a:cubicBezTo>
                    <a:pt x="153" y="22"/>
                    <a:pt x="158" y="21"/>
                    <a:pt x="162" y="18"/>
                  </a:cubicBezTo>
                  <a:cubicBezTo>
                    <a:pt x="160" y="17"/>
                    <a:pt x="157" y="16"/>
                    <a:pt x="156" y="1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871023" y="3169274"/>
              <a:ext cx="424558" cy="382860"/>
            </a:xfrm>
            <a:custGeom>
              <a:avLst/>
              <a:gdLst/>
              <a:ahLst/>
              <a:cxnLst>
                <a:cxn ang="0">
                  <a:pos x="172" y="9"/>
                </a:cxn>
                <a:cxn ang="0">
                  <a:pos x="158" y="1"/>
                </a:cxn>
                <a:cxn ang="0">
                  <a:pos x="144" y="3"/>
                </a:cxn>
                <a:cxn ang="0">
                  <a:pos x="123" y="10"/>
                </a:cxn>
                <a:cxn ang="0">
                  <a:pos x="120" y="16"/>
                </a:cxn>
                <a:cxn ang="0">
                  <a:pos x="117" y="31"/>
                </a:cxn>
                <a:cxn ang="0">
                  <a:pos x="103" y="40"/>
                </a:cxn>
                <a:cxn ang="0">
                  <a:pos x="99" y="52"/>
                </a:cxn>
                <a:cxn ang="0">
                  <a:pos x="90" y="69"/>
                </a:cxn>
                <a:cxn ang="0">
                  <a:pos x="70" y="75"/>
                </a:cxn>
                <a:cxn ang="0">
                  <a:pos x="62" y="91"/>
                </a:cxn>
                <a:cxn ang="0">
                  <a:pos x="0" y="95"/>
                </a:cxn>
                <a:cxn ang="0">
                  <a:pos x="17" y="111"/>
                </a:cxn>
                <a:cxn ang="0">
                  <a:pos x="25" y="132"/>
                </a:cxn>
                <a:cxn ang="0">
                  <a:pos x="7" y="146"/>
                </a:cxn>
                <a:cxn ang="0">
                  <a:pos x="29" y="148"/>
                </a:cxn>
                <a:cxn ang="0">
                  <a:pos x="55" y="146"/>
                </a:cxn>
                <a:cxn ang="0">
                  <a:pos x="70" y="155"/>
                </a:cxn>
                <a:cxn ang="0">
                  <a:pos x="82" y="167"/>
                </a:cxn>
                <a:cxn ang="0">
                  <a:pos x="84" y="167"/>
                </a:cxn>
                <a:cxn ang="0">
                  <a:pos x="105" y="160"/>
                </a:cxn>
                <a:cxn ang="0">
                  <a:pos x="110" y="147"/>
                </a:cxn>
                <a:cxn ang="0">
                  <a:pos x="98" y="128"/>
                </a:cxn>
                <a:cxn ang="0">
                  <a:pos x="114" y="118"/>
                </a:cxn>
                <a:cxn ang="0">
                  <a:pos x="128" y="109"/>
                </a:cxn>
                <a:cxn ang="0">
                  <a:pos x="142" y="91"/>
                </a:cxn>
                <a:cxn ang="0">
                  <a:pos x="154" y="80"/>
                </a:cxn>
                <a:cxn ang="0">
                  <a:pos x="162" y="63"/>
                </a:cxn>
                <a:cxn ang="0">
                  <a:pos x="150" y="47"/>
                </a:cxn>
                <a:cxn ang="0">
                  <a:pos x="154" y="30"/>
                </a:cxn>
                <a:cxn ang="0">
                  <a:pos x="182" y="29"/>
                </a:cxn>
                <a:cxn ang="0">
                  <a:pos x="177" y="17"/>
                </a:cxn>
              </a:cxnLst>
              <a:rect l="0" t="0" r="r" b="b"/>
              <a:pathLst>
                <a:path w="186" h="168">
                  <a:moveTo>
                    <a:pt x="177" y="17"/>
                  </a:moveTo>
                  <a:cubicBezTo>
                    <a:pt x="172" y="15"/>
                    <a:pt x="172" y="10"/>
                    <a:pt x="172" y="9"/>
                  </a:cubicBezTo>
                  <a:cubicBezTo>
                    <a:pt x="172" y="7"/>
                    <a:pt x="166" y="4"/>
                    <a:pt x="161" y="0"/>
                  </a:cubicBezTo>
                  <a:cubicBezTo>
                    <a:pt x="161" y="1"/>
                    <a:pt x="159" y="1"/>
                    <a:pt x="158" y="1"/>
                  </a:cubicBezTo>
                  <a:cubicBezTo>
                    <a:pt x="157" y="1"/>
                    <a:pt x="157" y="0"/>
                    <a:pt x="156" y="0"/>
                  </a:cubicBezTo>
                  <a:cubicBezTo>
                    <a:pt x="152" y="3"/>
                    <a:pt x="147" y="4"/>
                    <a:pt x="144" y="3"/>
                  </a:cubicBezTo>
                  <a:cubicBezTo>
                    <a:pt x="141" y="2"/>
                    <a:pt x="133" y="5"/>
                    <a:pt x="129" y="8"/>
                  </a:cubicBezTo>
                  <a:cubicBezTo>
                    <a:pt x="128" y="9"/>
                    <a:pt x="126" y="9"/>
                    <a:pt x="123" y="10"/>
                  </a:cubicBezTo>
                  <a:cubicBezTo>
                    <a:pt x="123" y="10"/>
                    <a:pt x="122" y="10"/>
                    <a:pt x="122" y="11"/>
                  </a:cubicBezTo>
                  <a:cubicBezTo>
                    <a:pt x="119" y="11"/>
                    <a:pt x="118" y="14"/>
                    <a:pt x="120" y="16"/>
                  </a:cubicBezTo>
                  <a:cubicBezTo>
                    <a:pt x="122" y="19"/>
                    <a:pt x="122" y="20"/>
                    <a:pt x="122" y="23"/>
                  </a:cubicBezTo>
                  <a:cubicBezTo>
                    <a:pt x="122" y="26"/>
                    <a:pt x="118" y="28"/>
                    <a:pt x="117" y="31"/>
                  </a:cubicBezTo>
                  <a:cubicBezTo>
                    <a:pt x="115" y="34"/>
                    <a:pt x="117" y="37"/>
                    <a:pt x="116" y="40"/>
                  </a:cubicBezTo>
                  <a:cubicBezTo>
                    <a:pt x="114" y="43"/>
                    <a:pt x="104" y="38"/>
                    <a:pt x="103" y="40"/>
                  </a:cubicBezTo>
                  <a:cubicBezTo>
                    <a:pt x="102" y="41"/>
                    <a:pt x="106" y="45"/>
                    <a:pt x="107" y="47"/>
                  </a:cubicBezTo>
                  <a:cubicBezTo>
                    <a:pt x="107" y="49"/>
                    <a:pt x="103" y="51"/>
                    <a:pt x="99" y="52"/>
                  </a:cubicBezTo>
                  <a:cubicBezTo>
                    <a:pt x="95" y="52"/>
                    <a:pt x="96" y="57"/>
                    <a:pt x="95" y="64"/>
                  </a:cubicBezTo>
                  <a:cubicBezTo>
                    <a:pt x="95" y="70"/>
                    <a:pt x="91" y="71"/>
                    <a:pt x="90" y="69"/>
                  </a:cubicBezTo>
                  <a:cubicBezTo>
                    <a:pt x="89" y="66"/>
                    <a:pt x="78" y="70"/>
                    <a:pt x="78" y="73"/>
                  </a:cubicBezTo>
                  <a:cubicBezTo>
                    <a:pt x="78" y="76"/>
                    <a:pt x="74" y="75"/>
                    <a:pt x="70" y="75"/>
                  </a:cubicBezTo>
                  <a:cubicBezTo>
                    <a:pt x="66" y="74"/>
                    <a:pt x="62" y="78"/>
                    <a:pt x="61" y="80"/>
                  </a:cubicBezTo>
                  <a:cubicBezTo>
                    <a:pt x="61" y="82"/>
                    <a:pt x="63" y="90"/>
                    <a:pt x="62" y="91"/>
                  </a:cubicBezTo>
                  <a:cubicBezTo>
                    <a:pt x="62" y="93"/>
                    <a:pt x="24" y="98"/>
                    <a:pt x="17" y="97"/>
                  </a:cubicBezTo>
                  <a:cubicBezTo>
                    <a:pt x="11" y="96"/>
                    <a:pt x="5" y="95"/>
                    <a:pt x="0" y="95"/>
                  </a:cubicBezTo>
                  <a:cubicBezTo>
                    <a:pt x="2" y="97"/>
                    <a:pt x="4" y="99"/>
                    <a:pt x="5" y="101"/>
                  </a:cubicBezTo>
                  <a:cubicBezTo>
                    <a:pt x="6" y="105"/>
                    <a:pt x="11" y="109"/>
                    <a:pt x="17" y="111"/>
                  </a:cubicBezTo>
                  <a:cubicBezTo>
                    <a:pt x="22" y="113"/>
                    <a:pt x="19" y="122"/>
                    <a:pt x="22" y="123"/>
                  </a:cubicBezTo>
                  <a:cubicBezTo>
                    <a:pt x="25" y="124"/>
                    <a:pt x="28" y="131"/>
                    <a:pt x="25" y="132"/>
                  </a:cubicBezTo>
                  <a:cubicBezTo>
                    <a:pt x="21" y="132"/>
                    <a:pt x="18" y="133"/>
                    <a:pt x="14" y="135"/>
                  </a:cubicBezTo>
                  <a:cubicBezTo>
                    <a:pt x="11" y="137"/>
                    <a:pt x="7" y="141"/>
                    <a:pt x="7" y="146"/>
                  </a:cubicBezTo>
                  <a:cubicBezTo>
                    <a:pt x="7" y="147"/>
                    <a:pt x="7" y="148"/>
                    <a:pt x="7" y="149"/>
                  </a:cubicBezTo>
                  <a:cubicBezTo>
                    <a:pt x="17" y="149"/>
                    <a:pt x="27" y="149"/>
                    <a:pt x="29" y="148"/>
                  </a:cubicBezTo>
                  <a:cubicBezTo>
                    <a:pt x="30" y="146"/>
                    <a:pt x="35" y="145"/>
                    <a:pt x="37" y="146"/>
                  </a:cubicBezTo>
                  <a:cubicBezTo>
                    <a:pt x="40" y="148"/>
                    <a:pt x="51" y="149"/>
                    <a:pt x="55" y="146"/>
                  </a:cubicBezTo>
                  <a:cubicBezTo>
                    <a:pt x="61" y="143"/>
                    <a:pt x="64" y="146"/>
                    <a:pt x="64" y="149"/>
                  </a:cubicBezTo>
                  <a:cubicBezTo>
                    <a:pt x="65" y="152"/>
                    <a:pt x="67" y="153"/>
                    <a:pt x="70" y="155"/>
                  </a:cubicBezTo>
                  <a:cubicBezTo>
                    <a:pt x="72" y="157"/>
                    <a:pt x="70" y="160"/>
                    <a:pt x="72" y="163"/>
                  </a:cubicBezTo>
                  <a:cubicBezTo>
                    <a:pt x="74" y="165"/>
                    <a:pt x="77" y="165"/>
                    <a:pt x="82" y="167"/>
                  </a:cubicBezTo>
                  <a:cubicBezTo>
                    <a:pt x="82" y="167"/>
                    <a:pt x="83" y="168"/>
                    <a:pt x="83" y="168"/>
                  </a:cubicBezTo>
                  <a:cubicBezTo>
                    <a:pt x="84" y="168"/>
                    <a:pt x="84" y="168"/>
                    <a:pt x="84" y="167"/>
                  </a:cubicBezTo>
                  <a:cubicBezTo>
                    <a:pt x="87" y="164"/>
                    <a:pt x="87" y="159"/>
                    <a:pt x="94" y="160"/>
                  </a:cubicBezTo>
                  <a:cubicBezTo>
                    <a:pt x="102" y="162"/>
                    <a:pt x="101" y="159"/>
                    <a:pt x="105" y="160"/>
                  </a:cubicBezTo>
                  <a:cubicBezTo>
                    <a:pt x="109" y="161"/>
                    <a:pt x="112" y="160"/>
                    <a:pt x="114" y="158"/>
                  </a:cubicBezTo>
                  <a:cubicBezTo>
                    <a:pt x="115" y="155"/>
                    <a:pt x="112" y="150"/>
                    <a:pt x="110" y="147"/>
                  </a:cubicBezTo>
                  <a:cubicBezTo>
                    <a:pt x="107" y="145"/>
                    <a:pt x="104" y="140"/>
                    <a:pt x="105" y="136"/>
                  </a:cubicBezTo>
                  <a:cubicBezTo>
                    <a:pt x="105" y="131"/>
                    <a:pt x="98" y="131"/>
                    <a:pt x="98" y="128"/>
                  </a:cubicBezTo>
                  <a:cubicBezTo>
                    <a:pt x="98" y="124"/>
                    <a:pt x="105" y="118"/>
                    <a:pt x="106" y="117"/>
                  </a:cubicBezTo>
                  <a:cubicBezTo>
                    <a:pt x="107" y="116"/>
                    <a:pt x="113" y="121"/>
                    <a:pt x="114" y="118"/>
                  </a:cubicBezTo>
                  <a:cubicBezTo>
                    <a:pt x="116" y="115"/>
                    <a:pt x="120" y="117"/>
                    <a:pt x="122" y="117"/>
                  </a:cubicBezTo>
                  <a:cubicBezTo>
                    <a:pt x="124" y="118"/>
                    <a:pt x="128" y="113"/>
                    <a:pt x="128" y="109"/>
                  </a:cubicBezTo>
                  <a:cubicBezTo>
                    <a:pt x="129" y="105"/>
                    <a:pt x="136" y="105"/>
                    <a:pt x="138" y="103"/>
                  </a:cubicBezTo>
                  <a:cubicBezTo>
                    <a:pt x="139" y="102"/>
                    <a:pt x="141" y="93"/>
                    <a:pt x="142" y="91"/>
                  </a:cubicBezTo>
                  <a:cubicBezTo>
                    <a:pt x="143" y="89"/>
                    <a:pt x="149" y="91"/>
                    <a:pt x="149" y="86"/>
                  </a:cubicBezTo>
                  <a:cubicBezTo>
                    <a:pt x="149" y="81"/>
                    <a:pt x="151" y="80"/>
                    <a:pt x="154" y="80"/>
                  </a:cubicBezTo>
                  <a:cubicBezTo>
                    <a:pt x="157" y="79"/>
                    <a:pt x="156" y="75"/>
                    <a:pt x="156" y="71"/>
                  </a:cubicBezTo>
                  <a:cubicBezTo>
                    <a:pt x="157" y="68"/>
                    <a:pt x="159" y="64"/>
                    <a:pt x="162" y="63"/>
                  </a:cubicBezTo>
                  <a:cubicBezTo>
                    <a:pt x="166" y="62"/>
                    <a:pt x="161" y="57"/>
                    <a:pt x="157" y="58"/>
                  </a:cubicBezTo>
                  <a:cubicBezTo>
                    <a:pt x="153" y="59"/>
                    <a:pt x="150" y="47"/>
                    <a:pt x="150" y="47"/>
                  </a:cubicBezTo>
                  <a:cubicBezTo>
                    <a:pt x="150" y="47"/>
                    <a:pt x="151" y="38"/>
                    <a:pt x="148" y="36"/>
                  </a:cubicBezTo>
                  <a:cubicBezTo>
                    <a:pt x="146" y="35"/>
                    <a:pt x="149" y="30"/>
                    <a:pt x="154" y="30"/>
                  </a:cubicBezTo>
                  <a:cubicBezTo>
                    <a:pt x="159" y="30"/>
                    <a:pt x="168" y="36"/>
                    <a:pt x="171" y="33"/>
                  </a:cubicBezTo>
                  <a:cubicBezTo>
                    <a:pt x="174" y="31"/>
                    <a:pt x="180" y="30"/>
                    <a:pt x="182" y="29"/>
                  </a:cubicBezTo>
                  <a:cubicBezTo>
                    <a:pt x="183" y="28"/>
                    <a:pt x="185" y="24"/>
                    <a:pt x="186" y="22"/>
                  </a:cubicBezTo>
                  <a:cubicBezTo>
                    <a:pt x="184" y="21"/>
                    <a:pt x="181" y="19"/>
                    <a:pt x="177" y="1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4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7722034" y="4025971"/>
              <a:ext cx="1184592" cy="430244"/>
            </a:xfrm>
            <a:custGeom>
              <a:avLst/>
              <a:gdLst/>
              <a:ahLst/>
              <a:cxnLst>
                <a:cxn ang="0">
                  <a:pos x="38" y="80"/>
                </a:cxn>
                <a:cxn ang="0">
                  <a:pos x="147" y="101"/>
                </a:cxn>
                <a:cxn ang="0">
                  <a:pos x="22" y="52"/>
                </a:cxn>
                <a:cxn ang="0">
                  <a:pos x="278" y="134"/>
                </a:cxn>
                <a:cxn ang="0">
                  <a:pos x="290" y="107"/>
                </a:cxn>
                <a:cxn ang="0">
                  <a:pos x="306" y="111"/>
                </a:cxn>
                <a:cxn ang="0">
                  <a:pos x="317" y="76"/>
                </a:cxn>
                <a:cxn ang="0">
                  <a:pos x="318" y="63"/>
                </a:cxn>
                <a:cxn ang="0">
                  <a:pos x="297" y="53"/>
                </a:cxn>
                <a:cxn ang="0">
                  <a:pos x="266" y="97"/>
                </a:cxn>
                <a:cxn ang="0">
                  <a:pos x="123" y="106"/>
                </a:cxn>
                <a:cxn ang="0">
                  <a:pos x="118" y="87"/>
                </a:cxn>
                <a:cxn ang="0">
                  <a:pos x="114" y="95"/>
                </a:cxn>
                <a:cxn ang="0">
                  <a:pos x="95" y="71"/>
                </a:cxn>
                <a:cxn ang="0">
                  <a:pos x="78" y="50"/>
                </a:cxn>
                <a:cxn ang="0">
                  <a:pos x="52" y="34"/>
                </a:cxn>
                <a:cxn ang="0">
                  <a:pos x="2" y="5"/>
                </a:cxn>
                <a:cxn ang="0">
                  <a:pos x="45" y="65"/>
                </a:cxn>
                <a:cxn ang="0">
                  <a:pos x="99" y="128"/>
                </a:cxn>
                <a:cxn ang="0">
                  <a:pos x="121" y="117"/>
                </a:cxn>
                <a:cxn ang="0">
                  <a:pos x="373" y="53"/>
                </a:cxn>
                <a:cxn ang="0">
                  <a:pos x="376" y="64"/>
                </a:cxn>
                <a:cxn ang="0">
                  <a:pos x="348" y="106"/>
                </a:cxn>
                <a:cxn ang="0">
                  <a:pos x="277" y="167"/>
                </a:cxn>
                <a:cxn ang="0">
                  <a:pos x="322" y="162"/>
                </a:cxn>
                <a:cxn ang="0">
                  <a:pos x="387" y="107"/>
                </a:cxn>
                <a:cxn ang="0">
                  <a:pos x="218" y="158"/>
                </a:cxn>
                <a:cxn ang="0">
                  <a:pos x="196" y="147"/>
                </a:cxn>
                <a:cxn ang="0">
                  <a:pos x="122" y="138"/>
                </a:cxn>
                <a:cxn ang="0">
                  <a:pos x="131" y="153"/>
                </a:cxn>
                <a:cxn ang="0">
                  <a:pos x="201" y="164"/>
                </a:cxn>
                <a:cxn ang="0">
                  <a:pos x="218" y="158"/>
                </a:cxn>
                <a:cxn ang="0">
                  <a:pos x="452" y="106"/>
                </a:cxn>
                <a:cxn ang="0">
                  <a:pos x="404" y="82"/>
                </a:cxn>
                <a:cxn ang="0">
                  <a:pos x="435" y="94"/>
                </a:cxn>
                <a:cxn ang="0">
                  <a:pos x="417" y="101"/>
                </a:cxn>
                <a:cxn ang="0">
                  <a:pos x="444" y="114"/>
                </a:cxn>
                <a:cxn ang="0">
                  <a:pos x="492" y="143"/>
                </a:cxn>
                <a:cxn ang="0">
                  <a:pos x="507" y="161"/>
                </a:cxn>
                <a:cxn ang="0">
                  <a:pos x="480" y="86"/>
                </a:cxn>
                <a:cxn ang="0">
                  <a:pos x="330" y="175"/>
                </a:cxn>
                <a:cxn ang="0">
                  <a:pos x="336" y="177"/>
                </a:cxn>
                <a:cxn ang="0">
                  <a:pos x="339" y="174"/>
                </a:cxn>
                <a:cxn ang="0">
                  <a:pos x="250" y="67"/>
                </a:cxn>
                <a:cxn ang="0">
                  <a:pos x="255" y="39"/>
                </a:cxn>
                <a:cxn ang="0">
                  <a:pos x="254" y="20"/>
                </a:cxn>
                <a:cxn ang="0">
                  <a:pos x="225" y="36"/>
                </a:cxn>
                <a:cxn ang="0">
                  <a:pos x="201" y="51"/>
                </a:cxn>
                <a:cxn ang="0">
                  <a:pos x="165" y="52"/>
                </a:cxn>
                <a:cxn ang="0">
                  <a:pos x="153" y="61"/>
                </a:cxn>
                <a:cxn ang="0">
                  <a:pos x="180" y="103"/>
                </a:cxn>
                <a:cxn ang="0">
                  <a:pos x="218" y="112"/>
                </a:cxn>
                <a:cxn ang="0">
                  <a:pos x="268" y="178"/>
                </a:cxn>
                <a:cxn ang="0">
                  <a:pos x="268" y="178"/>
                </a:cxn>
                <a:cxn ang="0">
                  <a:pos x="236" y="169"/>
                </a:cxn>
                <a:cxn ang="0">
                  <a:pos x="251" y="161"/>
                </a:cxn>
              </a:cxnLst>
              <a:rect l="0" t="0" r="r" b="b"/>
              <a:pathLst>
                <a:path w="519" h="189">
                  <a:moveTo>
                    <a:pt x="38" y="80"/>
                  </a:moveTo>
                  <a:cubicBezTo>
                    <a:pt x="37" y="82"/>
                    <a:pt x="41" y="89"/>
                    <a:pt x="43" y="87"/>
                  </a:cubicBezTo>
                  <a:cubicBezTo>
                    <a:pt x="46" y="85"/>
                    <a:pt x="40" y="75"/>
                    <a:pt x="38" y="80"/>
                  </a:cubicBezTo>
                  <a:close/>
                  <a:moveTo>
                    <a:pt x="147" y="101"/>
                  </a:moveTo>
                  <a:cubicBezTo>
                    <a:pt x="147" y="98"/>
                    <a:pt x="138" y="99"/>
                    <a:pt x="141" y="103"/>
                  </a:cubicBezTo>
                  <a:cubicBezTo>
                    <a:pt x="144" y="108"/>
                    <a:pt x="147" y="104"/>
                    <a:pt x="147" y="101"/>
                  </a:cubicBezTo>
                  <a:close/>
                  <a:moveTo>
                    <a:pt x="22" y="52"/>
                  </a:moveTo>
                  <a:cubicBezTo>
                    <a:pt x="21" y="55"/>
                    <a:pt x="25" y="65"/>
                    <a:pt x="29" y="61"/>
                  </a:cubicBezTo>
                  <a:cubicBezTo>
                    <a:pt x="33" y="57"/>
                    <a:pt x="22" y="48"/>
                    <a:pt x="22" y="52"/>
                  </a:cubicBezTo>
                  <a:close/>
                  <a:moveTo>
                    <a:pt x="273" y="109"/>
                  </a:moveTo>
                  <a:cubicBezTo>
                    <a:pt x="278" y="109"/>
                    <a:pt x="278" y="116"/>
                    <a:pt x="277" y="121"/>
                  </a:cubicBezTo>
                  <a:cubicBezTo>
                    <a:pt x="276" y="125"/>
                    <a:pt x="274" y="135"/>
                    <a:pt x="278" y="134"/>
                  </a:cubicBezTo>
                  <a:cubicBezTo>
                    <a:pt x="283" y="132"/>
                    <a:pt x="287" y="125"/>
                    <a:pt x="284" y="123"/>
                  </a:cubicBezTo>
                  <a:cubicBezTo>
                    <a:pt x="281" y="120"/>
                    <a:pt x="281" y="106"/>
                    <a:pt x="282" y="102"/>
                  </a:cubicBezTo>
                  <a:cubicBezTo>
                    <a:pt x="284" y="98"/>
                    <a:pt x="293" y="101"/>
                    <a:pt x="290" y="107"/>
                  </a:cubicBezTo>
                  <a:cubicBezTo>
                    <a:pt x="287" y="112"/>
                    <a:pt x="295" y="112"/>
                    <a:pt x="295" y="118"/>
                  </a:cubicBezTo>
                  <a:cubicBezTo>
                    <a:pt x="295" y="124"/>
                    <a:pt x="300" y="121"/>
                    <a:pt x="306" y="119"/>
                  </a:cubicBezTo>
                  <a:cubicBezTo>
                    <a:pt x="311" y="118"/>
                    <a:pt x="310" y="115"/>
                    <a:pt x="306" y="111"/>
                  </a:cubicBezTo>
                  <a:cubicBezTo>
                    <a:pt x="303" y="107"/>
                    <a:pt x="309" y="101"/>
                    <a:pt x="304" y="98"/>
                  </a:cubicBezTo>
                  <a:cubicBezTo>
                    <a:pt x="299" y="94"/>
                    <a:pt x="296" y="89"/>
                    <a:pt x="300" y="88"/>
                  </a:cubicBezTo>
                  <a:cubicBezTo>
                    <a:pt x="305" y="87"/>
                    <a:pt x="319" y="79"/>
                    <a:pt x="317" y="76"/>
                  </a:cubicBezTo>
                  <a:cubicBezTo>
                    <a:pt x="316" y="73"/>
                    <a:pt x="296" y="77"/>
                    <a:pt x="294" y="83"/>
                  </a:cubicBezTo>
                  <a:cubicBezTo>
                    <a:pt x="293" y="89"/>
                    <a:pt x="279" y="82"/>
                    <a:pt x="280" y="72"/>
                  </a:cubicBezTo>
                  <a:cubicBezTo>
                    <a:pt x="282" y="61"/>
                    <a:pt x="310" y="60"/>
                    <a:pt x="318" y="63"/>
                  </a:cubicBezTo>
                  <a:cubicBezTo>
                    <a:pt x="326" y="67"/>
                    <a:pt x="334" y="57"/>
                    <a:pt x="337" y="52"/>
                  </a:cubicBezTo>
                  <a:cubicBezTo>
                    <a:pt x="340" y="46"/>
                    <a:pt x="331" y="53"/>
                    <a:pt x="325" y="56"/>
                  </a:cubicBezTo>
                  <a:cubicBezTo>
                    <a:pt x="320" y="60"/>
                    <a:pt x="305" y="56"/>
                    <a:pt x="297" y="53"/>
                  </a:cubicBezTo>
                  <a:cubicBezTo>
                    <a:pt x="289" y="51"/>
                    <a:pt x="290" y="58"/>
                    <a:pt x="283" y="59"/>
                  </a:cubicBezTo>
                  <a:cubicBezTo>
                    <a:pt x="277" y="60"/>
                    <a:pt x="278" y="74"/>
                    <a:pt x="275" y="76"/>
                  </a:cubicBezTo>
                  <a:cubicBezTo>
                    <a:pt x="272" y="77"/>
                    <a:pt x="272" y="88"/>
                    <a:pt x="266" y="97"/>
                  </a:cubicBezTo>
                  <a:cubicBezTo>
                    <a:pt x="260" y="107"/>
                    <a:pt x="268" y="108"/>
                    <a:pt x="273" y="109"/>
                  </a:cubicBezTo>
                  <a:close/>
                  <a:moveTo>
                    <a:pt x="121" y="117"/>
                  </a:moveTo>
                  <a:cubicBezTo>
                    <a:pt x="121" y="113"/>
                    <a:pt x="123" y="108"/>
                    <a:pt x="123" y="106"/>
                  </a:cubicBezTo>
                  <a:cubicBezTo>
                    <a:pt x="123" y="103"/>
                    <a:pt x="124" y="102"/>
                    <a:pt x="127" y="103"/>
                  </a:cubicBezTo>
                  <a:cubicBezTo>
                    <a:pt x="130" y="104"/>
                    <a:pt x="130" y="97"/>
                    <a:pt x="128" y="96"/>
                  </a:cubicBezTo>
                  <a:cubicBezTo>
                    <a:pt x="125" y="95"/>
                    <a:pt x="124" y="87"/>
                    <a:pt x="118" y="87"/>
                  </a:cubicBezTo>
                  <a:cubicBezTo>
                    <a:pt x="113" y="87"/>
                    <a:pt x="114" y="92"/>
                    <a:pt x="117" y="92"/>
                  </a:cubicBezTo>
                  <a:cubicBezTo>
                    <a:pt x="120" y="92"/>
                    <a:pt x="122" y="95"/>
                    <a:pt x="121" y="97"/>
                  </a:cubicBezTo>
                  <a:cubicBezTo>
                    <a:pt x="120" y="100"/>
                    <a:pt x="119" y="95"/>
                    <a:pt x="114" y="95"/>
                  </a:cubicBezTo>
                  <a:cubicBezTo>
                    <a:pt x="110" y="96"/>
                    <a:pt x="113" y="90"/>
                    <a:pt x="107" y="89"/>
                  </a:cubicBezTo>
                  <a:cubicBezTo>
                    <a:pt x="102" y="89"/>
                    <a:pt x="103" y="79"/>
                    <a:pt x="97" y="79"/>
                  </a:cubicBezTo>
                  <a:cubicBezTo>
                    <a:pt x="92" y="79"/>
                    <a:pt x="91" y="75"/>
                    <a:pt x="95" y="71"/>
                  </a:cubicBezTo>
                  <a:cubicBezTo>
                    <a:pt x="99" y="68"/>
                    <a:pt x="89" y="65"/>
                    <a:pt x="89" y="61"/>
                  </a:cubicBezTo>
                  <a:cubicBezTo>
                    <a:pt x="89" y="57"/>
                    <a:pt x="83" y="59"/>
                    <a:pt x="83" y="56"/>
                  </a:cubicBezTo>
                  <a:cubicBezTo>
                    <a:pt x="83" y="53"/>
                    <a:pt x="81" y="54"/>
                    <a:pt x="78" y="50"/>
                  </a:cubicBezTo>
                  <a:cubicBezTo>
                    <a:pt x="75" y="46"/>
                    <a:pt x="73" y="50"/>
                    <a:pt x="71" y="47"/>
                  </a:cubicBezTo>
                  <a:cubicBezTo>
                    <a:pt x="68" y="44"/>
                    <a:pt x="64" y="42"/>
                    <a:pt x="62" y="43"/>
                  </a:cubicBezTo>
                  <a:cubicBezTo>
                    <a:pt x="60" y="44"/>
                    <a:pt x="54" y="39"/>
                    <a:pt x="52" y="34"/>
                  </a:cubicBezTo>
                  <a:cubicBezTo>
                    <a:pt x="51" y="29"/>
                    <a:pt x="35" y="22"/>
                    <a:pt x="33" y="17"/>
                  </a:cubicBezTo>
                  <a:cubicBezTo>
                    <a:pt x="31" y="11"/>
                    <a:pt x="26" y="9"/>
                    <a:pt x="17" y="9"/>
                  </a:cubicBezTo>
                  <a:cubicBezTo>
                    <a:pt x="8" y="9"/>
                    <a:pt x="4" y="0"/>
                    <a:pt x="2" y="5"/>
                  </a:cubicBezTo>
                  <a:cubicBezTo>
                    <a:pt x="0" y="10"/>
                    <a:pt x="12" y="23"/>
                    <a:pt x="18" y="26"/>
                  </a:cubicBezTo>
                  <a:cubicBezTo>
                    <a:pt x="23" y="30"/>
                    <a:pt x="26" y="42"/>
                    <a:pt x="33" y="42"/>
                  </a:cubicBezTo>
                  <a:cubicBezTo>
                    <a:pt x="40" y="43"/>
                    <a:pt x="40" y="64"/>
                    <a:pt x="45" y="65"/>
                  </a:cubicBezTo>
                  <a:cubicBezTo>
                    <a:pt x="50" y="66"/>
                    <a:pt x="61" y="82"/>
                    <a:pt x="63" y="91"/>
                  </a:cubicBezTo>
                  <a:cubicBezTo>
                    <a:pt x="64" y="100"/>
                    <a:pt x="75" y="104"/>
                    <a:pt x="79" y="110"/>
                  </a:cubicBezTo>
                  <a:cubicBezTo>
                    <a:pt x="83" y="117"/>
                    <a:pt x="97" y="125"/>
                    <a:pt x="99" y="128"/>
                  </a:cubicBezTo>
                  <a:cubicBezTo>
                    <a:pt x="101" y="131"/>
                    <a:pt x="103" y="137"/>
                    <a:pt x="105" y="134"/>
                  </a:cubicBezTo>
                  <a:cubicBezTo>
                    <a:pt x="107" y="131"/>
                    <a:pt x="114" y="134"/>
                    <a:pt x="117" y="134"/>
                  </a:cubicBezTo>
                  <a:cubicBezTo>
                    <a:pt x="120" y="134"/>
                    <a:pt x="121" y="122"/>
                    <a:pt x="121" y="117"/>
                  </a:cubicBezTo>
                  <a:close/>
                  <a:moveTo>
                    <a:pt x="376" y="64"/>
                  </a:moveTo>
                  <a:cubicBezTo>
                    <a:pt x="383" y="65"/>
                    <a:pt x="380" y="60"/>
                    <a:pt x="380" y="56"/>
                  </a:cubicBezTo>
                  <a:cubicBezTo>
                    <a:pt x="380" y="51"/>
                    <a:pt x="373" y="55"/>
                    <a:pt x="373" y="53"/>
                  </a:cubicBezTo>
                  <a:cubicBezTo>
                    <a:pt x="373" y="50"/>
                    <a:pt x="371" y="41"/>
                    <a:pt x="365" y="48"/>
                  </a:cubicBezTo>
                  <a:cubicBezTo>
                    <a:pt x="360" y="56"/>
                    <a:pt x="367" y="74"/>
                    <a:pt x="371" y="73"/>
                  </a:cubicBezTo>
                  <a:cubicBezTo>
                    <a:pt x="375" y="72"/>
                    <a:pt x="368" y="63"/>
                    <a:pt x="376" y="64"/>
                  </a:cubicBezTo>
                  <a:close/>
                  <a:moveTo>
                    <a:pt x="348" y="106"/>
                  </a:moveTo>
                  <a:cubicBezTo>
                    <a:pt x="350" y="111"/>
                    <a:pt x="359" y="114"/>
                    <a:pt x="362" y="109"/>
                  </a:cubicBezTo>
                  <a:cubicBezTo>
                    <a:pt x="365" y="105"/>
                    <a:pt x="347" y="99"/>
                    <a:pt x="348" y="106"/>
                  </a:cubicBezTo>
                  <a:close/>
                  <a:moveTo>
                    <a:pt x="322" y="162"/>
                  </a:moveTo>
                  <a:cubicBezTo>
                    <a:pt x="313" y="161"/>
                    <a:pt x="307" y="167"/>
                    <a:pt x="298" y="164"/>
                  </a:cubicBezTo>
                  <a:cubicBezTo>
                    <a:pt x="289" y="161"/>
                    <a:pt x="276" y="164"/>
                    <a:pt x="277" y="167"/>
                  </a:cubicBezTo>
                  <a:cubicBezTo>
                    <a:pt x="278" y="170"/>
                    <a:pt x="286" y="170"/>
                    <a:pt x="295" y="170"/>
                  </a:cubicBezTo>
                  <a:cubicBezTo>
                    <a:pt x="304" y="171"/>
                    <a:pt x="312" y="166"/>
                    <a:pt x="318" y="165"/>
                  </a:cubicBezTo>
                  <a:cubicBezTo>
                    <a:pt x="324" y="165"/>
                    <a:pt x="331" y="163"/>
                    <a:pt x="322" y="162"/>
                  </a:cubicBezTo>
                  <a:close/>
                  <a:moveTo>
                    <a:pt x="393" y="101"/>
                  </a:moveTo>
                  <a:cubicBezTo>
                    <a:pt x="385" y="98"/>
                    <a:pt x="370" y="100"/>
                    <a:pt x="371" y="105"/>
                  </a:cubicBezTo>
                  <a:cubicBezTo>
                    <a:pt x="373" y="109"/>
                    <a:pt x="380" y="107"/>
                    <a:pt x="387" y="107"/>
                  </a:cubicBezTo>
                  <a:cubicBezTo>
                    <a:pt x="394" y="107"/>
                    <a:pt x="397" y="112"/>
                    <a:pt x="401" y="112"/>
                  </a:cubicBezTo>
                  <a:cubicBezTo>
                    <a:pt x="405" y="112"/>
                    <a:pt x="402" y="104"/>
                    <a:pt x="393" y="101"/>
                  </a:cubicBezTo>
                  <a:close/>
                  <a:moveTo>
                    <a:pt x="218" y="158"/>
                  </a:moveTo>
                  <a:cubicBezTo>
                    <a:pt x="217" y="154"/>
                    <a:pt x="204" y="158"/>
                    <a:pt x="198" y="155"/>
                  </a:cubicBezTo>
                  <a:cubicBezTo>
                    <a:pt x="192" y="153"/>
                    <a:pt x="205" y="150"/>
                    <a:pt x="209" y="148"/>
                  </a:cubicBezTo>
                  <a:cubicBezTo>
                    <a:pt x="214" y="145"/>
                    <a:pt x="207" y="144"/>
                    <a:pt x="196" y="147"/>
                  </a:cubicBezTo>
                  <a:cubicBezTo>
                    <a:pt x="185" y="151"/>
                    <a:pt x="173" y="140"/>
                    <a:pt x="173" y="145"/>
                  </a:cubicBezTo>
                  <a:cubicBezTo>
                    <a:pt x="172" y="149"/>
                    <a:pt x="153" y="143"/>
                    <a:pt x="149" y="139"/>
                  </a:cubicBezTo>
                  <a:cubicBezTo>
                    <a:pt x="144" y="136"/>
                    <a:pt x="126" y="132"/>
                    <a:pt x="122" y="138"/>
                  </a:cubicBezTo>
                  <a:cubicBezTo>
                    <a:pt x="119" y="144"/>
                    <a:pt x="116" y="139"/>
                    <a:pt x="117" y="145"/>
                  </a:cubicBezTo>
                  <a:cubicBezTo>
                    <a:pt x="118" y="149"/>
                    <a:pt x="122" y="146"/>
                    <a:pt x="125" y="146"/>
                  </a:cubicBezTo>
                  <a:cubicBezTo>
                    <a:pt x="128" y="146"/>
                    <a:pt x="127" y="152"/>
                    <a:pt x="131" y="153"/>
                  </a:cubicBezTo>
                  <a:cubicBezTo>
                    <a:pt x="136" y="153"/>
                    <a:pt x="150" y="157"/>
                    <a:pt x="151" y="154"/>
                  </a:cubicBezTo>
                  <a:cubicBezTo>
                    <a:pt x="153" y="151"/>
                    <a:pt x="166" y="154"/>
                    <a:pt x="173" y="160"/>
                  </a:cubicBezTo>
                  <a:cubicBezTo>
                    <a:pt x="179" y="165"/>
                    <a:pt x="195" y="165"/>
                    <a:pt x="201" y="164"/>
                  </a:cubicBezTo>
                  <a:cubicBezTo>
                    <a:pt x="207" y="163"/>
                    <a:pt x="213" y="168"/>
                    <a:pt x="216" y="165"/>
                  </a:cubicBezTo>
                  <a:cubicBezTo>
                    <a:pt x="218" y="162"/>
                    <a:pt x="222" y="170"/>
                    <a:pt x="229" y="165"/>
                  </a:cubicBezTo>
                  <a:cubicBezTo>
                    <a:pt x="236" y="160"/>
                    <a:pt x="218" y="162"/>
                    <a:pt x="218" y="158"/>
                  </a:cubicBezTo>
                  <a:close/>
                  <a:moveTo>
                    <a:pt x="480" y="86"/>
                  </a:moveTo>
                  <a:cubicBezTo>
                    <a:pt x="475" y="86"/>
                    <a:pt x="474" y="95"/>
                    <a:pt x="470" y="95"/>
                  </a:cubicBezTo>
                  <a:cubicBezTo>
                    <a:pt x="466" y="95"/>
                    <a:pt x="460" y="104"/>
                    <a:pt x="452" y="106"/>
                  </a:cubicBezTo>
                  <a:cubicBezTo>
                    <a:pt x="444" y="109"/>
                    <a:pt x="443" y="83"/>
                    <a:pt x="440" y="78"/>
                  </a:cubicBezTo>
                  <a:cubicBezTo>
                    <a:pt x="436" y="73"/>
                    <a:pt x="416" y="69"/>
                    <a:pt x="414" y="75"/>
                  </a:cubicBezTo>
                  <a:cubicBezTo>
                    <a:pt x="412" y="81"/>
                    <a:pt x="405" y="78"/>
                    <a:pt x="404" y="82"/>
                  </a:cubicBezTo>
                  <a:cubicBezTo>
                    <a:pt x="404" y="87"/>
                    <a:pt x="406" y="85"/>
                    <a:pt x="410" y="85"/>
                  </a:cubicBezTo>
                  <a:cubicBezTo>
                    <a:pt x="415" y="85"/>
                    <a:pt x="415" y="89"/>
                    <a:pt x="417" y="93"/>
                  </a:cubicBezTo>
                  <a:cubicBezTo>
                    <a:pt x="419" y="97"/>
                    <a:pt x="431" y="94"/>
                    <a:pt x="435" y="94"/>
                  </a:cubicBezTo>
                  <a:cubicBezTo>
                    <a:pt x="439" y="94"/>
                    <a:pt x="439" y="99"/>
                    <a:pt x="434" y="97"/>
                  </a:cubicBezTo>
                  <a:cubicBezTo>
                    <a:pt x="428" y="95"/>
                    <a:pt x="428" y="100"/>
                    <a:pt x="424" y="99"/>
                  </a:cubicBezTo>
                  <a:cubicBezTo>
                    <a:pt x="420" y="98"/>
                    <a:pt x="415" y="98"/>
                    <a:pt x="417" y="101"/>
                  </a:cubicBezTo>
                  <a:cubicBezTo>
                    <a:pt x="420" y="103"/>
                    <a:pt x="424" y="105"/>
                    <a:pt x="424" y="111"/>
                  </a:cubicBezTo>
                  <a:cubicBezTo>
                    <a:pt x="424" y="116"/>
                    <a:pt x="432" y="115"/>
                    <a:pt x="432" y="111"/>
                  </a:cubicBezTo>
                  <a:cubicBezTo>
                    <a:pt x="432" y="106"/>
                    <a:pt x="436" y="112"/>
                    <a:pt x="444" y="114"/>
                  </a:cubicBezTo>
                  <a:cubicBezTo>
                    <a:pt x="451" y="116"/>
                    <a:pt x="446" y="119"/>
                    <a:pt x="454" y="119"/>
                  </a:cubicBezTo>
                  <a:cubicBezTo>
                    <a:pt x="461" y="120"/>
                    <a:pt x="479" y="125"/>
                    <a:pt x="485" y="130"/>
                  </a:cubicBezTo>
                  <a:cubicBezTo>
                    <a:pt x="492" y="135"/>
                    <a:pt x="487" y="139"/>
                    <a:pt x="492" y="143"/>
                  </a:cubicBezTo>
                  <a:cubicBezTo>
                    <a:pt x="496" y="148"/>
                    <a:pt x="497" y="153"/>
                    <a:pt x="491" y="153"/>
                  </a:cubicBezTo>
                  <a:cubicBezTo>
                    <a:pt x="485" y="153"/>
                    <a:pt x="479" y="159"/>
                    <a:pt x="481" y="162"/>
                  </a:cubicBezTo>
                  <a:cubicBezTo>
                    <a:pt x="482" y="165"/>
                    <a:pt x="502" y="161"/>
                    <a:pt x="507" y="161"/>
                  </a:cubicBezTo>
                  <a:cubicBezTo>
                    <a:pt x="510" y="161"/>
                    <a:pt x="513" y="166"/>
                    <a:pt x="519" y="170"/>
                  </a:cubicBezTo>
                  <a:cubicBezTo>
                    <a:pt x="519" y="99"/>
                    <a:pt x="519" y="99"/>
                    <a:pt x="519" y="99"/>
                  </a:cubicBezTo>
                  <a:cubicBezTo>
                    <a:pt x="504" y="94"/>
                    <a:pt x="484" y="85"/>
                    <a:pt x="480" y="86"/>
                  </a:cubicBezTo>
                  <a:close/>
                  <a:moveTo>
                    <a:pt x="336" y="170"/>
                  </a:moveTo>
                  <a:cubicBezTo>
                    <a:pt x="335" y="171"/>
                    <a:pt x="334" y="171"/>
                    <a:pt x="332" y="172"/>
                  </a:cubicBezTo>
                  <a:cubicBezTo>
                    <a:pt x="332" y="173"/>
                    <a:pt x="331" y="174"/>
                    <a:pt x="330" y="175"/>
                  </a:cubicBezTo>
                  <a:cubicBezTo>
                    <a:pt x="329" y="176"/>
                    <a:pt x="328" y="174"/>
                    <a:pt x="327" y="173"/>
                  </a:cubicBezTo>
                  <a:cubicBezTo>
                    <a:pt x="320" y="175"/>
                    <a:pt x="317" y="183"/>
                    <a:pt x="321" y="186"/>
                  </a:cubicBezTo>
                  <a:cubicBezTo>
                    <a:pt x="326" y="188"/>
                    <a:pt x="332" y="182"/>
                    <a:pt x="336" y="177"/>
                  </a:cubicBezTo>
                  <a:cubicBezTo>
                    <a:pt x="336" y="177"/>
                    <a:pt x="337" y="176"/>
                    <a:pt x="337" y="176"/>
                  </a:cubicBezTo>
                  <a:cubicBezTo>
                    <a:pt x="337" y="175"/>
                    <a:pt x="338" y="175"/>
                    <a:pt x="338" y="174"/>
                  </a:cubicBezTo>
                  <a:cubicBezTo>
                    <a:pt x="338" y="174"/>
                    <a:pt x="339" y="174"/>
                    <a:pt x="339" y="174"/>
                  </a:cubicBezTo>
                  <a:cubicBezTo>
                    <a:pt x="338" y="172"/>
                    <a:pt x="337" y="171"/>
                    <a:pt x="336" y="170"/>
                  </a:cubicBezTo>
                  <a:close/>
                  <a:moveTo>
                    <a:pt x="243" y="84"/>
                  </a:moveTo>
                  <a:cubicBezTo>
                    <a:pt x="249" y="81"/>
                    <a:pt x="250" y="74"/>
                    <a:pt x="250" y="67"/>
                  </a:cubicBezTo>
                  <a:cubicBezTo>
                    <a:pt x="249" y="60"/>
                    <a:pt x="264" y="60"/>
                    <a:pt x="267" y="57"/>
                  </a:cubicBezTo>
                  <a:cubicBezTo>
                    <a:pt x="269" y="55"/>
                    <a:pt x="263" y="50"/>
                    <a:pt x="259" y="48"/>
                  </a:cubicBezTo>
                  <a:cubicBezTo>
                    <a:pt x="255" y="46"/>
                    <a:pt x="258" y="42"/>
                    <a:pt x="255" y="39"/>
                  </a:cubicBezTo>
                  <a:cubicBezTo>
                    <a:pt x="252" y="37"/>
                    <a:pt x="247" y="30"/>
                    <a:pt x="252" y="29"/>
                  </a:cubicBezTo>
                  <a:cubicBezTo>
                    <a:pt x="256" y="29"/>
                    <a:pt x="249" y="23"/>
                    <a:pt x="252" y="21"/>
                  </a:cubicBezTo>
                  <a:cubicBezTo>
                    <a:pt x="253" y="21"/>
                    <a:pt x="253" y="20"/>
                    <a:pt x="254" y="20"/>
                  </a:cubicBezTo>
                  <a:cubicBezTo>
                    <a:pt x="252" y="19"/>
                    <a:pt x="250" y="18"/>
                    <a:pt x="249" y="18"/>
                  </a:cubicBezTo>
                  <a:cubicBezTo>
                    <a:pt x="243" y="18"/>
                    <a:pt x="231" y="17"/>
                    <a:pt x="231" y="26"/>
                  </a:cubicBezTo>
                  <a:cubicBezTo>
                    <a:pt x="232" y="34"/>
                    <a:pt x="224" y="31"/>
                    <a:pt x="225" y="36"/>
                  </a:cubicBezTo>
                  <a:cubicBezTo>
                    <a:pt x="225" y="40"/>
                    <a:pt x="221" y="40"/>
                    <a:pt x="221" y="46"/>
                  </a:cubicBezTo>
                  <a:cubicBezTo>
                    <a:pt x="222" y="52"/>
                    <a:pt x="218" y="50"/>
                    <a:pt x="211" y="53"/>
                  </a:cubicBezTo>
                  <a:cubicBezTo>
                    <a:pt x="205" y="56"/>
                    <a:pt x="207" y="51"/>
                    <a:pt x="201" y="51"/>
                  </a:cubicBezTo>
                  <a:cubicBezTo>
                    <a:pt x="194" y="51"/>
                    <a:pt x="193" y="54"/>
                    <a:pt x="189" y="56"/>
                  </a:cubicBezTo>
                  <a:cubicBezTo>
                    <a:pt x="185" y="57"/>
                    <a:pt x="177" y="55"/>
                    <a:pt x="175" y="57"/>
                  </a:cubicBezTo>
                  <a:cubicBezTo>
                    <a:pt x="172" y="59"/>
                    <a:pt x="168" y="52"/>
                    <a:pt x="165" y="52"/>
                  </a:cubicBezTo>
                  <a:cubicBezTo>
                    <a:pt x="164" y="52"/>
                    <a:pt x="163" y="49"/>
                    <a:pt x="162" y="45"/>
                  </a:cubicBezTo>
                  <a:cubicBezTo>
                    <a:pt x="162" y="45"/>
                    <a:pt x="161" y="45"/>
                    <a:pt x="161" y="45"/>
                  </a:cubicBezTo>
                  <a:cubicBezTo>
                    <a:pt x="156" y="45"/>
                    <a:pt x="149" y="57"/>
                    <a:pt x="153" y="61"/>
                  </a:cubicBezTo>
                  <a:cubicBezTo>
                    <a:pt x="158" y="65"/>
                    <a:pt x="157" y="73"/>
                    <a:pt x="159" y="76"/>
                  </a:cubicBezTo>
                  <a:cubicBezTo>
                    <a:pt x="162" y="80"/>
                    <a:pt x="169" y="81"/>
                    <a:pt x="169" y="88"/>
                  </a:cubicBezTo>
                  <a:cubicBezTo>
                    <a:pt x="169" y="95"/>
                    <a:pt x="175" y="106"/>
                    <a:pt x="180" y="103"/>
                  </a:cubicBezTo>
                  <a:cubicBezTo>
                    <a:pt x="184" y="100"/>
                    <a:pt x="187" y="104"/>
                    <a:pt x="189" y="107"/>
                  </a:cubicBezTo>
                  <a:cubicBezTo>
                    <a:pt x="190" y="110"/>
                    <a:pt x="200" y="105"/>
                    <a:pt x="204" y="105"/>
                  </a:cubicBezTo>
                  <a:cubicBezTo>
                    <a:pt x="207" y="106"/>
                    <a:pt x="217" y="108"/>
                    <a:pt x="218" y="112"/>
                  </a:cubicBezTo>
                  <a:cubicBezTo>
                    <a:pt x="219" y="116"/>
                    <a:pt x="228" y="112"/>
                    <a:pt x="234" y="109"/>
                  </a:cubicBezTo>
                  <a:cubicBezTo>
                    <a:pt x="241" y="107"/>
                    <a:pt x="237" y="88"/>
                    <a:pt x="243" y="84"/>
                  </a:cubicBezTo>
                  <a:close/>
                  <a:moveTo>
                    <a:pt x="268" y="178"/>
                  </a:moveTo>
                  <a:cubicBezTo>
                    <a:pt x="270" y="181"/>
                    <a:pt x="276" y="181"/>
                    <a:pt x="278" y="183"/>
                  </a:cubicBezTo>
                  <a:cubicBezTo>
                    <a:pt x="280" y="185"/>
                    <a:pt x="289" y="189"/>
                    <a:pt x="289" y="183"/>
                  </a:cubicBezTo>
                  <a:cubicBezTo>
                    <a:pt x="289" y="178"/>
                    <a:pt x="266" y="174"/>
                    <a:pt x="268" y="178"/>
                  </a:cubicBezTo>
                  <a:close/>
                  <a:moveTo>
                    <a:pt x="251" y="161"/>
                  </a:moveTo>
                  <a:cubicBezTo>
                    <a:pt x="250" y="164"/>
                    <a:pt x="244" y="165"/>
                    <a:pt x="241" y="163"/>
                  </a:cubicBezTo>
                  <a:cubicBezTo>
                    <a:pt x="238" y="160"/>
                    <a:pt x="234" y="166"/>
                    <a:pt x="236" y="169"/>
                  </a:cubicBezTo>
                  <a:cubicBezTo>
                    <a:pt x="237" y="170"/>
                    <a:pt x="244" y="175"/>
                    <a:pt x="252" y="171"/>
                  </a:cubicBezTo>
                  <a:cubicBezTo>
                    <a:pt x="260" y="167"/>
                    <a:pt x="266" y="171"/>
                    <a:pt x="268" y="167"/>
                  </a:cubicBezTo>
                  <a:cubicBezTo>
                    <a:pt x="270" y="162"/>
                    <a:pt x="253" y="158"/>
                    <a:pt x="251" y="16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5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8468801" y="4389877"/>
              <a:ext cx="83395" cy="36012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0" y="13"/>
                </a:cxn>
                <a:cxn ang="0">
                  <a:pos x="3" y="15"/>
                </a:cxn>
                <a:cxn ang="0">
                  <a:pos x="5" y="12"/>
                </a:cxn>
                <a:cxn ang="0">
                  <a:pos x="4" y="12"/>
                </a:cxn>
                <a:cxn ang="0">
                  <a:pos x="3" y="12"/>
                </a:cxn>
                <a:cxn ang="0">
                  <a:pos x="19" y="3"/>
                </a:cxn>
                <a:cxn ang="0">
                  <a:pos x="10" y="9"/>
                </a:cxn>
                <a:cxn ang="0">
                  <a:pos x="9" y="10"/>
                </a:cxn>
                <a:cxn ang="0">
                  <a:pos x="12" y="14"/>
                </a:cxn>
                <a:cxn ang="0">
                  <a:pos x="36" y="3"/>
                </a:cxn>
                <a:cxn ang="0">
                  <a:pos x="19" y="3"/>
                </a:cxn>
              </a:cxnLst>
              <a:rect l="0" t="0" r="r" b="b"/>
              <a:pathLst>
                <a:path w="37" h="16">
                  <a:moveTo>
                    <a:pt x="3" y="12"/>
                  </a:moveTo>
                  <a:cubicBezTo>
                    <a:pt x="2" y="12"/>
                    <a:pt x="1" y="12"/>
                    <a:pt x="0" y="13"/>
                  </a:cubicBezTo>
                  <a:cubicBezTo>
                    <a:pt x="1" y="14"/>
                    <a:pt x="2" y="16"/>
                    <a:pt x="3" y="15"/>
                  </a:cubicBezTo>
                  <a:cubicBezTo>
                    <a:pt x="4" y="14"/>
                    <a:pt x="5" y="13"/>
                    <a:pt x="5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lose/>
                  <a:moveTo>
                    <a:pt x="19" y="3"/>
                  </a:moveTo>
                  <a:cubicBezTo>
                    <a:pt x="15" y="3"/>
                    <a:pt x="13" y="7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1"/>
                    <a:pt x="11" y="12"/>
                    <a:pt x="12" y="14"/>
                  </a:cubicBezTo>
                  <a:cubicBezTo>
                    <a:pt x="19" y="10"/>
                    <a:pt x="35" y="5"/>
                    <a:pt x="36" y="3"/>
                  </a:cubicBezTo>
                  <a:cubicBezTo>
                    <a:pt x="37" y="0"/>
                    <a:pt x="26" y="4"/>
                    <a:pt x="19" y="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6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37153" y="2860332"/>
              <a:ext cx="87186" cy="47384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7" y="18"/>
                </a:cxn>
                <a:cxn ang="0">
                  <a:pos x="9" y="21"/>
                </a:cxn>
                <a:cxn ang="0">
                  <a:pos x="17" y="20"/>
                </a:cxn>
                <a:cxn ang="0">
                  <a:pos x="24" y="20"/>
                </a:cxn>
                <a:cxn ang="0">
                  <a:pos x="28" y="15"/>
                </a:cxn>
                <a:cxn ang="0">
                  <a:pos x="31" y="9"/>
                </a:cxn>
                <a:cxn ang="0">
                  <a:pos x="38" y="5"/>
                </a:cxn>
                <a:cxn ang="0">
                  <a:pos x="35" y="0"/>
                </a:cxn>
                <a:cxn ang="0">
                  <a:pos x="27" y="3"/>
                </a:cxn>
                <a:cxn ang="0">
                  <a:pos x="18" y="6"/>
                </a:cxn>
                <a:cxn ang="0">
                  <a:pos x="5" y="4"/>
                </a:cxn>
                <a:cxn ang="0">
                  <a:pos x="1" y="4"/>
                </a:cxn>
                <a:cxn ang="0">
                  <a:pos x="0" y="19"/>
                </a:cxn>
              </a:cxnLst>
              <a:rect l="0" t="0" r="r" b="b"/>
              <a:pathLst>
                <a:path w="38" h="21">
                  <a:moveTo>
                    <a:pt x="0" y="19"/>
                  </a:moveTo>
                  <a:cubicBezTo>
                    <a:pt x="3" y="18"/>
                    <a:pt x="6" y="17"/>
                    <a:pt x="7" y="18"/>
                  </a:cubicBezTo>
                  <a:cubicBezTo>
                    <a:pt x="8" y="18"/>
                    <a:pt x="9" y="20"/>
                    <a:pt x="9" y="21"/>
                  </a:cubicBezTo>
                  <a:cubicBezTo>
                    <a:pt x="11" y="21"/>
                    <a:pt x="16" y="20"/>
                    <a:pt x="17" y="20"/>
                  </a:cubicBezTo>
                  <a:cubicBezTo>
                    <a:pt x="19" y="19"/>
                    <a:pt x="24" y="21"/>
                    <a:pt x="24" y="20"/>
                  </a:cubicBezTo>
                  <a:cubicBezTo>
                    <a:pt x="25" y="18"/>
                    <a:pt x="26" y="15"/>
                    <a:pt x="28" y="15"/>
                  </a:cubicBezTo>
                  <a:cubicBezTo>
                    <a:pt x="30" y="15"/>
                    <a:pt x="29" y="10"/>
                    <a:pt x="31" y="9"/>
                  </a:cubicBezTo>
                  <a:cubicBezTo>
                    <a:pt x="33" y="9"/>
                    <a:pt x="38" y="5"/>
                    <a:pt x="38" y="5"/>
                  </a:cubicBezTo>
                  <a:cubicBezTo>
                    <a:pt x="38" y="5"/>
                    <a:pt x="36" y="1"/>
                    <a:pt x="35" y="0"/>
                  </a:cubicBezTo>
                  <a:cubicBezTo>
                    <a:pt x="34" y="0"/>
                    <a:pt x="32" y="3"/>
                    <a:pt x="27" y="3"/>
                  </a:cubicBezTo>
                  <a:cubicBezTo>
                    <a:pt x="23" y="3"/>
                    <a:pt x="20" y="6"/>
                    <a:pt x="18" y="6"/>
                  </a:cubicBezTo>
                  <a:cubicBezTo>
                    <a:pt x="16" y="6"/>
                    <a:pt x="9" y="4"/>
                    <a:pt x="5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7"/>
                    <a:pt x="0" y="13"/>
                    <a:pt x="0" y="1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7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476048" y="2854647"/>
              <a:ext cx="295674" cy="322209"/>
            </a:xfrm>
            <a:custGeom>
              <a:avLst/>
              <a:gdLst/>
              <a:ahLst/>
              <a:cxnLst>
                <a:cxn ang="0">
                  <a:pos x="90" y="122"/>
                </a:cxn>
                <a:cxn ang="0">
                  <a:pos x="77" y="122"/>
                </a:cxn>
                <a:cxn ang="0">
                  <a:pos x="67" y="127"/>
                </a:cxn>
                <a:cxn ang="0">
                  <a:pos x="79" y="133"/>
                </a:cxn>
                <a:cxn ang="0">
                  <a:pos x="92" y="141"/>
                </a:cxn>
                <a:cxn ang="0">
                  <a:pos x="95" y="134"/>
                </a:cxn>
                <a:cxn ang="0">
                  <a:pos x="99" y="123"/>
                </a:cxn>
                <a:cxn ang="0">
                  <a:pos x="90" y="122"/>
                </a:cxn>
                <a:cxn ang="0">
                  <a:pos x="26" y="85"/>
                </a:cxn>
                <a:cxn ang="0">
                  <a:pos x="18" y="87"/>
                </a:cxn>
                <a:cxn ang="0">
                  <a:pos x="22" y="101"/>
                </a:cxn>
                <a:cxn ang="0">
                  <a:pos x="27" y="112"/>
                </a:cxn>
                <a:cxn ang="0">
                  <a:pos x="34" y="107"/>
                </a:cxn>
                <a:cxn ang="0">
                  <a:pos x="36" y="89"/>
                </a:cxn>
                <a:cxn ang="0">
                  <a:pos x="26" y="85"/>
                </a:cxn>
                <a:cxn ang="0">
                  <a:pos x="108" y="79"/>
                </a:cxn>
                <a:cxn ang="0">
                  <a:pos x="99" y="73"/>
                </a:cxn>
                <a:cxn ang="0">
                  <a:pos x="82" y="55"/>
                </a:cxn>
                <a:cxn ang="0">
                  <a:pos x="66" y="38"/>
                </a:cxn>
                <a:cxn ang="0">
                  <a:pos x="66" y="27"/>
                </a:cxn>
                <a:cxn ang="0">
                  <a:pos x="71" y="21"/>
                </a:cxn>
                <a:cxn ang="0">
                  <a:pos x="72" y="6"/>
                </a:cxn>
                <a:cxn ang="0">
                  <a:pos x="66" y="5"/>
                </a:cxn>
                <a:cxn ang="0">
                  <a:pos x="64" y="0"/>
                </a:cxn>
                <a:cxn ang="0">
                  <a:pos x="55" y="1"/>
                </a:cxn>
                <a:cxn ang="0">
                  <a:pos x="48" y="3"/>
                </a:cxn>
                <a:cxn ang="0">
                  <a:pos x="46" y="2"/>
                </a:cxn>
                <a:cxn ang="0">
                  <a:pos x="44" y="5"/>
                </a:cxn>
                <a:cxn ang="0">
                  <a:pos x="42" y="7"/>
                </a:cxn>
                <a:cxn ang="0">
                  <a:pos x="39" y="9"/>
                </a:cxn>
                <a:cxn ang="0">
                  <a:pos x="34" y="10"/>
                </a:cxn>
                <a:cxn ang="0">
                  <a:pos x="30" y="12"/>
                </a:cxn>
                <a:cxn ang="0">
                  <a:pos x="27" y="16"/>
                </a:cxn>
                <a:cxn ang="0">
                  <a:pos x="20" y="9"/>
                </a:cxn>
                <a:cxn ang="0">
                  <a:pos x="15" y="17"/>
                </a:cxn>
                <a:cxn ang="0">
                  <a:pos x="5" y="17"/>
                </a:cxn>
                <a:cxn ang="0">
                  <a:pos x="6" y="23"/>
                </a:cxn>
                <a:cxn ang="0">
                  <a:pos x="4" y="27"/>
                </a:cxn>
                <a:cxn ang="0">
                  <a:pos x="2" y="30"/>
                </a:cxn>
                <a:cxn ang="0">
                  <a:pos x="5" y="36"/>
                </a:cxn>
                <a:cxn ang="0">
                  <a:pos x="8" y="41"/>
                </a:cxn>
                <a:cxn ang="0">
                  <a:pos x="13" y="43"/>
                </a:cxn>
                <a:cxn ang="0">
                  <a:pos x="12" y="47"/>
                </a:cxn>
                <a:cxn ang="0">
                  <a:pos x="17" y="45"/>
                </a:cxn>
                <a:cxn ang="0">
                  <a:pos x="25" y="38"/>
                </a:cxn>
                <a:cxn ang="0">
                  <a:pos x="41" y="45"/>
                </a:cxn>
                <a:cxn ang="0">
                  <a:pos x="44" y="52"/>
                </a:cxn>
                <a:cxn ang="0">
                  <a:pos x="55" y="65"/>
                </a:cxn>
                <a:cxn ang="0">
                  <a:pos x="70" y="79"/>
                </a:cxn>
                <a:cxn ang="0">
                  <a:pos x="81" y="83"/>
                </a:cxn>
                <a:cxn ang="0">
                  <a:pos x="91" y="90"/>
                </a:cxn>
                <a:cxn ang="0">
                  <a:pos x="99" y="96"/>
                </a:cxn>
                <a:cxn ang="0">
                  <a:pos x="103" y="103"/>
                </a:cxn>
                <a:cxn ang="0">
                  <a:pos x="103" y="115"/>
                </a:cxn>
                <a:cxn ang="0">
                  <a:pos x="104" y="124"/>
                </a:cxn>
                <a:cxn ang="0">
                  <a:pos x="109" y="115"/>
                </a:cxn>
                <a:cxn ang="0">
                  <a:pos x="116" y="108"/>
                </a:cxn>
                <a:cxn ang="0">
                  <a:pos x="111" y="99"/>
                </a:cxn>
                <a:cxn ang="0">
                  <a:pos x="121" y="95"/>
                </a:cxn>
                <a:cxn ang="0">
                  <a:pos x="130" y="95"/>
                </a:cxn>
                <a:cxn ang="0">
                  <a:pos x="108" y="79"/>
                </a:cxn>
              </a:cxnLst>
              <a:rect l="0" t="0" r="r" b="b"/>
              <a:pathLst>
                <a:path w="130" h="141">
                  <a:moveTo>
                    <a:pt x="90" y="122"/>
                  </a:moveTo>
                  <a:cubicBezTo>
                    <a:pt x="84" y="124"/>
                    <a:pt x="81" y="124"/>
                    <a:pt x="77" y="122"/>
                  </a:cubicBezTo>
                  <a:cubicBezTo>
                    <a:pt x="73" y="120"/>
                    <a:pt x="66" y="124"/>
                    <a:pt x="67" y="127"/>
                  </a:cubicBezTo>
                  <a:cubicBezTo>
                    <a:pt x="68" y="129"/>
                    <a:pt x="71" y="131"/>
                    <a:pt x="79" y="133"/>
                  </a:cubicBezTo>
                  <a:cubicBezTo>
                    <a:pt x="87" y="135"/>
                    <a:pt x="88" y="141"/>
                    <a:pt x="92" y="141"/>
                  </a:cubicBezTo>
                  <a:cubicBezTo>
                    <a:pt x="95" y="141"/>
                    <a:pt x="96" y="138"/>
                    <a:pt x="95" y="134"/>
                  </a:cubicBezTo>
                  <a:cubicBezTo>
                    <a:pt x="94" y="129"/>
                    <a:pt x="99" y="124"/>
                    <a:pt x="99" y="123"/>
                  </a:cubicBezTo>
                  <a:cubicBezTo>
                    <a:pt x="100" y="122"/>
                    <a:pt x="97" y="121"/>
                    <a:pt x="90" y="122"/>
                  </a:cubicBezTo>
                  <a:close/>
                  <a:moveTo>
                    <a:pt x="26" y="85"/>
                  </a:moveTo>
                  <a:cubicBezTo>
                    <a:pt x="22" y="88"/>
                    <a:pt x="19" y="84"/>
                    <a:pt x="18" y="87"/>
                  </a:cubicBezTo>
                  <a:cubicBezTo>
                    <a:pt x="16" y="90"/>
                    <a:pt x="23" y="95"/>
                    <a:pt x="22" y="101"/>
                  </a:cubicBezTo>
                  <a:cubicBezTo>
                    <a:pt x="20" y="108"/>
                    <a:pt x="23" y="116"/>
                    <a:pt x="27" y="112"/>
                  </a:cubicBezTo>
                  <a:cubicBezTo>
                    <a:pt x="30" y="108"/>
                    <a:pt x="32" y="110"/>
                    <a:pt x="34" y="107"/>
                  </a:cubicBezTo>
                  <a:cubicBezTo>
                    <a:pt x="37" y="104"/>
                    <a:pt x="35" y="94"/>
                    <a:pt x="36" y="89"/>
                  </a:cubicBezTo>
                  <a:cubicBezTo>
                    <a:pt x="38" y="84"/>
                    <a:pt x="30" y="81"/>
                    <a:pt x="26" y="85"/>
                  </a:cubicBezTo>
                  <a:close/>
                  <a:moveTo>
                    <a:pt x="108" y="79"/>
                  </a:moveTo>
                  <a:cubicBezTo>
                    <a:pt x="103" y="77"/>
                    <a:pt x="106" y="72"/>
                    <a:pt x="99" y="73"/>
                  </a:cubicBezTo>
                  <a:cubicBezTo>
                    <a:pt x="92" y="73"/>
                    <a:pt x="84" y="64"/>
                    <a:pt x="82" y="55"/>
                  </a:cubicBezTo>
                  <a:cubicBezTo>
                    <a:pt x="79" y="45"/>
                    <a:pt x="69" y="44"/>
                    <a:pt x="66" y="38"/>
                  </a:cubicBezTo>
                  <a:cubicBezTo>
                    <a:pt x="63" y="33"/>
                    <a:pt x="68" y="32"/>
                    <a:pt x="66" y="27"/>
                  </a:cubicBezTo>
                  <a:cubicBezTo>
                    <a:pt x="65" y="24"/>
                    <a:pt x="68" y="22"/>
                    <a:pt x="71" y="21"/>
                  </a:cubicBezTo>
                  <a:cubicBezTo>
                    <a:pt x="71" y="15"/>
                    <a:pt x="71" y="9"/>
                    <a:pt x="72" y="6"/>
                  </a:cubicBezTo>
                  <a:cubicBezTo>
                    <a:pt x="69" y="5"/>
                    <a:pt x="67" y="5"/>
                    <a:pt x="66" y="5"/>
                  </a:cubicBezTo>
                  <a:cubicBezTo>
                    <a:pt x="65" y="4"/>
                    <a:pt x="64" y="0"/>
                    <a:pt x="64" y="0"/>
                  </a:cubicBezTo>
                  <a:cubicBezTo>
                    <a:pt x="63" y="0"/>
                    <a:pt x="56" y="0"/>
                    <a:pt x="55" y="1"/>
                  </a:cubicBezTo>
                  <a:cubicBezTo>
                    <a:pt x="53" y="2"/>
                    <a:pt x="50" y="5"/>
                    <a:pt x="48" y="3"/>
                  </a:cubicBezTo>
                  <a:cubicBezTo>
                    <a:pt x="47" y="3"/>
                    <a:pt x="47" y="3"/>
                    <a:pt x="46" y="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7"/>
                    <a:pt x="42" y="7"/>
                  </a:cubicBezTo>
                  <a:cubicBezTo>
                    <a:pt x="41" y="7"/>
                    <a:pt x="39" y="6"/>
                    <a:pt x="39" y="9"/>
                  </a:cubicBezTo>
                  <a:cubicBezTo>
                    <a:pt x="39" y="11"/>
                    <a:pt x="35" y="10"/>
                    <a:pt x="34" y="10"/>
                  </a:cubicBezTo>
                  <a:cubicBezTo>
                    <a:pt x="32" y="10"/>
                    <a:pt x="30" y="10"/>
                    <a:pt x="30" y="12"/>
                  </a:cubicBezTo>
                  <a:cubicBezTo>
                    <a:pt x="30" y="14"/>
                    <a:pt x="29" y="19"/>
                    <a:pt x="27" y="16"/>
                  </a:cubicBezTo>
                  <a:cubicBezTo>
                    <a:pt x="24" y="14"/>
                    <a:pt x="21" y="8"/>
                    <a:pt x="20" y="9"/>
                  </a:cubicBezTo>
                  <a:cubicBezTo>
                    <a:pt x="19" y="9"/>
                    <a:pt x="17" y="17"/>
                    <a:pt x="15" y="17"/>
                  </a:cubicBezTo>
                  <a:cubicBezTo>
                    <a:pt x="13" y="17"/>
                    <a:pt x="8" y="17"/>
                    <a:pt x="5" y="17"/>
                  </a:cubicBezTo>
                  <a:cubicBezTo>
                    <a:pt x="4" y="20"/>
                    <a:pt x="5" y="22"/>
                    <a:pt x="6" y="23"/>
                  </a:cubicBezTo>
                  <a:cubicBezTo>
                    <a:pt x="8" y="23"/>
                    <a:pt x="6" y="26"/>
                    <a:pt x="4" y="27"/>
                  </a:cubicBezTo>
                  <a:cubicBezTo>
                    <a:pt x="3" y="28"/>
                    <a:pt x="0" y="27"/>
                    <a:pt x="2" y="30"/>
                  </a:cubicBezTo>
                  <a:cubicBezTo>
                    <a:pt x="4" y="33"/>
                    <a:pt x="7" y="33"/>
                    <a:pt x="5" y="36"/>
                  </a:cubicBezTo>
                  <a:cubicBezTo>
                    <a:pt x="3" y="38"/>
                    <a:pt x="5" y="41"/>
                    <a:pt x="8" y="41"/>
                  </a:cubicBezTo>
                  <a:cubicBezTo>
                    <a:pt x="10" y="41"/>
                    <a:pt x="14" y="41"/>
                    <a:pt x="13" y="43"/>
                  </a:cubicBezTo>
                  <a:cubicBezTo>
                    <a:pt x="12" y="44"/>
                    <a:pt x="12" y="45"/>
                    <a:pt x="12" y="47"/>
                  </a:cubicBezTo>
                  <a:cubicBezTo>
                    <a:pt x="14" y="46"/>
                    <a:pt x="15" y="46"/>
                    <a:pt x="17" y="45"/>
                  </a:cubicBezTo>
                  <a:cubicBezTo>
                    <a:pt x="21" y="43"/>
                    <a:pt x="19" y="40"/>
                    <a:pt x="25" y="38"/>
                  </a:cubicBezTo>
                  <a:cubicBezTo>
                    <a:pt x="31" y="37"/>
                    <a:pt x="38" y="42"/>
                    <a:pt x="41" y="45"/>
                  </a:cubicBezTo>
                  <a:cubicBezTo>
                    <a:pt x="43" y="49"/>
                    <a:pt x="44" y="49"/>
                    <a:pt x="44" y="52"/>
                  </a:cubicBezTo>
                  <a:cubicBezTo>
                    <a:pt x="45" y="55"/>
                    <a:pt x="47" y="60"/>
                    <a:pt x="55" y="65"/>
                  </a:cubicBezTo>
                  <a:cubicBezTo>
                    <a:pt x="63" y="71"/>
                    <a:pt x="66" y="76"/>
                    <a:pt x="70" y="79"/>
                  </a:cubicBezTo>
                  <a:cubicBezTo>
                    <a:pt x="74" y="81"/>
                    <a:pt x="79" y="80"/>
                    <a:pt x="81" y="83"/>
                  </a:cubicBezTo>
                  <a:cubicBezTo>
                    <a:pt x="84" y="86"/>
                    <a:pt x="87" y="88"/>
                    <a:pt x="91" y="90"/>
                  </a:cubicBezTo>
                  <a:cubicBezTo>
                    <a:pt x="95" y="92"/>
                    <a:pt x="95" y="96"/>
                    <a:pt x="99" y="96"/>
                  </a:cubicBezTo>
                  <a:cubicBezTo>
                    <a:pt x="103" y="97"/>
                    <a:pt x="100" y="100"/>
                    <a:pt x="103" y="103"/>
                  </a:cubicBezTo>
                  <a:cubicBezTo>
                    <a:pt x="105" y="106"/>
                    <a:pt x="106" y="112"/>
                    <a:pt x="103" y="115"/>
                  </a:cubicBezTo>
                  <a:cubicBezTo>
                    <a:pt x="101" y="119"/>
                    <a:pt x="102" y="124"/>
                    <a:pt x="104" y="124"/>
                  </a:cubicBezTo>
                  <a:cubicBezTo>
                    <a:pt x="105" y="124"/>
                    <a:pt x="109" y="118"/>
                    <a:pt x="109" y="115"/>
                  </a:cubicBezTo>
                  <a:cubicBezTo>
                    <a:pt x="110" y="112"/>
                    <a:pt x="113" y="112"/>
                    <a:pt x="116" y="108"/>
                  </a:cubicBezTo>
                  <a:cubicBezTo>
                    <a:pt x="118" y="105"/>
                    <a:pt x="112" y="104"/>
                    <a:pt x="111" y="99"/>
                  </a:cubicBezTo>
                  <a:cubicBezTo>
                    <a:pt x="109" y="95"/>
                    <a:pt x="116" y="91"/>
                    <a:pt x="121" y="95"/>
                  </a:cubicBezTo>
                  <a:cubicBezTo>
                    <a:pt x="127" y="98"/>
                    <a:pt x="130" y="101"/>
                    <a:pt x="130" y="95"/>
                  </a:cubicBezTo>
                  <a:cubicBezTo>
                    <a:pt x="130" y="89"/>
                    <a:pt x="112" y="82"/>
                    <a:pt x="108" y="79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771722" y="2974053"/>
              <a:ext cx="32221" cy="3980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" y="8"/>
                </a:cxn>
                <a:cxn ang="0">
                  <a:pos x="0" y="12"/>
                </a:cxn>
                <a:cxn ang="0">
                  <a:pos x="8" y="18"/>
                </a:cxn>
                <a:cxn ang="0">
                  <a:pos x="9" y="18"/>
                </a:cxn>
                <a:cxn ang="0">
                  <a:pos x="14" y="10"/>
                </a:cxn>
                <a:cxn ang="0">
                  <a:pos x="5" y="0"/>
                </a:cxn>
              </a:cxnLst>
              <a:rect l="0" t="0" r="r" b="b"/>
              <a:pathLst>
                <a:path w="14" h="18">
                  <a:moveTo>
                    <a:pt x="5" y="0"/>
                  </a:moveTo>
                  <a:cubicBezTo>
                    <a:pt x="3" y="3"/>
                    <a:pt x="0" y="7"/>
                    <a:pt x="1" y="8"/>
                  </a:cubicBezTo>
                  <a:cubicBezTo>
                    <a:pt x="1" y="9"/>
                    <a:pt x="0" y="10"/>
                    <a:pt x="0" y="12"/>
                  </a:cubicBezTo>
                  <a:cubicBezTo>
                    <a:pt x="3" y="14"/>
                    <a:pt x="6" y="16"/>
                    <a:pt x="8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9" y="14"/>
                    <a:pt x="12" y="10"/>
                    <a:pt x="14" y="10"/>
                  </a:cubicBezTo>
                  <a:cubicBezTo>
                    <a:pt x="11" y="7"/>
                    <a:pt x="7" y="2"/>
                    <a:pt x="5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  <p:sp>
          <p:nvSpPr>
            <p:cNvPr id="17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779303" y="2883076"/>
              <a:ext cx="108035" cy="126989"/>
            </a:xfrm>
            <a:custGeom>
              <a:avLst/>
              <a:gdLst/>
              <a:ahLst/>
              <a:cxnLst>
                <a:cxn ang="0">
                  <a:pos x="41" y="37"/>
                </a:cxn>
                <a:cxn ang="0">
                  <a:pos x="41" y="29"/>
                </a:cxn>
                <a:cxn ang="0">
                  <a:pos x="42" y="23"/>
                </a:cxn>
                <a:cxn ang="0">
                  <a:pos x="29" y="20"/>
                </a:cxn>
                <a:cxn ang="0">
                  <a:pos x="28" y="13"/>
                </a:cxn>
                <a:cxn ang="0">
                  <a:pos x="24" y="9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17" y="1"/>
                </a:cxn>
                <a:cxn ang="0">
                  <a:pos x="12" y="0"/>
                </a:cxn>
                <a:cxn ang="0">
                  <a:pos x="0" y="3"/>
                </a:cxn>
                <a:cxn ang="0">
                  <a:pos x="3" y="10"/>
                </a:cxn>
                <a:cxn ang="0">
                  <a:pos x="7" y="18"/>
                </a:cxn>
                <a:cxn ang="0">
                  <a:pos x="6" y="36"/>
                </a:cxn>
                <a:cxn ang="0">
                  <a:pos x="2" y="40"/>
                </a:cxn>
                <a:cxn ang="0">
                  <a:pos x="11" y="50"/>
                </a:cxn>
                <a:cxn ang="0">
                  <a:pos x="11" y="50"/>
                </a:cxn>
                <a:cxn ang="0">
                  <a:pos x="21" y="56"/>
                </a:cxn>
                <a:cxn ang="0">
                  <a:pos x="41" y="52"/>
                </a:cxn>
                <a:cxn ang="0">
                  <a:pos x="41" y="49"/>
                </a:cxn>
                <a:cxn ang="0">
                  <a:pos x="45" y="44"/>
                </a:cxn>
                <a:cxn ang="0">
                  <a:pos x="41" y="37"/>
                </a:cxn>
              </a:cxnLst>
              <a:rect l="0" t="0" r="r" b="b"/>
              <a:pathLst>
                <a:path w="47" h="56">
                  <a:moveTo>
                    <a:pt x="41" y="37"/>
                  </a:moveTo>
                  <a:cubicBezTo>
                    <a:pt x="39" y="35"/>
                    <a:pt x="39" y="31"/>
                    <a:pt x="41" y="29"/>
                  </a:cubicBezTo>
                  <a:cubicBezTo>
                    <a:pt x="44" y="28"/>
                    <a:pt x="42" y="26"/>
                    <a:pt x="42" y="23"/>
                  </a:cubicBezTo>
                  <a:cubicBezTo>
                    <a:pt x="42" y="21"/>
                    <a:pt x="31" y="20"/>
                    <a:pt x="29" y="20"/>
                  </a:cubicBezTo>
                  <a:cubicBezTo>
                    <a:pt x="27" y="19"/>
                    <a:pt x="30" y="13"/>
                    <a:pt x="28" y="13"/>
                  </a:cubicBezTo>
                  <a:cubicBezTo>
                    <a:pt x="25" y="13"/>
                    <a:pt x="24" y="11"/>
                    <a:pt x="24" y="9"/>
                  </a:cubicBezTo>
                  <a:cubicBezTo>
                    <a:pt x="24" y="7"/>
                    <a:pt x="20" y="3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1"/>
                    <a:pt x="17" y="1"/>
                    <a:pt x="17" y="1"/>
                  </a:cubicBezTo>
                  <a:cubicBezTo>
                    <a:pt x="15" y="1"/>
                    <a:pt x="12" y="0"/>
                    <a:pt x="12" y="0"/>
                  </a:cubicBezTo>
                  <a:cubicBezTo>
                    <a:pt x="12" y="0"/>
                    <a:pt x="5" y="2"/>
                    <a:pt x="0" y="3"/>
                  </a:cubicBezTo>
                  <a:cubicBezTo>
                    <a:pt x="1" y="6"/>
                    <a:pt x="2" y="9"/>
                    <a:pt x="3" y="10"/>
                  </a:cubicBezTo>
                  <a:cubicBezTo>
                    <a:pt x="7" y="11"/>
                    <a:pt x="6" y="15"/>
                    <a:pt x="7" y="18"/>
                  </a:cubicBezTo>
                  <a:cubicBezTo>
                    <a:pt x="8" y="21"/>
                    <a:pt x="8" y="36"/>
                    <a:pt x="6" y="36"/>
                  </a:cubicBezTo>
                  <a:cubicBezTo>
                    <a:pt x="5" y="36"/>
                    <a:pt x="4" y="37"/>
                    <a:pt x="2" y="40"/>
                  </a:cubicBezTo>
                  <a:cubicBezTo>
                    <a:pt x="4" y="42"/>
                    <a:pt x="8" y="47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3" y="50"/>
                    <a:pt x="21" y="56"/>
                    <a:pt x="21" y="56"/>
                  </a:cubicBezTo>
                  <a:cubicBezTo>
                    <a:pt x="21" y="56"/>
                    <a:pt x="33" y="53"/>
                    <a:pt x="41" y="52"/>
                  </a:cubicBezTo>
                  <a:cubicBezTo>
                    <a:pt x="41" y="51"/>
                    <a:pt x="41" y="50"/>
                    <a:pt x="41" y="49"/>
                  </a:cubicBezTo>
                  <a:cubicBezTo>
                    <a:pt x="41" y="47"/>
                    <a:pt x="43" y="44"/>
                    <a:pt x="45" y="44"/>
                  </a:cubicBezTo>
                  <a:cubicBezTo>
                    <a:pt x="47" y="44"/>
                    <a:pt x="44" y="39"/>
                    <a:pt x="41" y="3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造字工房悦黑体验版常规体" pitchFamily="50" charset="-122"/>
              </a:endParaRPr>
            </a:p>
          </p:txBody>
        </p:sp>
      </p:grpSp>
      <p:grpSp>
        <p:nvGrpSpPr>
          <p:cNvPr id="180" name="Group 179出自【趣你的PPT】(微信:qunideppt)：最优质的PPT资源库"/>
          <p:cNvGrpSpPr/>
          <p:nvPr/>
        </p:nvGrpSpPr>
        <p:grpSpPr>
          <a:xfrm>
            <a:off x="8725805" y="2737830"/>
            <a:ext cx="2694744" cy="1156162"/>
            <a:chOff x="8475401" y="3140844"/>
            <a:chExt cx="2694744" cy="1156162"/>
          </a:xfrm>
        </p:grpSpPr>
        <p:cxnSp>
          <p:nvCxnSpPr>
            <p:cNvPr id="181" name="出自【趣你的PPT】(微信:qunideppt)：最优质的PPT资源库"/>
            <p:cNvCxnSpPr/>
            <p:nvPr/>
          </p:nvCxnSpPr>
          <p:spPr>
            <a:xfrm>
              <a:off x="8475401" y="3400506"/>
              <a:ext cx="723109" cy="21796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出自【趣你的PPT】(微信:qunideppt)：最优质的PPT资源库"/>
            <p:cNvSpPr/>
            <p:nvPr/>
          </p:nvSpPr>
          <p:spPr>
            <a:xfrm>
              <a:off x="9196614" y="3140844"/>
              <a:ext cx="1973531" cy="1156162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</a:endParaRPr>
            </a:p>
          </p:txBody>
        </p:sp>
      </p:grpSp>
      <p:sp>
        <p:nvSpPr>
          <p:cNvPr id="183" name="出自【趣你的PPT】(微信:qunideppt)：最优质的PPT资源库"/>
          <p:cNvSpPr txBox="1"/>
          <p:nvPr/>
        </p:nvSpPr>
        <p:spPr>
          <a:xfrm>
            <a:off x="9551971" y="2844865"/>
            <a:ext cx="1751570" cy="430887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1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1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1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" name="出自【趣你的PPT】(微信:qunideppt)：最优质的PPT资源库"/>
          <p:cNvSpPr txBox="1"/>
          <p:nvPr/>
        </p:nvSpPr>
        <p:spPr>
          <a:xfrm>
            <a:off x="9551971" y="3367352"/>
            <a:ext cx="1751570" cy="430887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1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该原创</a:t>
            </a:r>
            <a:r>
              <a:rPr lang="en-US" altLang="zh-CN"/>
              <a:t>PPT</a:t>
            </a:r>
            <a:r>
              <a:rPr lang="zh-CN" altLang="en-US"/>
              <a:t>模板来自公众号：趣你的</a:t>
            </a:r>
            <a:r>
              <a:rPr lang="en-US" altLang="zh-CN"/>
              <a:t>PPT</a:t>
            </a:r>
            <a:r>
              <a:rPr lang="zh-CN" altLang="en-US"/>
              <a:t>。</a:t>
            </a:r>
            <a:endParaRPr lang="en-US" altLang="zh-CN" dirty="0"/>
          </a:p>
        </p:txBody>
      </p:sp>
      <p:sp>
        <p:nvSpPr>
          <p:cNvPr id="187" name="出自【趣你的PPT】(微信:qunideppt)：最优质的PPT资源库"/>
          <p:cNvSpPr>
            <a:spLocks noEditPoints="1"/>
          </p:cNvSpPr>
          <p:nvPr/>
        </p:nvSpPr>
        <p:spPr bwMode="auto">
          <a:xfrm>
            <a:off x="7456904" y="2237458"/>
            <a:ext cx="1544708" cy="1070871"/>
          </a:xfrm>
          <a:custGeom>
            <a:avLst/>
            <a:gdLst/>
            <a:ahLst/>
            <a:cxnLst>
              <a:cxn ang="0">
                <a:pos x="643" y="87"/>
              </a:cxn>
              <a:cxn ang="0">
                <a:pos x="610" y="63"/>
              </a:cxn>
              <a:cxn ang="0">
                <a:pos x="583" y="26"/>
              </a:cxn>
              <a:cxn ang="0">
                <a:pos x="544" y="1"/>
              </a:cxn>
              <a:cxn ang="0">
                <a:pos x="517" y="21"/>
              </a:cxn>
              <a:cxn ang="0">
                <a:pos x="495" y="54"/>
              </a:cxn>
              <a:cxn ang="0">
                <a:pos x="461" y="73"/>
              </a:cxn>
              <a:cxn ang="0">
                <a:pos x="482" y="86"/>
              </a:cxn>
              <a:cxn ang="0">
                <a:pos x="481" y="105"/>
              </a:cxn>
              <a:cxn ang="0">
                <a:pos x="422" y="126"/>
              </a:cxn>
              <a:cxn ang="0">
                <a:pos x="380" y="162"/>
              </a:cxn>
              <a:cxn ang="0">
                <a:pos x="315" y="166"/>
              </a:cxn>
              <a:cxn ang="0">
                <a:pos x="241" y="156"/>
              </a:cxn>
              <a:cxn ang="0">
                <a:pos x="210" y="125"/>
              </a:cxn>
              <a:cxn ang="0">
                <a:pos x="182" y="90"/>
              </a:cxn>
              <a:cxn ang="0">
                <a:pos x="153" y="65"/>
              </a:cxn>
              <a:cxn ang="0">
                <a:pos x="137" y="76"/>
              </a:cxn>
              <a:cxn ang="0">
                <a:pos x="111" y="96"/>
              </a:cxn>
              <a:cxn ang="0">
                <a:pos x="88" y="121"/>
              </a:cxn>
              <a:cxn ang="0">
                <a:pos x="78" y="150"/>
              </a:cxn>
              <a:cxn ang="0">
                <a:pos x="52" y="175"/>
              </a:cxn>
              <a:cxn ang="0">
                <a:pos x="19" y="186"/>
              </a:cxn>
              <a:cxn ang="0">
                <a:pos x="0" y="200"/>
              </a:cxn>
              <a:cxn ang="0">
                <a:pos x="15" y="232"/>
              </a:cxn>
              <a:cxn ang="0">
                <a:pos x="39" y="254"/>
              </a:cxn>
              <a:cxn ang="0">
                <a:pos x="59" y="247"/>
              </a:cxn>
              <a:cxn ang="0">
                <a:pos x="56" y="276"/>
              </a:cxn>
              <a:cxn ang="0">
                <a:pos x="56" y="304"/>
              </a:cxn>
              <a:cxn ang="0">
                <a:pos x="77" y="322"/>
              </a:cxn>
              <a:cxn ang="0">
                <a:pos x="138" y="347"/>
              </a:cxn>
              <a:cxn ang="0">
                <a:pos x="162" y="353"/>
              </a:cxn>
              <a:cxn ang="0">
                <a:pos x="183" y="347"/>
              </a:cxn>
              <a:cxn ang="0">
                <a:pos x="210" y="340"/>
              </a:cxn>
              <a:cxn ang="0">
                <a:pos x="243" y="340"/>
              </a:cxn>
              <a:cxn ang="0">
                <a:pos x="261" y="352"/>
              </a:cxn>
              <a:cxn ang="0">
                <a:pos x="256" y="395"/>
              </a:cxn>
              <a:cxn ang="0">
                <a:pos x="274" y="419"/>
              </a:cxn>
              <a:cxn ang="0">
                <a:pos x="298" y="430"/>
              </a:cxn>
              <a:cxn ang="0">
                <a:pos x="316" y="412"/>
              </a:cxn>
              <a:cxn ang="0">
                <a:pos x="352" y="410"/>
              </a:cxn>
              <a:cxn ang="0">
                <a:pos x="375" y="425"/>
              </a:cxn>
              <a:cxn ang="0">
                <a:pos x="393" y="440"/>
              </a:cxn>
              <a:cxn ang="0">
                <a:pos x="445" y="413"/>
              </a:cxn>
              <a:cxn ang="0">
                <a:pos x="484" y="392"/>
              </a:cxn>
              <a:cxn ang="0">
                <a:pos x="504" y="368"/>
              </a:cxn>
              <a:cxn ang="0">
                <a:pos x="523" y="345"/>
              </a:cxn>
              <a:cxn ang="0">
                <a:pos x="527" y="323"/>
              </a:cxn>
              <a:cxn ang="0">
                <a:pos x="522" y="306"/>
              </a:cxn>
              <a:cxn ang="0">
                <a:pos x="519" y="290"/>
              </a:cxn>
              <a:cxn ang="0">
                <a:pos x="505" y="252"/>
              </a:cxn>
              <a:cxn ang="0">
                <a:pos x="536" y="234"/>
              </a:cxn>
              <a:cxn ang="0">
                <a:pos x="496" y="223"/>
              </a:cxn>
              <a:cxn ang="0">
                <a:pos x="512" y="192"/>
              </a:cxn>
              <a:cxn ang="0">
                <a:pos x="529" y="208"/>
              </a:cxn>
              <a:cxn ang="0">
                <a:pos x="580" y="179"/>
              </a:cxn>
              <a:cxn ang="0">
                <a:pos x="606" y="168"/>
              </a:cxn>
              <a:cxn ang="0">
                <a:pos x="633" y="157"/>
              </a:cxn>
              <a:cxn ang="0">
                <a:pos x="636" y="127"/>
              </a:cxn>
              <a:cxn ang="0">
                <a:pos x="667" y="107"/>
              </a:cxn>
              <a:cxn ang="0">
                <a:pos x="516" y="418"/>
              </a:cxn>
              <a:cxn ang="0">
                <a:pos x="380" y="460"/>
              </a:cxn>
            </a:cxnLst>
            <a:rect l="0" t="0" r="r" b="b"/>
            <a:pathLst>
              <a:path w="677" h="469">
                <a:moveTo>
                  <a:pt x="673" y="83"/>
                </a:moveTo>
                <a:cubicBezTo>
                  <a:pt x="673" y="77"/>
                  <a:pt x="666" y="79"/>
                  <a:pt x="664" y="81"/>
                </a:cubicBezTo>
                <a:cubicBezTo>
                  <a:pt x="662" y="83"/>
                  <a:pt x="655" y="81"/>
                  <a:pt x="653" y="85"/>
                </a:cubicBezTo>
                <a:cubicBezTo>
                  <a:pt x="651" y="89"/>
                  <a:pt x="648" y="87"/>
                  <a:pt x="643" y="87"/>
                </a:cubicBezTo>
                <a:cubicBezTo>
                  <a:pt x="638" y="88"/>
                  <a:pt x="632" y="86"/>
                  <a:pt x="632" y="83"/>
                </a:cubicBezTo>
                <a:cubicBezTo>
                  <a:pt x="632" y="80"/>
                  <a:pt x="629" y="77"/>
                  <a:pt x="630" y="73"/>
                </a:cubicBezTo>
                <a:cubicBezTo>
                  <a:pt x="630" y="70"/>
                  <a:pt x="625" y="71"/>
                  <a:pt x="622" y="68"/>
                </a:cubicBezTo>
                <a:cubicBezTo>
                  <a:pt x="618" y="65"/>
                  <a:pt x="612" y="62"/>
                  <a:pt x="610" y="63"/>
                </a:cubicBezTo>
                <a:cubicBezTo>
                  <a:pt x="609" y="64"/>
                  <a:pt x="605" y="59"/>
                  <a:pt x="599" y="59"/>
                </a:cubicBezTo>
                <a:cubicBezTo>
                  <a:pt x="594" y="59"/>
                  <a:pt x="594" y="55"/>
                  <a:pt x="595" y="53"/>
                </a:cubicBezTo>
                <a:cubicBezTo>
                  <a:pt x="596" y="50"/>
                  <a:pt x="590" y="43"/>
                  <a:pt x="589" y="39"/>
                </a:cubicBezTo>
                <a:cubicBezTo>
                  <a:pt x="588" y="35"/>
                  <a:pt x="584" y="34"/>
                  <a:pt x="583" y="26"/>
                </a:cubicBezTo>
                <a:cubicBezTo>
                  <a:pt x="581" y="17"/>
                  <a:pt x="576" y="19"/>
                  <a:pt x="577" y="15"/>
                </a:cubicBezTo>
                <a:cubicBezTo>
                  <a:pt x="578" y="11"/>
                  <a:pt x="572" y="9"/>
                  <a:pt x="570" y="7"/>
                </a:cubicBezTo>
                <a:cubicBezTo>
                  <a:pt x="568" y="5"/>
                  <a:pt x="561" y="6"/>
                  <a:pt x="556" y="3"/>
                </a:cubicBezTo>
                <a:cubicBezTo>
                  <a:pt x="551" y="0"/>
                  <a:pt x="548" y="2"/>
                  <a:pt x="544" y="1"/>
                </a:cubicBezTo>
                <a:cubicBezTo>
                  <a:pt x="539" y="0"/>
                  <a:pt x="528" y="2"/>
                  <a:pt x="527" y="2"/>
                </a:cubicBezTo>
                <a:cubicBezTo>
                  <a:pt x="526" y="2"/>
                  <a:pt x="517" y="1"/>
                  <a:pt x="513" y="7"/>
                </a:cubicBezTo>
                <a:cubicBezTo>
                  <a:pt x="508" y="13"/>
                  <a:pt x="512" y="13"/>
                  <a:pt x="514" y="13"/>
                </a:cubicBezTo>
                <a:cubicBezTo>
                  <a:pt x="516" y="13"/>
                  <a:pt x="517" y="19"/>
                  <a:pt x="517" y="21"/>
                </a:cubicBezTo>
                <a:cubicBezTo>
                  <a:pt x="517" y="23"/>
                  <a:pt x="514" y="26"/>
                  <a:pt x="512" y="27"/>
                </a:cubicBezTo>
                <a:cubicBezTo>
                  <a:pt x="510" y="27"/>
                  <a:pt x="506" y="35"/>
                  <a:pt x="505" y="37"/>
                </a:cubicBezTo>
                <a:cubicBezTo>
                  <a:pt x="504" y="40"/>
                  <a:pt x="499" y="47"/>
                  <a:pt x="500" y="49"/>
                </a:cubicBezTo>
                <a:cubicBezTo>
                  <a:pt x="500" y="51"/>
                  <a:pt x="497" y="54"/>
                  <a:pt x="495" y="54"/>
                </a:cubicBezTo>
                <a:cubicBezTo>
                  <a:pt x="492" y="54"/>
                  <a:pt x="486" y="59"/>
                  <a:pt x="484" y="60"/>
                </a:cubicBezTo>
                <a:cubicBezTo>
                  <a:pt x="482" y="60"/>
                  <a:pt x="474" y="59"/>
                  <a:pt x="473" y="57"/>
                </a:cubicBezTo>
                <a:cubicBezTo>
                  <a:pt x="473" y="56"/>
                  <a:pt x="472" y="55"/>
                  <a:pt x="471" y="55"/>
                </a:cubicBezTo>
                <a:cubicBezTo>
                  <a:pt x="461" y="73"/>
                  <a:pt x="461" y="73"/>
                  <a:pt x="461" y="73"/>
                </a:cubicBezTo>
                <a:cubicBezTo>
                  <a:pt x="461" y="78"/>
                  <a:pt x="461" y="78"/>
                  <a:pt x="461" y="78"/>
                </a:cubicBezTo>
                <a:cubicBezTo>
                  <a:pt x="461" y="78"/>
                  <a:pt x="455" y="80"/>
                  <a:pt x="459" y="84"/>
                </a:cubicBezTo>
                <a:cubicBezTo>
                  <a:pt x="464" y="89"/>
                  <a:pt x="464" y="85"/>
                  <a:pt x="471" y="85"/>
                </a:cubicBezTo>
                <a:cubicBezTo>
                  <a:pt x="477" y="85"/>
                  <a:pt x="480" y="90"/>
                  <a:pt x="482" y="86"/>
                </a:cubicBezTo>
                <a:cubicBezTo>
                  <a:pt x="483" y="83"/>
                  <a:pt x="489" y="81"/>
                  <a:pt x="493" y="85"/>
                </a:cubicBezTo>
                <a:cubicBezTo>
                  <a:pt x="496" y="89"/>
                  <a:pt x="508" y="97"/>
                  <a:pt x="507" y="100"/>
                </a:cubicBezTo>
                <a:cubicBezTo>
                  <a:pt x="507" y="104"/>
                  <a:pt x="500" y="103"/>
                  <a:pt x="496" y="102"/>
                </a:cubicBezTo>
                <a:cubicBezTo>
                  <a:pt x="491" y="100"/>
                  <a:pt x="485" y="105"/>
                  <a:pt x="481" y="105"/>
                </a:cubicBezTo>
                <a:cubicBezTo>
                  <a:pt x="477" y="105"/>
                  <a:pt x="472" y="106"/>
                  <a:pt x="467" y="110"/>
                </a:cubicBezTo>
                <a:cubicBezTo>
                  <a:pt x="463" y="115"/>
                  <a:pt x="464" y="119"/>
                  <a:pt x="457" y="120"/>
                </a:cubicBezTo>
                <a:cubicBezTo>
                  <a:pt x="451" y="121"/>
                  <a:pt x="448" y="120"/>
                  <a:pt x="440" y="125"/>
                </a:cubicBezTo>
                <a:cubicBezTo>
                  <a:pt x="433" y="130"/>
                  <a:pt x="425" y="128"/>
                  <a:pt x="422" y="126"/>
                </a:cubicBezTo>
                <a:cubicBezTo>
                  <a:pt x="419" y="125"/>
                  <a:pt x="414" y="124"/>
                  <a:pt x="411" y="129"/>
                </a:cubicBezTo>
                <a:cubicBezTo>
                  <a:pt x="408" y="134"/>
                  <a:pt x="415" y="137"/>
                  <a:pt x="414" y="142"/>
                </a:cubicBezTo>
                <a:cubicBezTo>
                  <a:pt x="414" y="148"/>
                  <a:pt x="406" y="147"/>
                  <a:pt x="400" y="153"/>
                </a:cubicBezTo>
                <a:cubicBezTo>
                  <a:pt x="395" y="160"/>
                  <a:pt x="385" y="163"/>
                  <a:pt x="380" y="162"/>
                </a:cubicBezTo>
                <a:cubicBezTo>
                  <a:pt x="375" y="161"/>
                  <a:pt x="364" y="158"/>
                  <a:pt x="355" y="163"/>
                </a:cubicBezTo>
                <a:cubicBezTo>
                  <a:pt x="345" y="167"/>
                  <a:pt x="339" y="174"/>
                  <a:pt x="335" y="173"/>
                </a:cubicBezTo>
                <a:cubicBezTo>
                  <a:pt x="332" y="172"/>
                  <a:pt x="332" y="168"/>
                  <a:pt x="326" y="169"/>
                </a:cubicBezTo>
                <a:cubicBezTo>
                  <a:pt x="321" y="169"/>
                  <a:pt x="318" y="168"/>
                  <a:pt x="315" y="166"/>
                </a:cubicBezTo>
                <a:cubicBezTo>
                  <a:pt x="311" y="163"/>
                  <a:pt x="308" y="167"/>
                  <a:pt x="302" y="163"/>
                </a:cubicBezTo>
                <a:cubicBezTo>
                  <a:pt x="297" y="158"/>
                  <a:pt x="286" y="159"/>
                  <a:pt x="282" y="158"/>
                </a:cubicBezTo>
                <a:cubicBezTo>
                  <a:pt x="278" y="158"/>
                  <a:pt x="261" y="158"/>
                  <a:pt x="255" y="158"/>
                </a:cubicBezTo>
                <a:cubicBezTo>
                  <a:pt x="249" y="157"/>
                  <a:pt x="241" y="159"/>
                  <a:pt x="241" y="156"/>
                </a:cubicBezTo>
                <a:cubicBezTo>
                  <a:pt x="240" y="153"/>
                  <a:pt x="236" y="151"/>
                  <a:pt x="234" y="145"/>
                </a:cubicBezTo>
                <a:cubicBezTo>
                  <a:pt x="233" y="138"/>
                  <a:pt x="229" y="136"/>
                  <a:pt x="225" y="135"/>
                </a:cubicBezTo>
                <a:cubicBezTo>
                  <a:pt x="222" y="134"/>
                  <a:pt x="221" y="131"/>
                  <a:pt x="218" y="130"/>
                </a:cubicBezTo>
                <a:cubicBezTo>
                  <a:pt x="217" y="130"/>
                  <a:pt x="215" y="125"/>
                  <a:pt x="210" y="125"/>
                </a:cubicBezTo>
                <a:cubicBezTo>
                  <a:pt x="205" y="125"/>
                  <a:pt x="187" y="123"/>
                  <a:pt x="184" y="119"/>
                </a:cubicBezTo>
                <a:cubicBezTo>
                  <a:pt x="182" y="115"/>
                  <a:pt x="187" y="114"/>
                  <a:pt x="187" y="109"/>
                </a:cubicBezTo>
                <a:cubicBezTo>
                  <a:pt x="187" y="105"/>
                  <a:pt x="190" y="100"/>
                  <a:pt x="188" y="98"/>
                </a:cubicBezTo>
                <a:cubicBezTo>
                  <a:pt x="186" y="97"/>
                  <a:pt x="182" y="93"/>
                  <a:pt x="182" y="90"/>
                </a:cubicBezTo>
                <a:cubicBezTo>
                  <a:pt x="181" y="86"/>
                  <a:pt x="176" y="82"/>
                  <a:pt x="172" y="82"/>
                </a:cubicBezTo>
                <a:cubicBezTo>
                  <a:pt x="168" y="82"/>
                  <a:pt x="165" y="79"/>
                  <a:pt x="162" y="76"/>
                </a:cubicBezTo>
                <a:cubicBezTo>
                  <a:pt x="158" y="73"/>
                  <a:pt x="155" y="73"/>
                  <a:pt x="154" y="66"/>
                </a:cubicBezTo>
                <a:cubicBezTo>
                  <a:pt x="154" y="65"/>
                  <a:pt x="153" y="65"/>
                  <a:pt x="153" y="65"/>
                </a:cubicBezTo>
                <a:cubicBezTo>
                  <a:pt x="152" y="64"/>
                  <a:pt x="150" y="64"/>
                  <a:pt x="149" y="64"/>
                </a:cubicBezTo>
                <a:cubicBezTo>
                  <a:pt x="148" y="64"/>
                  <a:pt x="147" y="63"/>
                  <a:pt x="146" y="62"/>
                </a:cubicBezTo>
                <a:cubicBezTo>
                  <a:pt x="145" y="65"/>
                  <a:pt x="142" y="67"/>
                  <a:pt x="142" y="69"/>
                </a:cubicBezTo>
                <a:cubicBezTo>
                  <a:pt x="142" y="72"/>
                  <a:pt x="141" y="76"/>
                  <a:pt x="137" y="76"/>
                </a:cubicBezTo>
                <a:cubicBezTo>
                  <a:pt x="134" y="76"/>
                  <a:pt x="130" y="78"/>
                  <a:pt x="130" y="84"/>
                </a:cubicBezTo>
                <a:cubicBezTo>
                  <a:pt x="130" y="90"/>
                  <a:pt x="133" y="91"/>
                  <a:pt x="132" y="93"/>
                </a:cubicBezTo>
                <a:cubicBezTo>
                  <a:pt x="130" y="96"/>
                  <a:pt x="123" y="98"/>
                  <a:pt x="121" y="97"/>
                </a:cubicBezTo>
                <a:cubicBezTo>
                  <a:pt x="119" y="96"/>
                  <a:pt x="114" y="97"/>
                  <a:pt x="111" y="96"/>
                </a:cubicBezTo>
                <a:cubicBezTo>
                  <a:pt x="107" y="96"/>
                  <a:pt x="104" y="91"/>
                  <a:pt x="103" y="96"/>
                </a:cubicBezTo>
                <a:cubicBezTo>
                  <a:pt x="102" y="101"/>
                  <a:pt x="94" y="116"/>
                  <a:pt x="96" y="118"/>
                </a:cubicBezTo>
                <a:cubicBezTo>
                  <a:pt x="98" y="119"/>
                  <a:pt x="99" y="123"/>
                  <a:pt x="96" y="123"/>
                </a:cubicBezTo>
                <a:cubicBezTo>
                  <a:pt x="93" y="123"/>
                  <a:pt x="90" y="123"/>
                  <a:pt x="88" y="121"/>
                </a:cubicBezTo>
                <a:cubicBezTo>
                  <a:pt x="86" y="119"/>
                  <a:pt x="81" y="123"/>
                  <a:pt x="77" y="123"/>
                </a:cubicBezTo>
                <a:cubicBezTo>
                  <a:pt x="76" y="123"/>
                  <a:pt x="68" y="126"/>
                  <a:pt x="71" y="128"/>
                </a:cubicBezTo>
                <a:cubicBezTo>
                  <a:pt x="73" y="129"/>
                  <a:pt x="73" y="135"/>
                  <a:pt x="73" y="137"/>
                </a:cubicBezTo>
                <a:cubicBezTo>
                  <a:pt x="73" y="140"/>
                  <a:pt x="79" y="147"/>
                  <a:pt x="78" y="150"/>
                </a:cubicBezTo>
                <a:cubicBezTo>
                  <a:pt x="77" y="152"/>
                  <a:pt x="72" y="155"/>
                  <a:pt x="72" y="158"/>
                </a:cubicBezTo>
                <a:cubicBezTo>
                  <a:pt x="72" y="162"/>
                  <a:pt x="73" y="165"/>
                  <a:pt x="71" y="165"/>
                </a:cubicBezTo>
                <a:cubicBezTo>
                  <a:pt x="69" y="166"/>
                  <a:pt x="64" y="168"/>
                  <a:pt x="61" y="170"/>
                </a:cubicBezTo>
                <a:cubicBezTo>
                  <a:pt x="58" y="172"/>
                  <a:pt x="54" y="172"/>
                  <a:pt x="52" y="175"/>
                </a:cubicBezTo>
                <a:cubicBezTo>
                  <a:pt x="51" y="178"/>
                  <a:pt x="49" y="181"/>
                  <a:pt x="43" y="180"/>
                </a:cubicBezTo>
                <a:cubicBezTo>
                  <a:pt x="39" y="180"/>
                  <a:pt x="37" y="179"/>
                  <a:pt x="33" y="183"/>
                </a:cubicBezTo>
                <a:cubicBezTo>
                  <a:pt x="30" y="188"/>
                  <a:pt x="29" y="186"/>
                  <a:pt x="26" y="188"/>
                </a:cubicBezTo>
                <a:cubicBezTo>
                  <a:pt x="24" y="190"/>
                  <a:pt x="21" y="186"/>
                  <a:pt x="19" y="186"/>
                </a:cubicBezTo>
                <a:cubicBezTo>
                  <a:pt x="17" y="185"/>
                  <a:pt x="15" y="188"/>
                  <a:pt x="13" y="188"/>
                </a:cubicBezTo>
                <a:cubicBezTo>
                  <a:pt x="11" y="188"/>
                  <a:pt x="9" y="191"/>
                  <a:pt x="6" y="192"/>
                </a:cubicBezTo>
                <a:cubicBezTo>
                  <a:pt x="4" y="193"/>
                  <a:pt x="1" y="192"/>
                  <a:pt x="1" y="195"/>
                </a:cubicBezTo>
                <a:cubicBezTo>
                  <a:pt x="1" y="197"/>
                  <a:pt x="1" y="199"/>
                  <a:pt x="0" y="200"/>
                </a:cubicBezTo>
                <a:cubicBezTo>
                  <a:pt x="0" y="200"/>
                  <a:pt x="0" y="200"/>
                  <a:pt x="0" y="200"/>
                </a:cubicBezTo>
                <a:cubicBezTo>
                  <a:pt x="1" y="210"/>
                  <a:pt x="1" y="210"/>
                  <a:pt x="1" y="210"/>
                </a:cubicBezTo>
                <a:cubicBezTo>
                  <a:pt x="1" y="210"/>
                  <a:pt x="12" y="214"/>
                  <a:pt x="12" y="217"/>
                </a:cubicBezTo>
                <a:cubicBezTo>
                  <a:pt x="13" y="221"/>
                  <a:pt x="15" y="232"/>
                  <a:pt x="15" y="232"/>
                </a:cubicBezTo>
                <a:cubicBezTo>
                  <a:pt x="15" y="232"/>
                  <a:pt x="15" y="232"/>
                  <a:pt x="14" y="232"/>
                </a:cubicBezTo>
                <a:cubicBezTo>
                  <a:pt x="19" y="236"/>
                  <a:pt x="25" y="239"/>
                  <a:pt x="25" y="241"/>
                </a:cubicBezTo>
                <a:cubicBezTo>
                  <a:pt x="25" y="242"/>
                  <a:pt x="25" y="247"/>
                  <a:pt x="30" y="249"/>
                </a:cubicBezTo>
                <a:cubicBezTo>
                  <a:pt x="34" y="251"/>
                  <a:pt x="37" y="253"/>
                  <a:pt x="39" y="254"/>
                </a:cubicBezTo>
                <a:cubicBezTo>
                  <a:pt x="39" y="253"/>
                  <a:pt x="40" y="253"/>
                  <a:pt x="40" y="253"/>
                </a:cubicBezTo>
                <a:cubicBezTo>
                  <a:pt x="44" y="252"/>
                  <a:pt x="44" y="252"/>
                  <a:pt x="44" y="252"/>
                </a:cubicBezTo>
                <a:cubicBezTo>
                  <a:pt x="44" y="252"/>
                  <a:pt x="45" y="253"/>
                  <a:pt x="47" y="255"/>
                </a:cubicBezTo>
                <a:cubicBezTo>
                  <a:pt x="48" y="251"/>
                  <a:pt x="55" y="247"/>
                  <a:pt x="59" y="247"/>
                </a:cubicBezTo>
                <a:cubicBezTo>
                  <a:pt x="64" y="248"/>
                  <a:pt x="73" y="255"/>
                  <a:pt x="72" y="258"/>
                </a:cubicBezTo>
                <a:cubicBezTo>
                  <a:pt x="71" y="261"/>
                  <a:pt x="64" y="271"/>
                  <a:pt x="61" y="272"/>
                </a:cubicBezTo>
                <a:cubicBezTo>
                  <a:pt x="60" y="272"/>
                  <a:pt x="58" y="272"/>
                  <a:pt x="56" y="272"/>
                </a:cubicBezTo>
                <a:cubicBezTo>
                  <a:pt x="56" y="274"/>
                  <a:pt x="56" y="275"/>
                  <a:pt x="56" y="276"/>
                </a:cubicBezTo>
                <a:cubicBezTo>
                  <a:pt x="56" y="278"/>
                  <a:pt x="60" y="282"/>
                  <a:pt x="62" y="286"/>
                </a:cubicBezTo>
                <a:cubicBezTo>
                  <a:pt x="64" y="290"/>
                  <a:pt x="58" y="292"/>
                  <a:pt x="55" y="290"/>
                </a:cubicBezTo>
                <a:cubicBezTo>
                  <a:pt x="52" y="287"/>
                  <a:pt x="51" y="292"/>
                  <a:pt x="52" y="295"/>
                </a:cubicBezTo>
                <a:cubicBezTo>
                  <a:pt x="54" y="297"/>
                  <a:pt x="53" y="303"/>
                  <a:pt x="56" y="304"/>
                </a:cubicBezTo>
                <a:cubicBezTo>
                  <a:pt x="60" y="304"/>
                  <a:pt x="62" y="310"/>
                  <a:pt x="66" y="310"/>
                </a:cubicBezTo>
                <a:cubicBezTo>
                  <a:pt x="69" y="310"/>
                  <a:pt x="73" y="316"/>
                  <a:pt x="73" y="316"/>
                </a:cubicBezTo>
                <a:cubicBezTo>
                  <a:pt x="73" y="316"/>
                  <a:pt x="77" y="319"/>
                  <a:pt x="77" y="321"/>
                </a:cubicBezTo>
                <a:cubicBezTo>
                  <a:pt x="77" y="321"/>
                  <a:pt x="77" y="321"/>
                  <a:pt x="77" y="322"/>
                </a:cubicBezTo>
                <a:cubicBezTo>
                  <a:pt x="81" y="321"/>
                  <a:pt x="84" y="321"/>
                  <a:pt x="84" y="320"/>
                </a:cubicBezTo>
                <a:cubicBezTo>
                  <a:pt x="85" y="318"/>
                  <a:pt x="90" y="318"/>
                  <a:pt x="93" y="321"/>
                </a:cubicBezTo>
                <a:cubicBezTo>
                  <a:pt x="97" y="325"/>
                  <a:pt x="111" y="334"/>
                  <a:pt x="116" y="338"/>
                </a:cubicBezTo>
                <a:cubicBezTo>
                  <a:pt x="121" y="342"/>
                  <a:pt x="134" y="347"/>
                  <a:pt x="138" y="347"/>
                </a:cubicBezTo>
                <a:cubicBezTo>
                  <a:pt x="142" y="347"/>
                  <a:pt x="146" y="350"/>
                  <a:pt x="153" y="350"/>
                </a:cubicBezTo>
                <a:cubicBezTo>
                  <a:pt x="154" y="349"/>
                  <a:pt x="154" y="350"/>
                  <a:pt x="155" y="350"/>
                </a:cubicBezTo>
                <a:cubicBezTo>
                  <a:pt x="156" y="349"/>
                  <a:pt x="158" y="349"/>
                  <a:pt x="159" y="347"/>
                </a:cubicBezTo>
                <a:cubicBezTo>
                  <a:pt x="161" y="344"/>
                  <a:pt x="163" y="349"/>
                  <a:pt x="162" y="353"/>
                </a:cubicBezTo>
                <a:cubicBezTo>
                  <a:pt x="162" y="354"/>
                  <a:pt x="162" y="356"/>
                  <a:pt x="163" y="358"/>
                </a:cubicBezTo>
                <a:cubicBezTo>
                  <a:pt x="164" y="356"/>
                  <a:pt x="165" y="355"/>
                  <a:pt x="166" y="353"/>
                </a:cubicBezTo>
                <a:cubicBezTo>
                  <a:pt x="168" y="347"/>
                  <a:pt x="171" y="348"/>
                  <a:pt x="174" y="346"/>
                </a:cubicBezTo>
                <a:cubicBezTo>
                  <a:pt x="176" y="344"/>
                  <a:pt x="178" y="345"/>
                  <a:pt x="183" y="347"/>
                </a:cubicBezTo>
                <a:cubicBezTo>
                  <a:pt x="187" y="350"/>
                  <a:pt x="189" y="345"/>
                  <a:pt x="196" y="351"/>
                </a:cubicBezTo>
                <a:cubicBezTo>
                  <a:pt x="197" y="350"/>
                  <a:pt x="199" y="349"/>
                  <a:pt x="200" y="349"/>
                </a:cubicBezTo>
                <a:cubicBezTo>
                  <a:pt x="201" y="349"/>
                  <a:pt x="203" y="347"/>
                  <a:pt x="205" y="345"/>
                </a:cubicBezTo>
                <a:cubicBezTo>
                  <a:pt x="207" y="342"/>
                  <a:pt x="207" y="340"/>
                  <a:pt x="210" y="340"/>
                </a:cubicBezTo>
                <a:cubicBezTo>
                  <a:pt x="212" y="341"/>
                  <a:pt x="214" y="337"/>
                  <a:pt x="219" y="334"/>
                </a:cubicBezTo>
                <a:cubicBezTo>
                  <a:pt x="225" y="331"/>
                  <a:pt x="230" y="336"/>
                  <a:pt x="233" y="333"/>
                </a:cubicBezTo>
                <a:cubicBezTo>
                  <a:pt x="235" y="331"/>
                  <a:pt x="239" y="330"/>
                  <a:pt x="239" y="333"/>
                </a:cubicBezTo>
                <a:cubicBezTo>
                  <a:pt x="239" y="335"/>
                  <a:pt x="242" y="337"/>
                  <a:pt x="243" y="340"/>
                </a:cubicBezTo>
                <a:cubicBezTo>
                  <a:pt x="244" y="342"/>
                  <a:pt x="248" y="343"/>
                  <a:pt x="249" y="344"/>
                </a:cubicBezTo>
                <a:cubicBezTo>
                  <a:pt x="250" y="343"/>
                  <a:pt x="251" y="343"/>
                  <a:pt x="251" y="343"/>
                </a:cubicBezTo>
                <a:cubicBezTo>
                  <a:pt x="254" y="341"/>
                  <a:pt x="259" y="343"/>
                  <a:pt x="259" y="346"/>
                </a:cubicBezTo>
                <a:cubicBezTo>
                  <a:pt x="259" y="349"/>
                  <a:pt x="259" y="352"/>
                  <a:pt x="261" y="352"/>
                </a:cubicBezTo>
                <a:cubicBezTo>
                  <a:pt x="264" y="352"/>
                  <a:pt x="266" y="352"/>
                  <a:pt x="266" y="358"/>
                </a:cubicBezTo>
                <a:cubicBezTo>
                  <a:pt x="266" y="363"/>
                  <a:pt x="268" y="369"/>
                  <a:pt x="263" y="374"/>
                </a:cubicBezTo>
                <a:cubicBezTo>
                  <a:pt x="258" y="379"/>
                  <a:pt x="253" y="387"/>
                  <a:pt x="254" y="390"/>
                </a:cubicBezTo>
                <a:cubicBezTo>
                  <a:pt x="255" y="392"/>
                  <a:pt x="252" y="397"/>
                  <a:pt x="256" y="395"/>
                </a:cubicBezTo>
                <a:cubicBezTo>
                  <a:pt x="259" y="394"/>
                  <a:pt x="267" y="395"/>
                  <a:pt x="266" y="397"/>
                </a:cubicBezTo>
                <a:cubicBezTo>
                  <a:pt x="265" y="399"/>
                  <a:pt x="266" y="406"/>
                  <a:pt x="270" y="407"/>
                </a:cubicBezTo>
                <a:cubicBezTo>
                  <a:pt x="273" y="407"/>
                  <a:pt x="275" y="409"/>
                  <a:pt x="274" y="412"/>
                </a:cubicBezTo>
                <a:cubicBezTo>
                  <a:pt x="273" y="415"/>
                  <a:pt x="271" y="419"/>
                  <a:pt x="274" y="419"/>
                </a:cubicBezTo>
                <a:cubicBezTo>
                  <a:pt x="277" y="419"/>
                  <a:pt x="281" y="419"/>
                  <a:pt x="280" y="422"/>
                </a:cubicBezTo>
                <a:cubicBezTo>
                  <a:pt x="280" y="425"/>
                  <a:pt x="282" y="428"/>
                  <a:pt x="287" y="426"/>
                </a:cubicBezTo>
                <a:cubicBezTo>
                  <a:pt x="290" y="425"/>
                  <a:pt x="292" y="424"/>
                  <a:pt x="292" y="425"/>
                </a:cubicBezTo>
                <a:cubicBezTo>
                  <a:pt x="294" y="425"/>
                  <a:pt x="294" y="429"/>
                  <a:pt x="298" y="430"/>
                </a:cubicBezTo>
                <a:cubicBezTo>
                  <a:pt x="301" y="431"/>
                  <a:pt x="300" y="422"/>
                  <a:pt x="298" y="421"/>
                </a:cubicBezTo>
                <a:cubicBezTo>
                  <a:pt x="297" y="420"/>
                  <a:pt x="299" y="414"/>
                  <a:pt x="300" y="415"/>
                </a:cubicBezTo>
                <a:cubicBezTo>
                  <a:pt x="301" y="417"/>
                  <a:pt x="305" y="415"/>
                  <a:pt x="308" y="413"/>
                </a:cubicBezTo>
                <a:cubicBezTo>
                  <a:pt x="310" y="410"/>
                  <a:pt x="314" y="415"/>
                  <a:pt x="316" y="412"/>
                </a:cubicBezTo>
                <a:cubicBezTo>
                  <a:pt x="318" y="409"/>
                  <a:pt x="322" y="414"/>
                  <a:pt x="326" y="412"/>
                </a:cubicBezTo>
                <a:cubicBezTo>
                  <a:pt x="330" y="410"/>
                  <a:pt x="332" y="414"/>
                  <a:pt x="333" y="410"/>
                </a:cubicBezTo>
                <a:cubicBezTo>
                  <a:pt x="335" y="407"/>
                  <a:pt x="341" y="403"/>
                  <a:pt x="342" y="405"/>
                </a:cubicBezTo>
                <a:cubicBezTo>
                  <a:pt x="344" y="406"/>
                  <a:pt x="344" y="409"/>
                  <a:pt x="352" y="410"/>
                </a:cubicBezTo>
                <a:cubicBezTo>
                  <a:pt x="359" y="410"/>
                  <a:pt x="355" y="414"/>
                  <a:pt x="355" y="416"/>
                </a:cubicBezTo>
                <a:cubicBezTo>
                  <a:pt x="355" y="418"/>
                  <a:pt x="363" y="424"/>
                  <a:pt x="366" y="425"/>
                </a:cubicBezTo>
                <a:cubicBezTo>
                  <a:pt x="366" y="425"/>
                  <a:pt x="367" y="425"/>
                  <a:pt x="368" y="427"/>
                </a:cubicBezTo>
                <a:cubicBezTo>
                  <a:pt x="370" y="425"/>
                  <a:pt x="374" y="427"/>
                  <a:pt x="375" y="425"/>
                </a:cubicBezTo>
                <a:cubicBezTo>
                  <a:pt x="376" y="422"/>
                  <a:pt x="380" y="423"/>
                  <a:pt x="381" y="425"/>
                </a:cubicBezTo>
                <a:cubicBezTo>
                  <a:pt x="383" y="428"/>
                  <a:pt x="384" y="428"/>
                  <a:pt x="388" y="425"/>
                </a:cubicBezTo>
                <a:cubicBezTo>
                  <a:pt x="391" y="422"/>
                  <a:pt x="393" y="428"/>
                  <a:pt x="391" y="430"/>
                </a:cubicBezTo>
                <a:cubicBezTo>
                  <a:pt x="389" y="431"/>
                  <a:pt x="390" y="437"/>
                  <a:pt x="393" y="440"/>
                </a:cubicBezTo>
                <a:cubicBezTo>
                  <a:pt x="396" y="443"/>
                  <a:pt x="397" y="438"/>
                  <a:pt x="396" y="435"/>
                </a:cubicBezTo>
                <a:cubicBezTo>
                  <a:pt x="396" y="432"/>
                  <a:pt x="402" y="429"/>
                  <a:pt x="412" y="425"/>
                </a:cubicBezTo>
                <a:cubicBezTo>
                  <a:pt x="423" y="422"/>
                  <a:pt x="434" y="414"/>
                  <a:pt x="434" y="412"/>
                </a:cubicBezTo>
                <a:cubicBezTo>
                  <a:pt x="434" y="411"/>
                  <a:pt x="442" y="415"/>
                  <a:pt x="445" y="413"/>
                </a:cubicBezTo>
                <a:cubicBezTo>
                  <a:pt x="449" y="410"/>
                  <a:pt x="461" y="410"/>
                  <a:pt x="465" y="410"/>
                </a:cubicBezTo>
                <a:cubicBezTo>
                  <a:pt x="468" y="409"/>
                  <a:pt x="468" y="407"/>
                  <a:pt x="471" y="404"/>
                </a:cubicBezTo>
                <a:cubicBezTo>
                  <a:pt x="475" y="401"/>
                  <a:pt x="474" y="400"/>
                  <a:pt x="478" y="398"/>
                </a:cubicBezTo>
                <a:cubicBezTo>
                  <a:pt x="482" y="397"/>
                  <a:pt x="484" y="394"/>
                  <a:pt x="484" y="392"/>
                </a:cubicBezTo>
                <a:cubicBezTo>
                  <a:pt x="484" y="390"/>
                  <a:pt x="492" y="389"/>
                  <a:pt x="492" y="387"/>
                </a:cubicBezTo>
                <a:cubicBezTo>
                  <a:pt x="492" y="385"/>
                  <a:pt x="498" y="384"/>
                  <a:pt x="498" y="381"/>
                </a:cubicBezTo>
                <a:cubicBezTo>
                  <a:pt x="498" y="379"/>
                  <a:pt x="501" y="379"/>
                  <a:pt x="503" y="377"/>
                </a:cubicBezTo>
                <a:cubicBezTo>
                  <a:pt x="504" y="375"/>
                  <a:pt x="501" y="369"/>
                  <a:pt x="504" y="368"/>
                </a:cubicBezTo>
                <a:cubicBezTo>
                  <a:pt x="507" y="368"/>
                  <a:pt x="503" y="364"/>
                  <a:pt x="503" y="363"/>
                </a:cubicBezTo>
                <a:cubicBezTo>
                  <a:pt x="502" y="361"/>
                  <a:pt x="508" y="361"/>
                  <a:pt x="510" y="359"/>
                </a:cubicBezTo>
                <a:cubicBezTo>
                  <a:pt x="513" y="357"/>
                  <a:pt x="515" y="355"/>
                  <a:pt x="516" y="351"/>
                </a:cubicBezTo>
                <a:cubicBezTo>
                  <a:pt x="516" y="348"/>
                  <a:pt x="521" y="345"/>
                  <a:pt x="523" y="345"/>
                </a:cubicBezTo>
                <a:cubicBezTo>
                  <a:pt x="525" y="344"/>
                  <a:pt x="526" y="339"/>
                  <a:pt x="525" y="335"/>
                </a:cubicBezTo>
                <a:cubicBezTo>
                  <a:pt x="525" y="332"/>
                  <a:pt x="529" y="333"/>
                  <a:pt x="527" y="331"/>
                </a:cubicBezTo>
                <a:cubicBezTo>
                  <a:pt x="525" y="330"/>
                  <a:pt x="528" y="325"/>
                  <a:pt x="532" y="324"/>
                </a:cubicBezTo>
                <a:cubicBezTo>
                  <a:pt x="536" y="323"/>
                  <a:pt x="529" y="321"/>
                  <a:pt x="527" y="323"/>
                </a:cubicBezTo>
                <a:cubicBezTo>
                  <a:pt x="525" y="325"/>
                  <a:pt x="523" y="318"/>
                  <a:pt x="521" y="321"/>
                </a:cubicBezTo>
                <a:cubicBezTo>
                  <a:pt x="519" y="323"/>
                  <a:pt x="513" y="319"/>
                  <a:pt x="517" y="318"/>
                </a:cubicBezTo>
                <a:cubicBezTo>
                  <a:pt x="520" y="317"/>
                  <a:pt x="526" y="313"/>
                  <a:pt x="529" y="312"/>
                </a:cubicBezTo>
                <a:cubicBezTo>
                  <a:pt x="531" y="312"/>
                  <a:pt x="525" y="306"/>
                  <a:pt x="522" y="306"/>
                </a:cubicBezTo>
                <a:cubicBezTo>
                  <a:pt x="519" y="306"/>
                  <a:pt x="515" y="299"/>
                  <a:pt x="512" y="299"/>
                </a:cubicBezTo>
                <a:cubicBezTo>
                  <a:pt x="508" y="299"/>
                  <a:pt x="514" y="297"/>
                  <a:pt x="518" y="299"/>
                </a:cubicBezTo>
                <a:cubicBezTo>
                  <a:pt x="522" y="301"/>
                  <a:pt x="526" y="302"/>
                  <a:pt x="528" y="301"/>
                </a:cubicBezTo>
                <a:cubicBezTo>
                  <a:pt x="530" y="299"/>
                  <a:pt x="522" y="292"/>
                  <a:pt x="519" y="290"/>
                </a:cubicBezTo>
                <a:cubicBezTo>
                  <a:pt x="516" y="288"/>
                  <a:pt x="518" y="284"/>
                  <a:pt x="517" y="283"/>
                </a:cubicBezTo>
                <a:cubicBezTo>
                  <a:pt x="515" y="282"/>
                  <a:pt x="511" y="273"/>
                  <a:pt x="509" y="269"/>
                </a:cubicBezTo>
                <a:cubicBezTo>
                  <a:pt x="508" y="266"/>
                  <a:pt x="501" y="265"/>
                  <a:pt x="499" y="262"/>
                </a:cubicBezTo>
                <a:cubicBezTo>
                  <a:pt x="498" y="260"/>
                  <a:pt x="500" y="254"/>
                  <a:pt x="505" y="252"/>
                </a:cubicBezTo>
                <a:cubicBezTo>
                  <a:pt x="510" y="250"/>
                  <a:pt x="508" y="245"/>
                  <a:pt x="510" y="246"/>
                </a:cubicBezTo>
                <a:cubicBezTo>
                  <a:pt x="512" y="246"/>
                  <a:pt x="514" y="245"/>
                  <a:pt x="516" y="242"/>
                </a:cubicBezTo>
                <a:cubicBezTo>
                  <a:pt x="518" y="238"/>
                  <a:pt x="521" y="240"/>
                  <a:pt x="523" y="238"/>
                </a:cubicBezTo>
                <a:cubicBezTo>
                  <a:pt x="525" y="236"/>
                  <a:pt x="533" y="236"/>
                  <a:pt x="536" y="234"/>
                </a:cubicBezTo>
                <a:cubicBezTo>
                  <a:pt x="539" y="232"/>
                  <a:pt x="533" y="226"/>
                  <a:pt x="529" y="227"/>
                </a:cubicBezTo>
                <a:cubicBezTo>
                  <a:pt x="526" y="228"/>
                  <a:pt x="521" y="227"/>
                  <a:pt x="518" y="223"/>
                </a:cubicBezTo>
                <a:cubicBezTo>
                  <a:pt x="516" y="219"/>
                  <a:pt x="509" y="230"/>
                  <a:pt x="503" y="232"/>
                </a:cubicBezTo>
                <a:cubicBezTo>
                  <a:pt x="498" y="235"/>
                  <a:pt x="495" y="228"/>
                  <a:pt x="496" y="223"/>
                </a:cubicBezTo>
                <a:cubicBezTo>
                  <a:pt x="498" y="219"/>
                  <a:pt x="492" y="219"/>
                  <a:pt x="485" y="219"/>
                </a:cubicBezTo>
                <a:cubicBezTo>
                  <a:pt x="477" y="220"/>
                  <a:pt x="480" y="206"/>
                  <a:pt x="485" y="205"/>
                </a:cubicBezTo>
                <a:cubicBezTo>
                  <a:pt x="489" y="205"/>
                  <a:pt x="496" y="210"/>
                  <a:pt x="499" y="201"/>
                </a:cubicBezTo>
                <a:cubicBezTo>
                  <a:pt x="501" y="193"/>
                  <a:pt x="505" y="199"/>
                  <a:pt x="512" y="192"/>
                </a:cubicBezTo>
                <a:cubicBezTo>
                  <a:pt x="518" y="185"/>
                  <a:pt x="525" y="180"/>
                  <a:pt x="531" y="185"/>
                </a:cubicBezTo>
                <a:cubicBezTo>
                  <a:pt x="536" y="189"/>
                  <a:pt x="525" y="196"/>
                  <a:pt x="523" y="200"/>
                </a:cubicBezTo>
                <a:cubicBezTo>
                  <a:pt x="521" y="204"/>
                  <a:pt x="525" y="205"/>
                  <a:pt x="522" y="209"/>
                </a:cubicBezTo>
                <a:cubicBezTo>
                  <a:pt x="518" y="212"/>
                  <a:pt x="523" y="213"/>
                  <a:pt x="529" y="208"/>
                </a:cubicBezTo>
                <a:cubicBezTo>
                  <a:pt x="536" y="204"/>
                  <a:pt x="544" y="199"/>
                  <a:pt x="550" y="197"/>
                </a:cubicBezTo>
                <a:cubicBezTo>
                  <a:pt x="552" y="196"/>
                  <a:pt x="554" y="196"/>
                  <a:pt x="556" y="196"/>
                </a:cubicBezTo>
                <a:cubicBezTo>
                  <a:pt x="557" y="194"/>
                  <a:pt x="558" y="192"/>
                  <a:pt x="559" y="191"/>
                </a:cubicBezTo>
                <a:cubicBezTo>
                  <a:pt x="563" y="189"/>
                  <a:pt x="578" y="182"/>
                  <a:pt x="580" y="179"/>
                </a:cubicBezTo>
                <a:cubicBezTo>
                  <a:pt x="582" y="177"/>
                  <a:pt x="584" y="171"/>
                  <a:pt x="587" y="171"/>
                </a:cubicBezTo>
                <a:cubicBezTo>
                  <a:pt x="590" y="171"/>
                  <a:pt x="590" y="174"/>
                  <a:pt x="594" y="174"/>
                </a:cubicBezTo>
                <a:cubicBezTo>
                  <a:pt x="599" y="174"/>
                  <a:pt x="604" y="176"/>
                  <a:pt x="602" y="172"/>
                </a:cubicBezTo>
                <a:cubicBezTo>
                  <a:pt x="599" y="169"/>
                  <a:pt x="601" y="169"/>
                  <a:pt x="606" y="168"/>
                </a:cubicBezTo>
                <a:cubicBezTo>
                  <a:pt x="611" y="167"/>
                  <a:pt x="610" y="162"/>
                  <a:pt x="614" y="162"/>
                </a:cubicBezTo>
                <a:cubicBezTo>
                  <a:pt x="618" y="162"/>
                  <a:pt x="617" y="153"/>
                  <a:pt x="621" y="153"/>
                </a:cubicBezTo>
                <a:cubicBezTo>
                  <a:pt x="624" y="153"/>
                  <a:pt x="626" y="158"/>
                  <a:pt x="630" y="157"/>
                </a:cubicBezTo>
                <a:cubicBezTo>
                  <a:pt x="631" y="157"/>
                  <a:pt x="632" y="157"/>
                  <a:pt x="633" y="157"/>
                </a:cubicBezTo>
                <a:cubicBezTo>
                  <a:pt x="634" y="157"/>
                  <a:pt x="635" y="156"/>
                  <a:pt x="636" y="155"/>
                </a:cubicBezTo>
                <a:cubicBezTo>
                  <a:pt x="635" y="151"/>
                  <a:pt x="636" y="147"/>
                  <a:pt x="635" y="145"/>
                </a:cubicBezTo>
                <a:cubicBezTo>
                  <a:pt x="633" y="141"/>
                  <a:pt x="635" y="138"/>
                  <a:pt x="634" y="135"/>
                </a:cubicBezTo>
                <a:cubicBezTo>
                  <a:pt x="634" y="133"/>
                  <a:pt x="633" y="127"/>
                  <a:pt x="636" y="127"/>
                </a:cubicBezTo>
                <a:cubicBezTo>
                  <a:pt x="639" y="127"/>
                  <a:pt x="642" y="121"/>
                  <a:pt x="645" y="123"/>
                </a:cubicBezTo>
                <a:cubicBezTo>
                  <a:pt x="649" y="125"/>
                  <a:pt x="655" y="126"/>
                  <a:pt x="655" y="123"/>
                </a:cubicBezTo>
                <a:cubicBezTo>
                  <a:pt x="655" y="120"/>
                  <a:pt x="660" y="120"/>
                  <a:pt x="661" y="116"/>
                </a:cubicBezTo>
                <a:cubicBezTo>
                  <a:pt x="661" y="112"/>
                  <a:pt x="666" y="111"/>
                  <a:pt x="667" y="107"/>
                </a:cubicBezTo>
                <a:cubicBezTo>
                  <a:pt x="668" y="103"/>
                  <a:pt x="670" y="95"/>
                  <a:pt x="673" y="93"/>
                </a:cubicBezTo>
                <a:cubicBezTo>
                  <a:pt x="677" y="91"/>
                  <a:pt x="673" y="89"/>
                  <a:pt x="673" y="83"/>
                </a:cubicBezTo>
                <a:close/>
                <a:moveTo>
                  <a:pt x="510" y="399"/>
                </a:moveTo>
                <a:cubicBezTo>
                  <a:pt x="506" y="412"/>
                  <a:pt x="515" y="419"/>
                  <a:pt x="516" y="418"/>
                </a:cubicBezTo>
                <a:cubicBezTo>
                  <a:pt x="519" y="416"/>
                  <a:pt x="533" y="387"/>
                  <a:pt x="530" y="383"/>
                </a:cubicBezTo>
                <a:cubicBezTo>
                  <a:pt x="527" y="379"/>
                  <a:pt x="513" y="386"/>
                  <a:pt x="510" y="399"/>
                </a:cubicBezTo>
                <a:close/>
                <a:moveTo>
                  <a:pt x="391" y="444"/>
                </a:moveTo>
                <a:cubicBezTo>
                  <a:pt x="386" y="444"/>
                  <a:pt x="375" y="451"/>
                  <a:pt x="380" y="460"/>
                </a:cubicBezTo>
                <a:cubicBezTo>
                  <a:pt x="384" y="469"/>
                  <a:pt x="398" y="463"/>
                  <a:pt x="399" y="459"/>
                </a:cubicBezTo>
                <a:cubicBezTo>
                  <a:pt x="399" y="455"/>
                  <a:pt x="406" y="448"/>
                  <a:pt x="405" y="445"/>
                </a:cubicBezTo>
                <a:cubicBezTo>
                  <a:pt x="404" y="443"/>
                  <a:pt x="395" y="444"/>
                  <a:pt x="391" y="444"/>
                </a:cubicBezTo>
                <a:close/>
              </a:path>
            </a:pathLst>
          </a:custGeom>
          <a:solidFill>
            <a:srgbClr val="C00000"/>
          </a:solidFill>
          <a:ln w="317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造字工房悦黑体验版常规体" pitchFamily="50" charset="-122"/>
            </a:endParaRPr>
          </a:p>
        </p:txBody>
      </p:sp>
      <p:sp>
        <p:nvSpPr>
          <p:cNvPr id="188" name="出自【趣你的PPT】(微信:qunideppt)：最优质的PPT资源库"/>
          <p:cNvSpPr/>
          <p:nvPr/>
        </p:nvSpPr>
        <p:spPr>
          <a:xfrm>
            <a:off x="8343023" y="2696134"/>
            <a:ext cx="102304" cy="92870"/>
          </a:xfrm>
          <a:prstGeom prst="star5">
            <a:avLst/>
          </a:prstGeom>
          <a:solidFill>
            <a:srgbClr val="FFC000"/>
          </a:solidFill>
          <a:ln w="31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189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1537915" y="5455469"/>
            <a:ext cx="8350540" cy="900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05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05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05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45137322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repeatCount="5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2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3" dur="25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4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5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500"/>
                            </p:stCondLst>
                            <p:childTnLst>
                              <p:par>
                                <p:cTn id="27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30" dur="25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3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3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7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25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3" grpId="0"/>
      <p:bldP spid="184" grpId="0"/>
      <p:bldP spid="187" grpId="0" animBg="1"/>
      <p:bldP spid="188" grpId="0" animBg="1"/>
      <p:bldP spid="18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pic>
        <p:nvPicPr>
          <p:cNvPr id="7" name="出自【趣你的PPT】(微信:qunideppt)：最优质的PPT资源库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814" y="3231937"/>
            <a:ext cx="936104" cy="936104"/>
          </a:xfrm>
          <a:prstGeom prst="rect">
            <a:avLst/>
          </a:prstGeom>
        </p:spPr>
      </p:pic>
      <p:pic>
        <p:nvPicPr>
          <p:cNvPr id="8" name="出自【趣你的PPT】(微信:qunideppt)：最优质的PPT资源库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4120" y="3271488"/>
            <a:ext cx="972584" cy="972584"/>
          </a:xfrm>
          <a:prstGeom prst="rect">
            <a:avLst/>
          </a:prstGeom>
        </p:spPr>
      </p:pic>
      <p:pic>
        <p:nvPicPr>
          <p:cNvPr id="9" name="出自【趣你的PPT】(微信:qunideppt)：最优质的PPT资源库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3950" y="3232747"/>
            <a:ext cx="1051248" cy="1051248"/>
          </a:xfrm>
          <a:prstGeom prst="rect">
            <a:avLst/>
          </a:prstGeom>
        </p:spPr>
      </p:pic>
      <p:sp>
        <p:nvSpPr>
          <p:cNvPr id="10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5941424" y="4324717"/>
            <a:ext cx="4824536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万次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出自【趣你的PPT】(微信:qunideppt)：最优质的PPT资源库"/>
          <p:cNvSpPr>
            <a:spLocks noEditPoints="1"/>
          </p:cNvSpPr>
          <p:nvPr/>
        </p:nvSpPr>
        <p:spPr bwMode="auto">
          <a:xfrm>
            <a:off x="1135530" y="3853143"/>
            <a:ext cx="2125702" cy="2114974"/>
          </a:xfrm>
          <a:custGeom>
            <a:avLst/>
            <a:gdLst/>
            <a:ahLst/>
            <a:cxnLst>
              <a:cxn ang="0">
                <a:pos x="1635" y="930"/>
              </a:cxn>
              <a:cxn ang="0">
                <a:pos x="1267" y="1138"/>
              </a:cxn>
              <a:cxn ang="0">
                <a:pos x="1006" y="1466"/>
              </a:cxn>
              <a:cxn ang="0">
                <a:pos x="888" y="1880"/>
              </a:cxn>
              <a:cxn ang="0">
                <a:pos x="940" y="2318"/>
              </a:cxn>
              <a:cxn ang="0">
                <a:pos x="1148" y="2686"/>
              </a:cxn>
              <a:cxn ang="0">
                <a:pos x="1477" y="2947"/>
              </a:cxn>
              <a:cxn ang="0">
                <a:pos x="1891" y="3065"/>
              </a:cxn>
              <a:cxn ang="0">
                <a:pos x="2328" y="3013"/>
              </a:cxn>
              <a:cxn ang="0">
                <a:pos x="2697" y="2804"/>
              </a:cxn>
              <a:cxn ang="0">
                <a:pos x="2958" y="2476"/>
              </a:cxn>
              <a:cxn ang="0">
                <a:pos x="3076" y="2061"/>
              </a:cxn>
              <a:cxn ang="0">
                <a:pos x="3024" y="1624"/>
              </a:cxn>
              <a:cxn ang="0">
                <a:pos x="2815" y="1257"/>
              </a:cxn>
              <a:cxn ang="0">
                <a:pos x="2487" y="996"/>
              </a:cxn>
              <a:cxn ang="0">
                <a:pos x="2072" y="878"/>
              </a:cxn>
              <a:cxn ang="0">
                <a:pos x="2246" y="17"/>
              </a:cxn>
              <a:cxn ang="0">
                <a:pos x="2439" y="506"/>
              </a:cxn>
              <a:cxn ang="0">
                <a:pos x="2757" y="644"/>
              </a:cxn>
              <a:cxn ang="0">
                <a:pos x="3177" y="402"/>
              </a:cxn>
              <a:cxn ang="0">
                <a:pos x="3508" y="720"/>
              </a:cxn>
              <a:cxn ang="0">
                <a:pos x="3274" y="1134"/>
              </a:cxn>
              <a:cxn ang="0">
                <a:pos x="3397" y="1362"/>
              </a:cxn>
              <a:cxn ang="0">
                <a:pos x="3777" y="1449"/>
              </a:cxn>
              <a:cxn ang="0">
                <a:pos x="3962" y="1889"/>
              </a:cxn>
              <a:cxn ang="0">
                <a:pos x="3523" y="2113"/>
              </a:cxn>
              <a:cxn ang="0">
                <a:pos x="3478" y="2369"/>
              </a:cxn>
              <a:cxn ang="0">
                <a:pos x="3613" y="2656"/>
              </a:cxn>
              <a:cxn ang="0">
                <a:pos x="3624" y="3096"/>
              </a:cxn>
              <a:cxn ang="0">
                <a:pos x="3177" y="3130"/>
              </a:cxn>
              <a:cxn ang="0">
                <a:pos x="2922" y="3214"/>
              </a:cxn>
              <a:cxn ang="0">
                <a:pos x="2801" y="3551"/>
              </a:cxn>
              <a:cxn ang="0">
                <a:pos x="2577" y="3878"/>
              </a:cxn>
              <a:cxn ang="0">
                <a:pos x="2176" y="3668"/>
              </a:cxn>
              <a:cxn ang="0">
                <a:pos x="1913" y="3532"/>
              </a:cxn>
              <a:cxn ang="0">
                <a:pos x="1601" y="3712"/>
              </a:cxn>
              <a:cxn ang="0">
                <a:pos x="1221" y="3820"/>
              </a:cxn>
              <a:cxn ang="0">
                <a:pos x="1026" y="3474"/>
              </a:cxn>
              <a:cxn ang="0">
                <a:pos x="972" y="3163"/>
              </a:cxn>
              <a:cxn ang="0">
                <a:pos x="685" y="3024"/>
              </a:cxn>
              <a:cxn ang="0">
                <a:pos x="244" y="2952"/>
              </a:cxn>
              <a:cxn ang="0">
                <a:pos x="292" y="2514"/>
              </a:cxn>
              <a:cxn ang="0">
                <a:pos x="443" y="2188"/>
              </a:cxn>
              <a:cxn ang="0">
                <a:pos x="320" y="1949"/>
              </a:cxn>
              <a:cxn ang="0">
                <a:pos x="29" y="1611"/>
              </a:cxn>
              <a:cxn ang="0">
                <a:pos x="347" y="1307"/>
              </a:cxn>
              <a:cxn ang="0">
                <a:pos x="644" y="1198"/>
              </a:cxn>
              <a:cxn ang="0">
                <a:pos x="793" y="985"/>
              </a:cxn>
              <a:cxn ang="0">
                <a:pos x="629" y="529"/>
              </a:cxn>
              <a:cxn ang="0">
                <a:pos x="999" y="260"/>
              </a:cxn>
              <a:cxn ang="0">
                <a:pos x="1382" y="556"/>
              </a:cxn>
              <a:cxn ang="0">
                <a:pos x="1712" y="458"/>
              </a:cxn>
              <a:cxn ang="0">
                <a:pos x="1972" y="0"/>
              </a:cxn>
            </a:cxnLst>
            <a:rect l="0" t="0" r="r" b="b"/>
            <a:pathLst>
              <a:path w="3965" h="3943">
                <a:moveTo>
                  <a:pt x="1982" y="874"/>
                </a:moveTo>
                <a:lnTo>
                  <a:pt x="1891" y="878"/>
                </a:lnTo>
                <a:lnTo>
                  <a:pt x="1804" y="889"/>
                </a:lnTo>
                <a:lnTo>
                  <a:pt x="1718" y="906"/>
                </a:lnTo>
                <a:lnTo>
                  <a:pt x="1635" y="930"/>
                </a:lnTo>
                <a:lnTo>
                  <a:pt x="1554" y="960"/>
                </a:lnTo>
                <a:lnTo>
                  <a:pt x="1477" y="996"/>
                </a:lnTo>
                <a:lnTo>
                  <a:pt x="1403" y="1039"/>
                </a:lnTo>
                <a:lnTo>
                  <a:pt x="1333" y="1086"/>
                </a:lnTo>
                <a:lnTo>
                  <a:pt x="1267" y="1138"/>
                </a:lnTo>
                <a:lnTo>
                  <a:pt x="1205" y="1196"/>
                </a:lnTo>
                <a:lnTo>
                  <a:pt x="1148" y="1257"/>
                </a:lnTo>
                <a:lnTo>
                  <a:pt x="1095" y="1324"/>
                </a:lnTo>
                <a:lnTo>
                  <a:pt x="1048" y="1392"/>
                </a:lnTo>
                <a:lnTo>
                  <a:pt x="1006" y="1466"/>
                </a:lnTo>
                <a:lnTo>
                  <a:pt x="970" y="1543"/>
                </a:lnTo>
                <a:lnTo>
                  <a:pt x="940" y="1624"/>
                </a:lnTo>
                <a:lnTo>
                  <a:pt x="915" y="1708"/>
                </a:lnTo>
                <a:lnTo>
                  <a:pt x="898" y="1793"/>
                </a:lnTo>
                <a:lnTo>
                  <a:pt x="888" y="1880"/>
                </a:lnTo>
                <a:lnTo>
                  <a:pt x="884" y="1971"/>
                </a:lnTo>
                <a:lnTo>
                  <a:pt x="888" y="2061"/>
                </a:lnTo>
                <a:lnTo>
                  <a:pt x="898" y="2148"/>
                </a:lnTo>
                <a:lnTo>
                  <a:pt x="915" y="2234"/>
                </a:lnTo>
                <a:lnTo>
                  <a:pt x="940" y="2318"/>
                </a:lnTo>
                <a:lnTo>
                  <a:pt x="970" y="2398"/>
                </a:lnTo>
                <a:lnTo>
                  <a:pt x="1006" y="2476"/>
                </a:lnTo>
                <a:lnTo>
                  <a:pt x="1048" y="2549"/>
                </a:lnTo>
                <a:lnTo>
                  <a:pt x="1095" y="2619"/>
                </a:lnTo>
                <a:lnTo>
                  <a:pt x="1148" y="2686"/>
                </a:lnTo>
                <a:lnTo>
                  <a:pt x="1205" y="2747"/>
                </a:lnTo>
                <a:lnTo>
                  <a:pt x="1267" y="2804"/>
                </a:lnTo>
                <a:lnTo>
                  <a:pt x="1333" y="2857"/>
                </a:lnTo>
                <a:lnTo>
                  <a:pt x="1403" y="2904"/>
                </a:lnTo>
                <a:lnTo>
                  <a:pt x="1477" y="2947"/>
                </a:lnTo>
                <a:lnTo>
                  <a:pt x="1554" y="2983"/>
                </a:lnTo>
                <a:lnTo>
                  <a:pt x="1635" y="3013"/>
                </a:lnTo>
                <a:lnTo>
                  <a:pt x="1718" y="3037"/>
                </a:lnTo>
                <a:lnTo>
                  <a:pt x="1804" y="3054"/>
                </a:lnTo>
                <a:lnTo>
                  <a:pt x="1891" y="3065"/>
                </a:lnTo>
                <a:lnTo>
                  <a:pt x="1982" y="3069"/>
                </a:lnTo>
                <a:lnTo>
                  <a:pt x="2072" y="3065"/>
                </a:lnTo>
                <a:lnTo>
                  <a:pt x="2159" y="3054"/>
                </a:lnTo>
                <a:lnTo>
                  <a:pt x="2245" y="3037"/>
                </a:lnTo>
                <a:lnTo>
                  <a:pt x="2328" y="3013"/>
                </a:lnTo>
                <a:lnTo>
                  <a:pt x="2409" y="2983"/>
                </a:lnTo>
                <a:lnTo>
                  <a:pt x="2487" y="2947"/>
                </a:lnTo>
                <a:lnTo>
                  <a:pt x="2560" y="2904"/>
                </a:lnTo>
                <a:lnTo>
                  <a:pt x="2630" y="2857"/>
                </a:lnTo>
                <a:lnTo>
                  <a:pt x="2697" y="2804"/>
                </a:lnTo>
                <a:lnTo>
                  <a:pt x="2758" y="2747"/>
                </a:lnTo>
                <a:lnTo>
                  <a:pt x="2815" y="2686"/>
                </a:lnTo>
                <a:lnTo>
                  <a:pt x="2868" y="2619"/>
                </a:lnTo>
                <a:lnTo>
                  <a:pt x="2915" y="2549"/>
                </a:lnTo>
                <a:lnTo>
                  <a:pt x="2958" y="2476"/>
                </a:lnTo>
                <a:lnTo>
                  <a:pt x="2994" y="2398"/>
                </a:lnTo>
                <a:lnTo>
                  <a:pt x="3024" y="2318"/>
                </a:lnTo>
                <a:lnTo>
                  <a:pt x="3048" y="2234"/>
                </a:lnTo>
                <a:lnTo>
                  <a:pt x="3065" y="2148"/>
                </a:lnTo>
                <a:lnTo>
                  <a:pt x="3076" y="2061"/>
                </a:lnTo>
                <a:lnTo>
                  <a:pt x="3079" y="1971"/>
                </a:lnTo>
                <a:lnTo>
                  <a:pt x="3076" y="1880"/>
                </a:lnTo>
                <a:lnTo>
                  <a:pt x="3065" y="1793"/>
                </a:lnTo>
                <a:lnTo>
                  <a:pt x="3048" y="1708"/>
                </a:lnTo>
                <a:lnTo>
                  <a:pt x="3024" y="1624"/>
                </a:lnTo>
                <a:lnTo>
                  <a:pt x="2994" y="1543"/>
                </a:lnTo>
                <a:lnTo>
                  <a:pt x="2958" y="1466"/>
                </a:lnTo>
                <a:lnTo>
                  <a:pt x="2915" y="1392"/>
                </a:lnTo>
                <a:lnTo>
                  <a:pt x="2868" y="1324"/>
                </a:lnTo>
                <a:lnTo>
                  <a:pt x="2815" y="1257"/>
                </a:lnTo>
                <a:lnTo>
                  <a:pt x="2758" y="1196"/>
                </a:lnTo>
                <a:lnTo>
                  <a:pt x="2697" y="1138"/>
                </a:lnTo>
                <a:lnTo>
                  <a:pt x="2630" y="1086"/>
                </a:lnTo>
                <a:lnTo>
                  <a:pt x="2560" y="1039"/>
                </a:lnTo>
                <a:lnTo>
                  <a:pt x="2487" y="996"/>
                </a:lnTo>
                <a:lnTo>
                  <a:pt x="2409" y="960"/>
                </a:lnTo>
                <a:lnTo>
                  <a:pt x="2328" y="930"/>
                </a:lnTo>
                <a:lnTo>
                  <a:pt x="2245" y="906"/>
                </a:lnTo>
                <a:lnTo>
                  <a:pt x="2159" y="889"/>
                </a:lnTo>
                <a:lnTo>
                  <a:pt x="2072" y="878"/>
                </a:lnTo>
                <a:lnTo>
                  <a:pt x="1982" y="874"/>
                </a:lnTo>
                <a:close/>
                <a:moveTo>
                  <a:pt x="1972" y="0"/>
                </a:moveTo>
                <a:lnTo>
                  <a:pt x="2064" y="1"/>
                </a:lnTo>
                <a:lnTo>
                  <a:pt x="2156" y="6"/>
                </a:lnTo>
                <a:lnTo>
                  <a:pt x="2246" y="17"/>
                </a:lnTo>
                <a:lnTo>
                  <a:pt x="2337" y="33"/>
                </a:lnTo>
                <a:lnTo>
                  <a:pt x="2357" y="184"/>
                </a:lnTo>
                <a:lnTo>
                  <a:pt x="2369" y="336"/>
                </a:lnTo>
                <a:lnTo>
                  <a:pt x="2373" y="488"/>
                </a:lnTo>
                <a:lnTo>
                  <a:pt x="2439" y="506"/>
                </a:lnTo>
                <a:lnTo>
                  <a:pt x="2506" y="528"/>
                </a:lnTo>
                <a:lnTo>
                  <a:pt x="2570" y="553"/>
                </a:lnTo>
                <a:lnTo>
                  <a:pt x="2618" y="572"/>
                </a:lnTo>
                <a:lnTo>
                  <a:pt x="2665" y="595"/>
                </a:lnTo>
                <a:lnTo>
                  <a:pt x="2757" y="644"/>
                </a:lnTo>
                <a:lnTo>
                  <a:pt x="2838" y="566"/>
                </a:lnTo>
                <a:lnTo>
                  <a:pt x="2924" y="492"/>
                </a:lnTo>
                <a:lnTo>
                  <a:pt x="3012" y="419"/>
                </a:lnTo>
                <a:lnTo>
                  <a:pt x="3104" y="348"/>
                </a:lnTo>
                <a:lnTo>
                  <a:pt x="3177" y="402"/>
                </a:lnTo>
                <a:lnTo>
                  <a:pt x="3250" y="460"/>
                </a:lnTo>
                <a:lnTo>
                  <a:pt x="3319" y="521"/>
                </a:lnTo>
                <a:lnTo>
                  <a:pt x="3386" y="583"/>
                </a:lnTo>
                <a:lnTo>
                  <a:pt x="3449" y="650"/>
                </a:lnTo>
                <a:lnTo>
                  <a:pt x="3508" y="720"/>
                </a:lnTo>
                <a:lnTo>
                  <a:pt x="3447" y="816"/>
                </a:lnTo>
                <a:lnTo>
                  <a:pt x="3383" y="911"/>
                </a:lnTo>
                <a:lnTo>
                  <a:pt x="3314" y="1004"/>
                </a:lnTo>
                <a:lnTo>
                  <a:pt x="3244" y="1092"/>
                </a:lnTo>
                <a:lnTo>
                  <a:pt x="3274" y="1134"/>
                </a:lnTo>
                <a:lnTo>
                  <a:pt x="3300" y="1178"/>
                </a:lnTo>
                <a:lnTo>
                  <a:pt x="3327" y="1223"/>
                </a:lnTo>
                <a:lnTo>
                  <a:pt x="3352" y="1268"/>
                </a:lnTo>
                <a:lnTo>
                  <a:pt x="3374" y="1315"/>
                </a:lnTo>
                <a:lnTo>
                  <a:pt x="3397" y="1362"/>
                </a:lnTo>
                <a:lnTo>
                  <a:pt x="3418" y="1409"/>
                </a:lnTo>
                <a:lnTo>
                  <a:pt x="3436" y="1458"/>
                </a:lnTo>
                <a:lnTo>
                  <a:pt x="3548" y="1450"/>
                </a:lnTo>
                <a:lnTo>
                  <a:pt x="3663" y="1448"/>
                </a:lnTo>
                <a:lnTo>
                  <a:pt x="3777" y="1449"/>
                </a:lnTo>
                <a:lnTo>
                  <a:pt x="3892" y="1454"/>
                </a:lnTo>
                <a:lnTo>
                  <a:pt x="3919" y="1562"/>
                </a:lnTo>
                <a:lnTo>
                  <a:pt x="3938" y="1669"/>
                </a:lnTo>
                <a:lnTo>
                  <a:pt x="3953" y="1779"/>
                </a:lnTo>
                <a:lnTo>
                  <a:pt x="3962" y="1889"/>
                </a:lnTo>
                <a:lnTo>
                  <a:pt x="3965" y="1999"/>
                </a:lnTo>
                <a:lnTo>
                  <a:pt x="3855" y="2034"/>
                </a:lnTo>
                <a:lnTo>
                  <a:pt x="3744" y="2065"/>
                </a:lnTo>
                <a:lnTo>
                  <a:pt x="3633" y="2092"/>
                </a:lnTo>
                <a:lnTo>
                  <a:pt x="3523" y="2113"/>
                </a:lnTo>
                <a:lnTo>
                  <a:pt x="3518" y="2165"/>
                </a:lnTo>
                <a:lnTo>
                  <a:pt x="3511" y="2216"/>
                </a:lnTo>
                <a:lnTo>
                  <a:pt x="3501" y="2268"/>
                </a:lnTo>
                <a:lnTo>
                  <a:pt x="3492" y="2319"/>
                </a:lnTo>
                <a:lnTo>
                  <a:pt x="3478" y="2369"/>
                </a:lnTo>
                <a:lnTo>
                  <a:pt x="3466" y="2419"/>
                </a:lnTo>
                <a:lnTo>
                  <a:pt x="3451" y="2470"/>
                </a:lnTo>
                <a:lnTo>
                  <a:pt x="3433" y="2518"/>
                </a:lnTo>
                <a:lnTo>
                  <a:pt x="3524" y="2584"/>
                </a:lnTo>
                <a:lnTo>
                  <a:pt x="3613" y="2656"/>
                </a:lnTo>
                <a:lnTo>
                  <a:pt x="3701" y="2731"/>
                </a:lnTo>
                <a:lnTo>
                  <a:pt x="3786" y="2808"/>
                </a:lnTo>
                <a:lnTo>
                  <a:pt x="3736" y="2907"/>
                </a:lnTo>
                <a:lnTo>
                  <a:pt x="3683" y="3002"/>
                </a:lnTo>
                <a:lnTo>
                  <a:pt x="3624" y="3096"/>
                </a:lnTo>
                <a:lnTo>
                  <a:pt x="3560" y="3186"/>
                </a:lnTo>
                <a:lnTo>
                  <a:pt x="3491" y="3273"/>
                </a:lnTo>
                <a:lnTo>
                  <a:pt x="3385" y="3229"/>
                </a:lnTo>
                <a:lnTo>
                  <a:pt x="3280" y="3181"/>
                </a:lnTo>
                <a:lnTo>
                  <a:pt x="3177" y="3130"/>
                </a:lnTo>
                <a:lnTo>
                  <a:pt x="3078" y="3076"/>
                </a:lnTo>
                <a:lnTo>
                  <a:pt x="3042" y="3112"/>
                </a:lnTo>
                <a:lnTo>
                  <a:pt x="3002" y="3147"/>
                </a:lnTo>
                <a:lnTo>
                  <a:pt x="2962" y="3180"/>
                </a:lnTo>
                <a:lnTo>
                  <a:pt x="2922" y="3214"/>
                </a:lnTo>
                <a:lnTo>
                  <a:pt x="2838" y="3274"/>
                </a:lnTo>
                <a:lnTo>
                  <a:pt x="2794" y="3302"/>
                </a:lnTo>
                <a:lnTo>
                  <a:pt x="2750" y="3327"/>
                </a:lnTo>
                <a:lnTo>
                  <a:pt x="2776" y="3438"/>
                </a:lnTo>
                <a:lnTo>
                  <a:pt x="2801" y="3551"/>
                </a:lnTo>
                <a:lnTo>
                  <a:pt x="2819" y="3663"/>
                </a:lnTo>
                <a:lnTo>
                  <a:pt x="2833" y="3776"/>
                </a:lnTo>
                <a:lnTo>
                  <a:pt x="2750" y="3815"/>
                </a:lnTo>
                <a:lnTo>
                  <a:pt x="2664" y="3849"/>
                </a:lnTo>
                <a:lnTo>
                  <a:pt x="2577" y="3878"/>
                </a:lnTo>
                <a:lnTo>
                  <a:pt x="2489" y="3903"/>
                </a:lnTo>
                <a:lnTo>
                  <a:pt x="2400" y="3925"/>
                </a:lnTo>
                <a:lnTo>
                  <a:pt x="2310" y="3943"/>
                </a:lnTo>
                <a:lnTo>
                  <a:pt x="2239" y="3807"/>
                </a:lnTo>
                <a:lnTo>
                  <a:pt x="2176" y="3668"/>
                </a:lnTo>
                <a:lnTo>
                  <a:pt x="2119" y="3529"/>
                </a:lnTo>
                <a:lnTo>
                  <a:pt x="2069" y="3531"/>
                </a:lnTo>
                <a:lnTo>
                  <a:pt x="2017" y="3534"/>
                </a:lnTo>
                <a:lnTo>
                  <a:pt x="1965" y="3535"/>
                </a:lnTo>
                <a:lnTo>
                  <a:pt x="1913" y="3532"/>
                </a:lnTo>
                <a:lnTo>
                  <a:pt x="1843" y="3529"/>
                </a:lnTo>
                <a:lnTo>
                  <a:pt x="1774" y="3520"/>
                </a:lnTo>
                <a:lnTo>
                  <a:pt x="1706" y="3509"/>
                </a:lnTo>
                <a:lnTo>
                  <a:pt x="1656" y="3612"/>
                </a:lnTo>
                <a:lnTo>
                  <a:pt x="1601" y="3712"/>
                </a:lnTo>
                <a:lnTo>
                  <a:pt x="1543" y="3810"/>
                </a:lnTo>
                <a:lnTo>
                  <a:pt x="1482" y="3907"/>
                </a:lnTo>
                <a:lnTo>
                  <a:pt x="1394" y="3883"/>
                </a:lnTo>
                <a:lnTo>
                  <a:pt x="1307" y="3854"/>
                </a:lnTo>
                <a:lnTo>
                  <a:pt x="1221" y="3820"/>
                </a:lnTo>
                <a:lnTo>
                  <a:pt x="1136" y="3782"/>
                </a:lnTo>
                <a:lnTo>
                  <a:pt x="1054" y="3741"/>
                </a:lnTo>
                <a:lnTo>
                  <a:pt x="973" y="3698"/>
                </a:lnTo>
                <a:lnTo>
                  <a:pt x="999" y="3584"/>
                </a:lnTo>
                <a:lnTo>
                  <a:pt x="1026" y="3474"/>
                </a:lnTo>
                <a:lnTo>
                  <a:pt x="1059" y="3366"/>
                </a:lnTo>
                <a:lnTo>
                  <a:pt x="1095" y="3258"/>
                </a:lnTo>
                <a:lnTo>
                  <a:pt x="1053" y="3227"/>
                </a:lnTo>
                <a:lnTo>
                  <a:pt x="1012" y="3195"/>
                </a:lnTo>
                <a:lnTo>
                  <a:pt x="972" y="3163"/>
                </a:lnTo>
                <a:lnTo>
                  <a:pt x="934" y="3128"/>
                </a:lnTo>
                <a:lnTo>
                  <a:pt x="883" y="3081"/>
                </a:lnTo>
                <a:lnTo>
                  <a:pt x="834" y="3031"/>
                </a:lnTo>
                <a:lnTo>
                  <a:pt x="790" y="2978"/>
                </a:lnTo>
                <a:lnTo>
                  <a:pt x="685" y="3024"/>
                </a:lnTo>
                <a:lnTo>
                  <a:pt x="580" y="3065"/>
                </a:lnTo>
                <a:lnTo>
                  <a:pt x="472" y="3104"/>
                </a:lnTo>
                <a:lnTo>
                  <a:pt x="362" y="3138"/>
                </a:lnTo>
                <a:lnTo>
                  <a:pt x="301" y="3047"/>
                </a:lnTo>
                <a:lnTo>
                  <a:pt x="244" y="2952"/>
                </a:lnTo>
                <a:lnTo>
                  <a:pt x="193" y="2854"/>
                </a:lnTo>
                <a:lnTo>
                  <a:pt x="149" y="2753"/>
                </a:lnTo>
                <a:lnTo>
                  <a:pt x="109" y="2651"/>
                </a:lnTo>
                <a:lnTo>
                  <a:pt x="200" y="2581"/>
                </a:lnTo>
                <a:lnTo>
                  <a:pt x="292" y="2514"/>
                </a:lnTo>
                <a:lnTo>
                  <a:pt x="386" y="2452"/>
                </a:lnTo>
                <a:lnTo>
                  <a:pt x="483" y="2392"/>
                </a:lnTo>
                <a:lnTo>
                  <a:pt x="459" y="2291"/>
                </a:lnTo>
                <a:lnTo>
                  <a:pt x="449" y="2240"/>
                </a:lnTo>
                <a:lnTo>
                  <a:pt x="443" y="2188"/>
                </a:lnTo>
                <a:lnTo>
                  <a:pt x="436" y="2138"/>
                </a:lnTo>
                <a:lnTo>
                  <a:pt x="432" y="2086"/>
                </a:lnTo>
                <a:lnTo>
                  <a:pt x="430" y="2034"/>
                </a:lnTo>
                <a:lnTo>
                  <a:pt x="429" y="1982"/>
                </a:lnTo>
                <a:lnTo>
                  <a:pt x="320" y="1949"/>
                </a:lnTo>
                <a:lnTo>
                  <a:pt x="213" y="1913"/>
                </a:lnTo>
                <a:lnTo>
                  <a:pt x="106" y="1873"/>
                </a:lnTo>
                <a:lnTo>
                  <a:pt x="0" y="1828"/>
                </a:lnTo>
                <a:lnTo>
                  <a:pt x="11" y="1720"/>
                </a:lnTo>
                <a:lnTo>
                  <a:pt x="29" y="1611"/>
                </a:lnTo>
                <a:lnTo>
                  <a:pt x="52" y="1504"/>
                </a:lnTo>
                <a:lnTo>
                  <a:pt x="82" y="1397"/>
                </a:lnTo>
                <a:lnTo>
                  <a:pt x="118" y="1293"/>
                </a:lnTo>
                <a:lnTo>
                  <a:pt x="233" y="1298"/>
                </a:lnTo>
                <a:lnTo>
                  <a:pt x="347" y="1307"/>
                </a:lnTo>
                <a:lnTo>
                  <a:pt x="459" y="1319"/>
                </a:lnTo>
                <a:lnTo>
                  <a:pt x="571" y="1336"/>
                </a:lnTo>
                <a:lnTo>
                  <a:pt x="594" y="1290"/>
                </a:lnTo>
                <a:lnTo>
                  <a:pt x="618" y="1243"/>
                </a:lnTo>
                <a:lnTo>
                  <a:pt x="644" y="1198"/>
                </a:lnTo>
                <a:lnTo>
                  <a:pt x="671" y="1153"/>
                </a:lnTo>
                <a:lnTo>
                  <a:pt x="699" y="1110"/>
                </a:lnTo>
                <a:lnTo>
                  <a:pt x="729" y="1068"/>
                </a:lnTo>
                <a:lnTo>
                  <a:pt x="762" y="1027"/>
                </a:lnTo>
                <a:lnTo>
                  <a:pt x="793" y="985"/>
                </a:lnTo>
                <a:lnTo>
                  <a:pt x="731" y="891"/>
                </a:lnTo>
                <a:lnTo>
                  <a:pt x="671" y="795"/>
                </a:lnTo>
                <a:lnTo>
                  <a:pt x="616" y="696"/>
                </a:lnTo>
                <a:lnTo>
                  <a:pt x="563" y="593"/>
                </a:lnTo>
                <a:lnTo>
                  <a:pt x="629" y="529"/>
                </a:lnTo>
                <a:lnTo>
                  <a:pt x="698" y="469"/>
                </a:lnTo>
                <a:lnTo>
                  <a:pt x="769" y="411"/>
                </a:lnTo>
                <a:lnTo>
                  <a:pt x="843" y="356"/>
                </a:lnTo>
                <a:lnTo>
                  <a:pt x="920" y="306"/>
                </a:lnTo>
                <a:lnTo>
                  <a:pt x="999" y="260"/>
                </a:lnTo>
                <a:lnTo>
                  <a:pt x="1083" y="336"/>
                </a:lnTo>
                <a:lnTo>
                  <a:pt x="1164" y="415"/>
                </a:lnTo>
                <a:lnTo>
                  <a:pt x="1243" y="498"/>
                </a:lnTo>
                <a:lnTo>
                  <a:pt x="1319" y="583"/>
                </a:lnTo>
                <a:lnTo>
                  <a:pt x="1382" y="556"/>
                </a:lnTo>
                <a:lnTo>
                  <a:pt x="1446" y="530"/>
                </a:lnTo>
                <a:lnTo>
                  <a:pt x="1512" y="507"/>
                </a:lnTo>
                <a:lnTo>
                  <a:pt x="1578" y="488"/>
                </a:lnTo>
                <a:lnTo>
                  <a:pt x="1645" y="472"/>
                </a:lnTo>
                <a:lnTo>
                  <a:pt x="1712" y="458"/>
                </a:lnTo>
                <a:lnTo>
                  <a:pt x="1731" y="309"/>
                </a:lnTo>
                <a:lnTo>
                  <a:pt x="1756" y="159"/>
                </a:lnTo>
                <a:lnTo>
                  <a:pt x="1789" y="9"/>
                </a:lnTo>
                <a:lnTo>
                  <a:pt x="1880" y="2"/>
                </a:lnTo>
                <a:lnTo>
                  <a:pt x="1972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0">
            <a:noFill/>
            <a:prstDash val="solid"/>
            <a:round/>
            <a:headEnd/>
            <a:tailEnd/>
          </a:ln>
          <a:scene3d>
            <a:camera prst="perspectiveRight"/>
            <a:lightRig rig="threePt" dir="t"/>
          </a:scene3d>
          <a:sp3d extrusionH="203200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出自【趣你的PPT】(微信:qunideppt)：最优质的PPT资源库"/>
          <p:cNvSpPr>
            <a:spLocks noEditPoints="1"/>
          </p:cNvSpPr>
          <p:nvPr/>
        </p:nvSpPr>
        <p:spPr bwMode="auto">
          <a:xfrm>
            <a:off x="2908814" y="3140539"/>
            <a:ext cx="1836716" cy="1827446"/>
          </a:xfrm>
          <a:custGeom>
            <a:avLst/>
            <a:gdLst/>
            <a:ahLst/>
            <a:cxnLst>
              <a:cxn ang="0">
                <a:pos x="1635" y="930"/>
              </a:cxn>
              <a:cxn ang="0">
                <a:pos x="1267" y="1138"/>
              </a:cxn>
              <a:cxn ang="0">
                <a:pos x="1006" y="1466"/>
              </a:cxn>
              <a:cxn ang="0">
                <a:pos x="888" y="1880"/>
              </a:cxn>
              <a:cxn ang="0">
                <a:pos x="940" y="2318"/>
              </a:cxn>
              <a:cxn ang="0">
                <a:pos x="1148" y="2686"/>
              </a:cxn>
              <a:cxn ang="0">
                <a:pos x="1477" y="2947"/>
              </a:cxn>
              <a:cxn ang="0">
                <a:pos x="1891" y="3065"/>
              </a:cxn>
              <a:cxn ang="0">
                <a:pos x="2328" y="3013"/>
              </a:cxn>
              <a:cxn ang="0">
                <a:pos x="2697" y="2804"/>
              </a:cxn>
              <a:cxn ang="0">
                <a:pos x="2958" y="2476"/>
              </a:cxn>
              <a:cxn ang="0">
                <a:pos x="3076" y="2061"/>
              </a:cxn>
              <a:cxn ang="0">
                <a:pos x="3024" y="1624"/>
              </a:cxn>
              <a:cxn ang="0">
                <a:pos x="2815" y="1257"/>
              </a:cxn>
              <a:cxn ang="0">
                <a:pos x="2487" y="996"/>
              </a:cxn>
              <a:cxn ang="0">
                <a:pos x="2072" y="878"/>
              </a:cxn>
              <a:cxn ang="0">
                <a:pos x="2246" y="17"/>
              </a:cxn>
              <a:cxn ang="0">
                <a:pos x="2439" y="506"/>
              </a:cxn>
              <a:cxn ang="0">
                <a:pos x="2757" y="644"/>
              </a:cxn>
              <a:cxn ang="0">
                <a:pos x="3177" y="402"/>
              </a:cxn>
              <a:cxn ang="0">
                <a:pos x="3508" y="720"/>
              </a:cxn>
              <a:cxn ang="0">
                <a:pos x="3274" y="1134"/>
              </a:cxn>
              <a:cxn ang="0">
                <a:pos x="3397" y="1362"/>
              </a:cxn>
              <a:cxn ang="0">
                <a:pos x="3777" y="1449"/>
              </a:cxn>
              <a:cxn ang="0">
                <a:pos x="3962" y="1889"/>
              </a:cxn>
              <a:cxn ang="0">
                <a:pos x="3523" y="2113"/>
              </a:cxn>
              <a:cxn ang="0">
                <a:pos x="3478" y="2369"/>
              </a:cxn>
              <a:cxn ang="0">
                <a:pos x="3613" y="2656"/>
              </a:cxn>
              <a:cxn ang="0">
                <a:pos x="3624" y="3096"/>
              </a:cxn>
              <a:cxn ang="0">
                <a:pos x="3177" y="3130"/>
              </a:cxn>
              <a:cxn ang="0">
                <a:pos x="2922" y="3214"/>
              </a:cxn>
              <a:cxn ang="0">
                <a:pos x="2801" y="3551"/>
              </a:cxn>
              <a:cxn ang="0">
                <a:pos x="2577" y="3878"/>
              </a:cxn>
              <a:cxn ang="0">
                <a:pos x="2176" y="3668"/>
              </a:cxn>
              <a:cxn ang="0">
                <a:pos x="1913" y="3532"/>
              </a:cxn>
              <a:cxn ang="0">
                <a:pos x="1601" y="3712"/>
              </a:cxn>
              <a:cxn ang="0">
                <a:pos x="1221" y="3820"/>
              </a:cxn>
              <a:cxn ang="0">
                <a:pos x="1026" y="3474"/>
              </a:cxn>
              <a:cxn ang="0">
                <a:pos x="972" y="3163"/>
              </a:cxn>
              <a:cxn ang="0">
                <a:pos x="685" y="3024"/>
              </a:cxn>
              <a:cxn ang="0">
                <a:pos x="244" y="2952"/>
              </a:cxn>
              <a:cxn ang="0">
                <a:pos x="292" y="2514"/>
              </a:cxn>
              <a:cxn ang="0">
                <a:pos x="443" y="2188"/>
              </a:cxn>
              <a:cxn ang="0">
                <a:pos x="320" y="1949"/>
              </a:cxn>
              <a:cxn ang="0">
                <a:pos x="29" y="1611"/>
              </a:cxn>
              <a:cxn ang="0">
                <a:pos x="347" y="1307"/>
              </a:cxn>
              <a:cxn ang="0">
                <a:pos x="644" y="1198"/>
              </a:cxn>
              <a:cxn ang="0">
                <a:pos x="793" y="985"/>
              </a:cxn>
              <a:cxn ang="0">
                <a:pos x="629" y="529"/>
              </a:cxn>
              <a:cxn ang="0">
                <a:pos x="999" y="260"/>
              </a:cxn>
              <a:cxn ang="0">
                <a:pos x="1382" y="556"/>
              </a:cxn>
              <a:cxn ang="0">
                <a:pos x="1712" y="458"/>
              </a:cxn>
              <a:cxn ang="0">
                <a:pos x="1972" y="0"/>
              </a:cxn>
            </a:cxnLst>
            <a:rect l="0" t="0" r="r" b="b"/>
            <a:pathLst>
              <a:path w="3965" h="3943">
                <a:moveTo>
                  <a:pt x="1982" y="874"/>
                </a:moveTo>
                <a:lnTo>
                  <a:pt x="1891" y="878"/>
                </a:lnTo>
                <a:lnTo>
                  <a:pt x="1804" y="889"/>
                </a:lnTo>
                <a:lnTo>
                  <a:pt x="1718" y="906"/>
                </a:lnTo>
                <a:lnTo>
                  <a:pt x="1635" y="930"/>
                </a:lnTo>
                <a:lnTo>
                  <a:pt x="1554" y="960"/>
                </a:lnTo>
                <a:lnTo>
                  <a:pt x="1477" y="996"/>
                </a:lnTo>
                <a:lnTo>
                  <a:pt x="1403" y="1039"/>
                </a:lnTo>
                <a:lnTo>
                  <a:pt x="1333" y="1086"/>
                </a:lnTo>
                <a:lnTo>
                  <a:pt x="1267" y="1138"/>
                </a:lnTo>
                <a:lnTo>
                  <a:pt x="1205" y="1196"/>
                </a:lnTo>
                <a:lnTo>
                  <a:pt x="1148" y="1257"/>
                </a:lnTo>
                <a:lnTo>
                  <a:pt x="1095" y="1324"/>
                </a:lnTo>
                <a:lnTo>
                  <a:pt x="1048" y="1392"/>
                </a:lnTo>
                <a:lnTo>
                  <a:pt x="1006" y="1466"/>
                </a:lnTo>
                <a:lnTo>
                  <a:pt x="970" y="1543"/>
                </a:lnTo>
                <a:lnTo>
                  <a:pt x="940" y="1624"/>
                </a:lnTo>
                <a:lnTo>
                  <a:pt x="915" y="1708"/>
                </a:lnTo>
                <a:lnTo>
                  <a:pt x="898" y="1793"/>
                </a:lnTo>
                <a:lnTo>
                  <a:pt x="888" y="1880"/>
                </a:lnTo>
                <a:lnTo>
                  <a:pt x="884" y="1971"/>
                </a:lnTo>
                <a:lnTo>
                  <a:pt x="888" y="2061"/>
                </a:lnTo>
                <a:lnTo>
                  <a:pt x="898" y="2148"/>
                </a:lnTo>
                <a:lnTo>
                  <a:pt x="915" y="2234"/>
                </a:lnTo>
                <a:lnTo>
                  <a:pt x="940" y="2318"/>
                </a:lnTo>
                <a:lnTo>
                  <a:pt x="970" y="2398"/>
                </a:lnTo>
                <a:lnTo>
                  <a:pt x="1006" y="2476"/>
                </a:lnTo>
                <a:lnTo>
                  <a:pt x="1048" y="2549"/>
                </a:lnTo>
                <a:lnTo>
                  <a:pt x="1095" y="2619"/>
                </a:lnTo>
                <a:lnTo>
                  <a:pt x="1148" y="2686"/>
                </a:lnTo>
                <a:lnTo>
                  <a:pt x="1205" y="2747"/>
                </a:lnTo>
                <a:lnTo>
                  <a:pt x="1267" y="2804"/>
                </a:lnTo>
                <a:lnTo>
                  <a:pt x="1333" y="2857"/>
                </a:lnTo>
                <a:lnTo>
                  <a:pt x="1403" y="2904"/>
                </a:lnTo>
                <a:lnTo>
                  <a:pt x="1477" y="2947"/>
                </a:lnTo>
                <a:lnTo>
                  <a:pt x="1554" y="2983"/>
                </a:lnTo>
                <a:lnTo>
                  <a:pt x="1635" y="3013"/>
                </a:lnTo>
                <a:lnTo>
                  <a:pt x="1718" y="3037"/>
                </a:lnTo>
                <a:lnTo>
                  <a:pt x="1804" y="3054"/>
                </a:lnTo>
                <a:lnTo>
                  <a:pt x="1891" y="3065"/>
                </a:lnTo>
                <a:lnTo>
                  <a:pt x="1982" y="3069"/>
                </a:lnTo>
                <a:lnTo>
                  <a:pt x="2072" y="3065"/>
                </a:lnTo>
                <a:lnTo>
                  <a:pt x="2159" y="3054"/>
                </a:lnTo>
                <a:lnTo>
                  <a:pt x="2245" y="3037"/>
                </a:lnTo>
                <a:lnTo>
                  <a:pt x="2328" y="3013"/>
                </a:lnTo>
                <a:lnTo>
                  <a:pt x="2409" y="2983"/>
                </a:lnTo>
                <a:lnTo>
                  <a:pt x="2487" y="2947"/>
                </a:lnTo>
                <a:lnTo>
                  <a:pt x="2560" y="2904"/>
                </a:lnTo>
                <a:lnTo>
                  <a:pt x="2630" y="2857"/>
                </a:lnTo>
                <a:lnTo>
                  <a:pt x="2697" y="2804"/>
                </a:lnTo>
                <a:lnTo>
                  <a:pt x="2758" y="2747"/>
                </a:lnTo>
                <a:lnTo>
                  <a:pt x="2815" y="2686"/>
                </a:lnTo>
                <a:lnTo>
                  <a:pt x="2868" y="2619"/>
                </a:lnTo>
                <a:lnTo>
                  <a:pt x="2915" y="2549"/>
                </a:lnTo>
                <a:lnTo>
                  <a:pt x="2958" y="2476"/>
                </a:lnTo>
                <a:lnTo>
                  <a:pt x="2994" y="2398"/>
                </a:lnTo>
                <a:lnTo>
                  <a:pt x="3024" y="2318"/>
                </a:lnTo>
                <a:lnTo>
                  <a:pt x="3048" y="2234"/>
                </a:lnTo>
                <a:lnTo>
                  <a:pt x="3065" y="2148"/>
                </a:lnTo>
                <a:lnTo>
                  <a:pt x="3076" y="2061"/>
                </a:lnTo>
                <a:lnTo>
                  <a:pt x="3079" y="1971"/>
                </a:lnTo>
                <a:lnTo>
                  <a:pt x="3076" y="1880"/>
                </a:lnTo>
                <a:lnTo>
                  <a:pt x="3065" y="1793"/>
                </a:lnTo>
                <a:lnTo>
                  <a:pt x="3048" y="1708"/>
                </a:lnTo>
                <a:lnTo>
                  <a:pt x="3024" y="1624"/>
                </a:lnTo>
                <a:lnTo>
                  <a:pt x="2994" y="1543"/>
                </a:lnTo>
                <a:lnTo>
                  <a:pt x="2958" y="1466"/>
                </a:lnTo>
                <a:lnTo>
                  <a:pt x="2915" y="1392"/>
                </a:lnTo>
                <a:lnTo>
                  <a:pt x="2868" y="1324"/>
                </a:lnTo>
                <a:lnTo>
                  <a:pt x="2815" y="1257"/>
                </a:lnTo>
                <a:lnTo>
                  <a:pt x="2758" y="1196"/>
                </a:lnTo>
                <a:lnTo>
                  <a:pt x="2697" y="1138"/>
                </a:lnTo>
                <a:lnTo>
                  <a:pt x="2630" y="1086"/>
                </a:lnTo>
                <a:lnTo>
                  <a:pt x="2560" y="1039"/>
                </a:lnTo>
                <a:lnTo>
                  <a:pt x="2487" y="996"/>
                </a:lnTo>
                <a:lnTo>
                  <a:pt x="2409" y="960"/>
                </a:lnTo>
                <a:lnTo>
                  <a:pt x="2328" y="930"/>
                </a:lnTo>
                <a:lnTo>
                  <a:pt x="2245" y="906"/>
                </a:lnTo>
                <a:lnTo>
                  <a:pt x="2159" y="889"/>
                </a:lnTo>
                <a:lnTo>
                  <a:pt x="2072" y="878"/>
                </a:lnTo>
                <a:lnTo>
                  <a:pt x="1982" y="874"/>
                </a:lnTo>
                <a:close/>
                <a:moveTo>
                  <a:pt x="1972" y="0"/>
                </a:moveTo>
                <a:lnTo>
                  <a:pt x="2064" y="1"/>
                </a:lnTo>
                <a:lnTo>
                  <a:pt x="2156" y="6"/>
                </a:lnTo>
                <a:lnTo>
                  <a:pt x="2246" y="17"/>
                </a:lnTo>
                <a:lnTo>
                  <a:pt x="2337" y="33"/>
                </a:lnTo>
                <a:lnTo>
                  <a:pt x="2357" y="184"/>
                </a:lnTo>
                <a:lnTo>
                  <a:pt x="2369" y="336"/>
                </a:lnTo>
                <a:lnTo>
                  <a:pt x="2373" y="488"/>
                </a:lnTo>
                <a:lnTo>
                  <a:pt x="2439" y="506"/>
                </a:lnTo>
                <a:lnTo>
                  <a:pt x="2506" y="528"/>
                </a:lnTo>
                <a:lnTo>
                  <a:pt x="2570" y="553"/>
                </a:lnTo>
                <a:lnTo>
                  <a:pt x="2618" y="572"/>
                </a:lnTo>
                <a:lnTo>
                  <a:pt x="2665" y="595"/>
                </a:lnTo>
                <a:lnTo>
                  <a:pt x="2757" y="644"/>
                </a:lnTo>
                <a:lnTo>
                  <a:pt x="2838" y="566"/>
                </a:lnTo>
                <a:lnTo>
                  <a:pt x="2924" y="492"/>
                </a:lnTo>
                <a:lnTo>
                  <a:pt x="3012" y="419"/>
                </a:lnTo>
                <a:lnTo>
                  <a:pt x="3104" y="348"/>
                </a:lnTo>
                <a:lnTo>
                  <a:pt x="3177" y="402"/>
                </a:lnTo>
                <a:lnTo>
                  <a:pt x="3250" y="460"/>
                </a:lnTo>
                <a:lnTo>
                  <a:pt x="3319" y="521"/>
                </a:lnTo>
                <a:lnTo>
                  <a:pt x="3386" y="583"/>
                </a:lnTo>
                <a:lnTo>
                  <a:pt x="3449" y="650"/>
                </a:lnTo>
                <a:lnTo>
                  <a:pt x="3508" y="720"/>
                </a:lnTo>
                <a:lnTo>
                  <a:pt x="3447" y="816"/>
                </a:lnTo>
                <a:lnTo>
                  <a:pt x="3383" y="911"/>
                </a:lnTo>
                <a:lnTo>
                  <a:pt x="3314" y="1004"/>
                </a:lnTo>
                <a:lnTo>
                  <a:pt x="3244" y="1092"/>
                </a:lnTo>
                <a:lnTo>
                  <a:pt x="3274" y="1134"/>
                </a:lnTo>
                <a:lnTo>
                  <a:pt x="3300" y="1178"/>
                </a:lnTo>
                <a:lnTo>
                  <a:pt x="3327" y="1223"/>
                </a:lnTo>
                <a:lnTo>
                  <a:pt x="3352" y="1268"/>
                </a:lnTo>
                <a:lnTo>
                  <a:pt x="3374" y="1315"/>
                </a:lnTo>
                <a:lnTo>
                  <a:pt x="3397" y="1362"/>
                </a:lnTo>
                <a:lnTo>
                  <a:pt x="3418" y="1409"/>
                </a:lnTo>
                <a:lnTo>
                  <a:pt x="3436" y="1458"/>
                </a:lnTo>
                <a:lnTo>
                  <a:pt x="3548" y="1450"/>
                </a:lnTo>
                <a:lnTo>
                  <a:pt x="3663" y="1448"/>
                </a:lnTo>
                <a:lnTo>
                  <a:pt x="3777" y="1449"/>
                </a:lnTo>
                <a:lnTo>
                  <a:pt x="3892" y="1454"/>
                </a:lnTo>
                <a:lnTo>
                  <a:pt x="3919" y="1562"/>
                </a:lnTo>
                <a:lnTo>
                  <a:pt x="3938" y="1669"/>
                </a:lnTo>
                <a:lnTo>
                  <a:pt x="3953" y="1779"/>
                </a:lnTo>
                <a:lnTo>
                  <a:pt x="3962" y="1889"/>
                </a:lnTo>
                <a:lnTo>
                  <a:pt x="3965" y="1999"/>
                </a:lnTo>
                <a:lnTo>
                  <a:pt x="3855" y="2034"/>
                </a:lnTo>
                <a:lnTo>
                  <a:pt x="3744" y="2065"/>
                </a:lnTo>
                <a:lnTo>
                  <a:pt x="3633" y="2092"/>
                </a:lnTo>
                <a:lnTo>
                  <a:pt x="3523" y="2113"/>
                </a:lnTo>
                <a:lnTo>
                  <a:pt x="3518" y="2165"/>
                </a:lnTo>
                <a:lnTo>
                  <a:pt x="3511" y="2216"/>
                </a:lnTo>
                <a:lnTo>
                  <a:pt x="3501" y="2268"/>
                </a:lnTo>
                <a:lnTo>
                  <a:pt x="3492" y="2319"/>
                </a:lnTo>
                <a:lnTo>
                  <a:pt x="3478" y="2369"/>
                </a:lnTo>
                <a:lnTo>
                  <a:pt x="3466" y="2419"/>
                </a:lnTo>
                <a:lnTo>
                  <a:pt x="3451" y="2470"/>
                </a:lnTo>
                <a:lnTo>
                  <a:pt x="3433" y="2518"/>
                </a:lnTo>
                <a:lnTo>
                  <a:pt x="3524" y="2584"/>
                </a:lnTo>
                <a:lnTo>
                  <a:pt x="3613" y="2656"/>
                </a:lnTo>
                <a:lnTo>
                  <a:pt x="3701" y="2731"/>
                </a:lnTo>
                <a:lnTo>
                  <a:pt x="3786" y="2808"/>
                </a:lnTo>
                <a:lnTo>
                  <a:pt x="3736" y="2907"/>
                </a:lnTo>
                <a:lnTo>
                  <a:pt x="3683" y="3002"/>
                </a:lnTo>
                <a:lnTo>
                  <a:pt x="3624" y="3096"/>
                </a:lnTo>
                <a:lnTo>
                  <a:pt x="3560" y="3186"/>
                </a:lnTo>
                <a:lnTo>
                  <a:pt x="3491" y="3273"/>
                </a:lnTo>
                <a:lnTo>
                  <a:pt x="3385" y="3229"/>
                </a:lnTo>
                <a:lnTo>
                  <a:pt x="3280" y="3181"/>
                </a:lnTo>
                <a:lnTo>
                  <a:pt x="3177" y="3130"/>
                </a:lnTo>
                <a:lnTo>
                  <a:pt x="3078" y="3076"/>
                </a:lnTo>
                <a:lnTo>
                  <a:pt x="3042" y="3112"/>
                </a:lnTo>
                <a:lnTo>
                  <a:pt x="3002" y="3147"/>
                </a:lnTo>
                <a:lnTo>
                  <a:pt x="2962" y="3180"/>
                </a:lnTo>
                <a:lnTo>
                  <a:pt x="2922" y="3214"/>
                </a:lnTo>
                <a:lnTo>
                  <a:pt x="2838" y="3274"/>
                </a:lnTo>
                <a:lnTo>
                  <a:pt x="2794" y="3302"/>
                </a:lnTo>
                <a:lnTo>
                  <a:pt x="2750" y="3327"/>
                </a:lnTo>
                <a:lnTo>
                  <a:pt x="2776" y="3438"/>
                </a:lnTo>
                <a:lnTo>
                  <a:pt x="2801" y="3551"/>
                </a:lnTo>
                <a:lnTo>
                  <a:pt x="2819" y="3663"/>
                </a:lnTo>
                <a:lnTo>
                  <a:pt x="2833" y="3776"/>
                </a:lnTo>
                <a:lnTo>
                  <a:pt x="2750" y="3815"/>
                </a:lnTo>
                <a:lnTo>
                  <a:pt x="2664" y="3849"/>
                </a:lnTo>
                <a:lnTo>
                  <a:pt x="2577" y="3878"/>
                </a:lnTo>
                <a:lnTo>
                  <a:pt x="2489" y="3903"/>
                </a:lnTo>
                <a:lnTo>
                  <a:pt x="2400" y="3925"/>
                </a:lnTo>
                <a:lnTo>
                  <a:pt x="2310" y="3943"/>
                </a:lnTo>
                <a:lnTo>
                  <a:pt x="2239" y="3807"/>
                </a:lnTo>
                <a:lnTo>
                  <a:pt x="2176" y="3668"/>
                </a:lnTo>
                <a:lnTo>
                  <a:pt x="2119" y="3529"/>
                </a:lnTo>
                <a:lnTo>
                  <a:pt x="2069" y="3531"/>
                </a:lnTo>
                <a:lnTo>
                  <a:pt x="2017" y="3534"/>
                </a:lnTo>
                <a:lnTo>
                  <a:pt x="1965" y="3535"/>
                </a:lnTo>
                <a:lnTo>
                  <a:pt x="1913" y="3532"/>
                </a:lnTo>
                <a:lnTo>
                  <a:pt x="1843" y="3529"/>
                </a:lnTo>
                <a:lnTo>
                  <a:pt x="1774" y="3520"/>
                </a:lnTo>
                <a:lnTo>
                  <a:pt x="1706" y="3509"/>
                </a:lnTo>
                <a:lnTo>
                  <a:pt x="1656" y="3612"/>
                </a:lnTo>
                <a:lnTo>
                  <a:pt x="1601" y="3712"/>
                </a:lnTo>
                <a:lnTo>
                  <a:pt x="1543" y="3810"/>
                </a:lnTo>
                <a:lnTo>
                  <a:pt x="1482" y="3907"/>
                </a:lnTo>
                <a:lnTo>
                  <a:pt x="1394" y="3883"/>
                </a:lnTo>
                <a:lnTo>
                  <a:pt x="1307" y="3854"/>
                </a:lnTo>
                <a:lnTo>
                  <a:pt x="1221" y="3820"/>
                </a:lnTo>
                <a:lnTo>
                  <a:pt x="1136" y="3782"/>
                </a:lnTo>
                <a:lnTo>
                  <a:pt x="1054" y="3741"/>
                </a:lnTo>
                <a:lnTo>
                  <a:pt x="973" y="3698"/>
                </a:lnTo>
                <a:lnTo>
                  <a:pt x="999" y="3584"/>
                </a:lnTo>
                <a:lnTo>
                  <a:pt x="1026" y="3474"/>
                </a:lnTo>
                <a:lnTo>
                  <a:pt x="1059" y="3366"/>
                </a:lnTo>
                <a:lnTo>
                  <a:pt x="1095" y="3258"/>
                </a:lnTo>
                <a:lnTo>
                  <a:pt x="1053" y="3227"/>
                </a:lnTo>
                <a:lnTo>
                  <a:pt x="1012" y="3195"/>
                </a:lnTo>
                <a:lnTo>
                  <a:pt x="972" y="3163"/>
                </a:lnTo>
                <a:lnTo>
                  <a:pt x="934" y="3128"/>
                </a:lnTo>
                <a:lnTo>
                  <a:pt x="883" y="3081"/>
                </a:lnTo>
                <a:lnTo>
                  <a:pt x="834" y="3031"/>
                </a:lnTo>
                <a:lnTo>
                  <a:pt x="790" y="2978"/>
                </a:lnTo>
                <a:lnTo>
                  <a:pt x="685" y="3024"/>
                </a:lnTo>
                <a:lnTo>
                  <a:pt x="580" y="3065"/>
                </a:lnTo>
                <a:lnTo>
                  <a:pt x="472" y="3104"/>
                </a:lnTo>
                <a:lnTo>
                  <a:pt x="362" y="3138"/>
                </a:lnTo>
                <a:lnTo>
                  <a:pt x="301" y="3047"/>
                </a:lnTo>
                <a:lnTo>
                  <a:pt x="244" y="2952"/>
                </a:lnTo>
                <a:lnTo>
                  <a:pt x="193" y="2854"/>
                </a:lnTo>
                <a:lnTo>
                  <a:pt x="149" y="2753"/>
                </a:lnTo>
                <a:lnTo>
                  <a:pt x="109" y="2651"/>
                </a:lnTo>
                <a:lnTo>
                  <a:pt x="200" y="2581"/>
                </a:lnTo>
                <a:lnTo>
                  <a:pt x="292" y="2514"/>
                </a:lnTo>
                <a:lnTo>
                  <a:pt x="386" y="2452"/>
                </a:lnTo>
                <a:lnTo>
                  <a:pt x="483" y="2392"/>
                </a:lnTo>
                <a:lnTo>
                  <a:pt x="459" y="2291"/>
                </a:lnTo>
                <a:lnTo>
                  <a:pt x="449" y="2240"/>
                </a:lnTo>
                <a:lnTo>
                  <a:pt x="443" y="2188"/>
                </a:lnTo>
                <a:lnTo>
                  <a:pt x="436" y="2138"/>
                </a:lnTo>
                <a:lnTo>
                  <a:pt x="432" y="2086"/>
                </a:lnTo>
                <a:lnTo>
                  <a:pt x="430" y="2034"/>
                </a:lnTo>
                <a:lnTo>
                  <a:pt x="429" y="1982"/>
                </a:lnTo>
                <a:lnTo>
                  <a:pt x="320" y="1949"/>
                </a:lnTo>
                <a:lnTo>
                  <a:pt x="213" y="1913"/>
                </a:lnTo>
                <a:lnTo>
                  <a:pt x="106" y="1873"/>
                </a:lnTo>
                <a:lnTo>
                  <a:pt x="0" y="1828"/>
                </a:lnTo>
                <a:lnTo>
                  <a:pt x="11" y="1720"/>
                </a:lnTo>
                <a:lnTo>
                  <a:pt x="29" y="1611"/>
                </a:lnTo>
                <a:lnTo>
                  <a:pt x="52" y="1504"/>
                </a:lnTo>
                <a:lnTo>
                  <a:pt x="82" y="1397"/>
                </a:lnTo>
                <a:lnTo>
                  <a:pt x="118" y="1293"/>
                </a:lnTo>
                <a:lnTo>
                  <a:pt x="233" y="1298"/>
                </a:lnTo>
                <a:lnTo>
                  <a:pt x="347" y="1307"/>
                </a:lnTo>
                <a:lnTo>
                  <a:pt x="459" y="1319"/>
                </a:lnTo>
                <a:lnTo>
                  <a:pt x="571" y="1336"/>
                </a:lnTo>
                <a:lnTo>
                  <a:pt x="594" y="1290"/>
                </a:lnTo>
                <a:lnTo>
                  <a:pt x="618" y="1243"/>
                </a:lnTo>
                <a:lnTo>
                  <a:pt x="644" y="1198"/>
                </a:lnTo>
                <a:lnTo>
                  <a:pt x="671" y="1153"/>
                </a:lnTo>
                <a:lnTo>
                  <a:pt x="699" y="1110"/>
                </a:lnTo>
                <a:lnTo>
                  <a:pt x="729" y="1068"/>
                </a:lnTo>
                <a:lnTo>
                  <a:pt x="762" y="1027"/>
                </a:lnTo>
                <a:lnTo>
                  <a:pt x="793" y="985"/>
                </a:lnTo>
                <a:lnTo>
                  <a:pt x="731" y="891"/>
                </a:lnTo>
                <a:lnTo>
                  <a:pt x="671" y="795"/>
                </a:lnTo>
                <a:lnTo>
                  <a:pt x="616" y="696"/>
                </a:lnTo>
                <a:lnTo>
                  <a:pt x="563" y="593"/>
                </a:lnTo>
                <a:lnTo>
                  <a:pt x="629" y="529"/>
                </a:lnTo>
                <a:lnTo>
                  <a:pt x="698" y="469"/>
                </a:lnTo>
                <a:lnTo>
                  <a:pt x="769" y="411"/>
                </a:lnTo>
                <a:lnTo>
                  <a:pt x="843" y="356"/>
                </a:lnTo>
                <a:lnTo>
                  <a:pt x="920" y="306"/>
                </a:lnTo>
                <a:lnTo>
                  <a:pt x="999" y="260"/>
                </a:lnTo>
                <a:lnTo>
                  <a:pt x="1083" y="336"/>
                </a:lnTo>
                <a:lnTo>
                  <a:pt x="1164" y="415"/>
                </a:lnTo>
                <a:lnTo>
                  <a:pt x="1243" y="498"/>
                </a:lnTo>
                <a:lnTo>
                  <a:pt x="1319" y="583"/>
                </a:lnTo>
                <a:lnTo>
                  <a:pt x="1382" y="556"/>
                </a:lnTo>
                <a:lnTo>
                  <a:pt x="1446" y="530"/>
                </a:lnTo>
                <a:lnTo>
                  <a:pt x="1512" y="507"/>
                </a:lnTo>
                <a:lnTo>
                  <a:pt x="1578" y="488"/>
                </a:lnTo>
                <a:lnTo>
                  <a:pt x="1645" y="472"/>
                </a:lnTo>
                <a:lnTo>
                  <a:pt x="1712" y="458"/>
                </a:lnTo>
                <a:lnTo>
                  <a:pt x="1731" y="309"/>
                </a:lnTo>
                <a:lnTo>
                  <a:pt x="1756" y="159"/>
                </a:lnTo>
                <a:lnTo>
                  <a:pt x="1789" y="9"/>
                </a:lnTo>
                <a:lnTo>
                  <a:pt x="1880" y="2"/>
                </a:lnTo>
                <a:lnTo>
                  <a:pt x="1972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0">
            <a:noFill/>
            <a:prstDash val="solid"/>
            <a:round/>
            <a:headEnd/>
            <a:tailEnd/>
          </a:ln>
          <a:scene3d>
            <a:camera prst="perspectiveRight"/>
            <a:lightRig rig="threePt" dir="t"/>
          </a:scene3d>
          <a:sp3d extrusionH="203200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出自【趣你的PPT】(微信:qunideppt)：最优质的PPT资源库"/>
          <p:cNvSpPr>
            <a:spLocks noEditPoints="1"/>
          </p:cNvSpPr>
          <p:nvPr/>
        </p:nvSpPr>
        <p:spPr bwMode="auto">
          <a:xfrm>
            <a:off x="4089922" y="1905676"/>
            <a:ext cx="1617640" cy="1609476"/>
          </a:xfrm>
          <a:custGeom>
            <a:avLst/>
            <a:gdLst/>
            <a:ahLst/>
            <a:cxnLst>
              <a:cxn ang="0">
                <a:pos x="1635" y="930"/>
              </a:cxn>
              <a:cxn ang="0">
                <a:pos x="1267" y="1138"/>
              </a:cxn>
              <a:cxn ang="0">
                <a:pos x="1006" y="1466"/>
              </a:cxn>
              <a:cxn ang="0">
                <a:pos x="888" y="1880"/>
              </a:cxn>
              <a:cxn ang="0">
                <a:pos x="940" y="2318"/>
              </a:cxn>
              <a:cxn ang="0">
                <a:pos x="1148" y="2686"/>
              </a:cxn>
              <a:cxn ang="0">
                <a:pos x="1477" y="2947"/>
              </a:cxn>
              <a:cxn ang="0">
                <a:pos x="1891" y="3065"/>
              </a:cxn>
              <a:cxn ang="0">
                <a:pos x="2328" y="3013"/>
              </a:cxn>
              <a:cxn ang="0">
                <a:pos x="2697" y="2804"/>
              </a:cxn>
              <a:cxn ang="0">
                <a:pos x="2958" y="2476"/>
              </a:cxn>
              <a:cxn ang="0">
                <a:pos x="3076" y="2061"/>
              </a:cxn>
              <a:cxn ang="0">
                <a:pos x="3024" y="1624"/>
              </a:cxn>
              <a:cxn ang="0">
                <a:pos x="2815" y="1257"/>
              </a:cxn>
              <a:cxn ang="0">
                <a:pos x="2487" y="996"/>
              </a:cxn>
              <a:cxn ang="0">
                <a:pos x="2072" y="878"/>
              </a:cxn>
              <a:cxn ang="0">
                <a:pos x="2246" y="17"/>
              </a:cxn>
              <a:cxn ang="0">
                <a:pos x="2439" y="506"/>
              </a:cxn>
              <a:cxn ang="0">
                <a:pos x="2757" y="644"/>
              </a:cxn>
              <a:cxn ang="0">
                <a:pos x="3177" y="402"/>
              </a:cxn>
              <a:cxn ang="0">
                <a:pos x="3508" y="720"/>
              </a:cxn>
              <a:cxn ang="0">
                <a:pos x="3274" y="1134"/>
              </a:cxn>
              <a:cxn ang="0">
                <a:pos x="3397" y="1362"/>
              </a:cxn>
              <a:cxn ang="0">
                <a:pos x="3777" y="1449"/>
              </a:cxn>
              <a:cxn ang="0">
                <a:pos x="3962" y="1889"/>
              </a:cxn>
              <a:cxn ang="0">
                <a:pos x="3523" y="2113"/>
              </a:cxn>
              <a:cxn ang="0">
                <a:pos x="3478" y="2369"/>
              </a:cxn>
              <a:cxn ang="0">
                <a:pos x="3613" y="2656"/>
              </a:cxn>
              <a:cxn ang="0">
                <a:pos x="3624" y="3096"/>
              </a:cxn>
              <a:cxn ang="0">
                <a:pos x="3177" y="3130"/>
              </a:cxn>
              <a:cxn ang="0">
                <a:pos x="2922" y="3214"/>
              </a:cxn>
              <a:cxn ang="0">
                <a:pos x="2801" y="3551"/>
              </a:cxn>
              <a:cxn ang="0">
                <a:pos x="2577" y="3878"/>
              </a:cxn>
              <a:cxn ang="0">
                <a:pos x="2176" y="3668"/>
              </a:cxn>
              <a:cxn ang="0">
                <a:pos x="1913" y="3532"/>
              </a:cxn>
              <a:cxn ang="0">
                <a:pos x="1601" y="3712"/>
              </a:cxn>
              <a:cxn ang="0">
                <a:pos x="1221" y="3820"/>
              </a:cxn>
              <a:cxn ang="0">
                <a:pos x="1026" y="3474"/>
              </a:cxn>
              <a:cxn ang="0">
                <a:pos x="972" y="3163"/>
              </a:cxn>
              <a:cxn ang="0">
                <a:pos x="685" y="3024"/>
              </a:cxn>
              <a:cxn ang="0">
                <a:pos x="244" y="2952"/>
              </a:cxn>
              <a:cxn ang="0">
                <a:pos x="292" y="2514"/>
              </a:cxn>
              <a:cxn ang="0">
                <a:pos x="443" y="2188"/>
              </a:cxn>
              <a:cxn ang="0">
                <a:pos x="320" y="1949"/>
              </a:cxn>
              <a:cxn ang="0">
                <a:pos x="29" y="1611"/>
              </a:cxn>
              <a:cxn ang="0">
                <a:pos x="347" y="1307"/>
              </a:cxn>
              <a:cxn ang="0">
                <a:pos x="644" y="1198"/>
              </a:cxn>
              <a:cxn ang="0">
                <a:pos x="793" y="985"/>
              </a:cxn>
              <a:cxn ang="0">
                <a:pos x="629" y="529"/>
              </a:cxn>
              <a:cxn ang="0">
                <a:pos x="999" y="260"/>
              </a:cxn>
              <a:cxn ang="0">
                <a:pos x="1382" y="556"/>
              </a:cxn>
              <a:cxn ang="0">
                <a:pos x="1712" y="458"/>
              </a:cxn>
              <a:cxn ang="0">
                <a:pos x="1972" y="0"/>
              </a:cxn>
            </a:cxnLst>
            <a:rect l="0" t="0" r="r" b="b"/>
            <a:pathLst>
              <a:path w="3965" h="3943">
                <a:moveTo>
                  <a:pt x="1982" y="874"/>
                </a:moveTo>
                <a:lnTo>
                  <a:pt x="1891" y="878"/>
                </a:lnTo>
                <a:lnTo>
                  <a:pt x="1804" y="889"/>
                </a:lnTo>
                <a:lnTo>
                  <a:pt x="1718" y="906"/>
                </a:lnTo>
                <a:lnTo>
                  <a:pt x="1635" y="930"/>
                </a:lnTo>
                <a:lnTo>
                  <a:pt x="1554" y="960"/>
                </a:lnTo>
                <a:lnTo>
                  <a:pt x="1477" y="996"/>
                </a:lnTo>
                <a:lnTo>
                  <a:pt x="1403" y="1039"/>
                </a:lnTo>
                <a:lnTo>
                  <a:pt x="1333" y="1086"/>
                </a:lnTo>
                <a:lnTo>
                  <a:pt x="1267" y="1138"/>
                </a:lnTo>
                <a:lnTo>
                  <a:pt x="1205" y="1196"/>
                </a:lnTo>
                <a:lnTo>
                  <a:pt x="1148" y="1257"/>
                </a:lnTo>
                <a:lnTo>
                  <a:pt x="1095" y="1324"/>
                </a:lnTo>
                <a:lnTo>
                  <a:pt x="1048" y="1392"/>
                </a:lnTo>
                <a:lnTo>
                  <a:pt x="1006" y="1466"/>
                </a:lnTo>
                <a:lnTo>
                  <a:pt x="970" y="1543"/>
                </a:lnTo>
                <a:lnTo>
                  <a:pt x="940" y="1624"/>
                </a:lnTo>
                <a:lnTo>
                  <a:pt x="915" y="1708"/>
                </a:lnTo>
                <a:lnTo>
                  <a:pt x="898" y="1793"/>
                </a:lnTo>
                <a:lnTo>
                  <a:pt x="888" y="1880"/>
                </a:lnTo>
                <a:lnTo>
                  <a:pt x="884" y="1971"/>
                </a:lnTo>
                <a:lnTo>
                  <a:pt x="888" y="2061"/>
                </a:lnTo>
                <a:lnTo>
                  <a:pt x="898" y="2148"/>
                </a:lnTo>
                <a:lnTo>
                  <a:pt x="915" y="2234"/>
                </a:lnTo>
                <a:lnTo>
                  <a:pt x="940" y="2318"/>
                </a:lnTo>
                <a:lnTo>
                  <a:pt x="970" y="2398"/>
                </a:lnTo>
                <a:lnTo>
                  <a:pt x="1006" y="2476"/>
                </a:lnTo>
                <a:lnTo>
                  <a:pt x="1048" y="2549"/>
                </a:lnTo>
                <a:lnTo>
                  <a:pt x="1095" y="2619"/>
                </a:lnTo>
                <a:lnTo>
                  <a:pt x="1148" y="2686"/>
                </a:lnTo>
                <a:lnTo>
                  <a:pt x="1205" y="2747"/>
                </a:lnTo>
                <a:lnTo>
                  <a:pt x="1267" y="2804"/>
                </a:lnTo>
                <a:lnTo>
                  <a:pt x="1333" y="2857"/>
                </a:lnTo>
                <a:lnTo>
                  <a:pt x="1403" y="2904"/>
                </a:lnTo>
                <a:lnTo>
                  <a:pt x="1477" y="2947"/>
                </a:lnTo>
                <a:lnTo>
                  <a:pt x="1554" y="2983"/>
                </a:lnTo>
                <a:lnTo>
                  <a:pt x="1635" y="3013"/>
                </a:lnTo>
                <a:lnTo>
                  <a:pt x="1718" y="3037"/>
                </a:lnTo>
                <a:lnTo>
                  <a:pt x="1804" y="3054"/>
                </a:lnTo>
                <a:lnTo>
                  <a:pt x="1891" y="3065"/>
                </a:lnTo>
                <a:lnTo>
                  <a:pt x="1982" y="3069"/>
                </a:lnTo>
                <a:lnTo>
                  <a:pt x="2072" y="3065"/>
                </a:lnTo>
                <a:lnTo>
                  <a:pt x="2159" y="3054"/>
                </a:lnTo>
                <a:lnTo>
                  <a:pt x="2245" y="3037"/>
                </a:lnTo>
                <a:lnTo>
                  <a:pt x="2328" y="3013"/>
                </a:lnTo>
                <a:lnTo>
                  <a:pt x="2409" y="2983"/>
                </a:lnTo>
                <a:lnTo>
                  <a:pt x="2487" y="2947"/>
                </a:lnTo>
                <a:lnTo>
                  <a:pt x="2560" y="2904"/>
                </a:lnTo>
                <a:lnTo>
                  <a:pt x="2630" y="2857"/>
                </a:lnTo>
                <a:lnTo>
                  <a:pt x="2697" y="2804"/>
                </a:lnTo>
                <a:lnTo>
                  <a:pt x="2758" y="2747"/>
                </a:lnTo>
                <a:lnTo>
                  <a:pt x="2815" y="2686"/>
                </a:lnTo>
                <a:lnTo>
                  <a:pt x="2868" y="2619"/>
                </a:lnTo>
                <a:lnTo>
                  <a:pt x="2915" y="2549"/>
                </a:lnTo>
                <a:lnTo>
                  <a:pt x="2958" y="2476"/>
                </a:lnTo>
                <a:lnTo>
                  <a:pt x="2994" y="2398"/>
                </a:lnTo>
                <a:lnTo>
                  <a:pt x="3024" y="2318"/>
                </a:lnTo>
                <a:lnTo>
                  <a:pt x="3048" y="2234"/>
                </a:lnTo>
                <a:lnTo>
                  <a:pt x="3065" y="2148"/>
                </a:lnTo>
                <a:lnTo>
                  <a:pt x="3076" y="2061"/>
                </a:lnTo>
                <a:lnTo>
                  <a:pt x="3079" y="1971"/>
                </a:lnTo>
                <a:lnTo>
                  <a:pt x="3076" y="1880"/>
                </a:lnTo>
                <a:lnTo>
                  <a:pt x="3065" y="1793"/>
                </a:lnTo>
                <a:lnTo>
                  <a:pt x="3048" y="1708"/>
                </a:lnTo>
                <a:lnTo>
                  <a:pt x="3024" y="1624"/>
                </a:lnTo>
                <a:lnTo>
                  <a:pt x="2994" y="1543"/>
                </a:lnTo>
                <a:lnTo>
                  <a:pt x="2958" y="1466"/>
                </a:lnTo>
                <a:lnTo>
                  <a:pt x="2915" y="1392"/>
                </a:lnTo>
                <a:lnTo>
                  <a:pt x="2868" y="1324"/>
                </a:lnTo>
                <a:lnTo>
                  <a:pt x="2815" y="1257"/>
                </a:lnTo>
                <a:lnTo>
                  <a:pt x="2758" y="1196"/>
                </a:lnTo>
                <a:lnTo>
                  <a:pt x="2697" y="1138"/>
                </a:lnTo>
                <a:lnTo>
                  <a:pt x="2630" y="1086"/>
                </a:lnTo>
                <a:lnTo>
                  <a:pt x="2560" y="1039"/>
                </a:lnTo>
                <a:lnTo>
                  <a:pt x="2487" y="996"/>
                </a:lnTo>
                <a:lnTo>
                  <a:pt x="2409" y="960"/>
                </a:lnTo>
                <a:lnTo>
                  <a:pt x="2328" y="930"/>
                </a:lnTo>
                <a:lnTo>
                  <a:pt x="2245" y="906"/>
                </a:lnTo>
                <a:lnTo>
                  <a:pt x="2159" y="889"/>
                </a:lnTo>
                <a:lnTo>
                  <a:pt x="2072" y="878"/>
                </a:lnTo>
                <a:lnTo>
                  <a:pt x="1982" y="874"/>
                </a:lnTo>
                <a:close/>
                <a:moveTo>
                  <a:pt x="1972" y="0"/>
                </a:moveTo>
                <a:lnTo>
                  <a:pt x="2064" y="1"/>
                </a:lnTo>
                <a:lnTo>
                  <a:pt x="2156" y="6"/>
                </a:lnTo>
                <a:lnTo>
                  <a:pt x="2246" y="17"/>
                </a:lnTo>
                <a:lnTo>
                  <a:pt x="2337" y="33"/>
                </a:lnTo>
                <a:lnTo>
                  <a:pt x="2357" y="184"/>
                </a:lnTo>
                <a:lnTo>
                  <a:pt x="2369" y="336"/>
                </a:lnTo>
                <a:lnTo>
                  <a:pt x="2373" y="488"/>
                </a:lnTo>
                <a:lnTo>
                  <a:pt x="2439" y="506"/>
                </a:lnTo>
                <a:lnTo>
                  <a:pt x="2506" y="528"/>
                </a:lnTo>
                <a:lnTo>
                  <a:pt x="2570" y="553"/>
                </a:lnTo>
                <a:lnTo>
                  <a:pt x="2618" y="572"/>
                </a:lnTo>
                <a:lnTo>
                  <a:pt x="2665" y="595"/>
                </a:lnTo>
                <a:lnTo>
                  <a:pt x="2757" y="644"/>
                </a:lnTo>
                <a:lnTo>
                  <a:pt x="2838" y="566"/>
                </a:lnTo>
                <a:lnTo>
                  <a:pt x="2924" y="492"/>
                </a:lnTo>
                <a:lnTo>
                  <a:pt x="3012" y="419"/>
                </a:lnTo>
                <a:lnTo>
                  <a:pt x="3104" y="348"/>
                </a:lnTo>
                <a:lnTo>
                  <a:pt x="3177" y="402"/>
                </a:lnTo>
                <a:lnTo>
                  <a:pt x="3250" y="460"/>
                </a:lnTo>
                <a:lnTo>
                  <a:pt x="3319" y="521"/>
                </a:lnTo>
                <a:lnTo>
                  <a:pt x="3386" y="583"/>
                </a:lnTo>
                <a:lnTo>
                  <a:pt x="3449" y="650"/>
                </a:lnTo>
                <a:lnTo>
                  <a:pt x="3508" y="720"/>
                </a:lnTo>
                <a:lnTo>
                  <a:pt x="3447" y="816"/>
                </a:lnTo>
                <a:lnTo>
                  <a:pt x="3383" y="911"/>
                </a:lnTo>
                <a:lnTo>
                  <a:pt x="3314" y="1004"/>
                </a:lnTo>
                <a:lnTo>
                  <a:pt x="3244" y="1092"/>
                </a:lnTo>
                <a:lnTo>
                  <a:pt x="3274" y="1134"/>
                </a:lnTo>
                <a:lnTo>
                  <a:pt x="3300" y="1178"/>
                </a:lnTo>
                <a:lnTo>
                  <a:pt x="3327" y="1223"/>
                </a:lnTo>
                <a:lnTo>
                  <a:pt x="3352" y="1268"/>
                </a:lnTo>
                <a:lnTo>
                  <a:pt x="3374" y="1315"/>
                </a:lnTo>
                <a:lnTo>
                  <a:pt x="3397" y="1362"/>
                </a:lnTo>
                <a:lnTo>
                  <a:pt x="3418" y="1409"/>
                </a:lnTo>
                <a:lnTo>
                  <a:pt x="3436" y="1458"/>
                </a:lnTo>
                <a:lnTo>
                  <a:pt x="3548" y="1450"/>
                </a:lnTo>
                <a:lnTo>
                  <a:pt x="3663" y="1448"/>
                </a:lnTo>
                <a:lnTo>
                  <a:pt x="3777" y="1449"/>
                </a:lnTo>
                <a:lnTo>
                  <a:pt x="3892" y="1454"/>
                </a:lnTo>
                <a:lnTo>
                  <a:pt x="3919" y="1562"/>
                </a:lnTo>
                <a:lnTo>
                  <a:pt x="3938" y="1669"/>
                </a:lnTo>
                <a:lnTo>
                  <a:pt x="3953" y="1779"/>
                </a:lnTo>
                <a:lnTo>
                  <a:pt x="3962" y="1889"/>
                </a:lnTo>
                <a:lnTo>
                  <a:pt x="3965" y="1999"/>
                </a:lnTo>
                <a:lnTo>
                  <a:pt x="3855" y="2034"/>
                </a:lnTo>
                <a:lnTo>
                  <a:pt x="3744" y="2065"/>
                </a:lnTo>
                <a:lnTo>
                  <a:pt x="3633" y="2092"/>
                </a:lnTo>
                <a:lnTo>
                  <a:pt x="3523" y="2113"/>
                </a:lnTo>
                <a:lnTo>
                  <a:pt x="3518" y="2165"/>
                </a:lnTo>
                <a:lnTo>
                  <a:pt x="3511" y="2216"/>
                </a:lnTo>
                <a:lnTo>
                  <a:pt x="3501" y="2268"/>
                </a:lnTo>
                <a:lnTo>
                  <a:pt x="3492" y="2319"/>
                </a:lnTo>
                <a:lnTo>
                  <a:pt x="3478" y="2369"/>
                </a:lnTo>
                <a:lnTo>
                  <a:pt x="3466" y="2419"/>
                </a:lnTo>
                <a:lnTo>
                  <a:pt x="3451" y="2470"/>
                </a:lnTo>
                <a:lnTo>
                  <a:pt x="3433" y="2518"/>
                </a:lnTo>
                <a:lnTo>
                  <a:pt x="3524" y="2584"/>
                </a:lnTo>
                <a:lnTo>
                  <a:pt x="3613" y="2656"/>
                </a:lnTo>
                <a:lnTo>
                  <a:pt x="3701" y="2731"/>
                </a:lnTo>
                <a:lnTo>
                  <a:pt x="3786" y="2808"/>
                </a:lnTo>
                <a:lnTo>
                  <a:pt x="3736" y="2907"/>
                </a:lnTo>
                <a:lnTo>
                  <a:pt x="3683" y="3002"/>
                </a:lnTo>
                <a:lnTo>
                  <a:pt x="3624" y="3096"/>
                </a:lnTo>
                <a:lnTo>
                  <a:pt x="3560" y="3186"/>
                </a:lnTo>
                <a:lnTo>
                  <a:pt x="3491" y="3273"/>
                </a:lnTo>
                <a:lnTo>
                  <a:pt x="3385" y="3229"/>
                </a:lnTo>
                <a:lnTo>
                  <a:pt x="3280" y="3181"/>
                </a:lnTo>
                <a:lnTo>
                  <a:pt x="3177" y="3130"/>
                </a:lnTo>
                <a:lnTo>
                  <a:pt x="3078" y="3076"/>
                </a:lnTo>
                <a:lnTo>
                  <a:pt x="3042" y="3112"/>
                </a:lnTo>
                <a:lnTo>
                  <a:pt x="3002" y="3147"/>
                </a:lnTo>
                <a:lnTo>
                  <a:pt x="2962" y="3180"/>
                </a:lnTo>
                <a:lnTo>
                  <a:pt x="2922" y="3214"/>
                </a:lnTo>
                <a:lnTo>
                  <a:pt x="2838" y="3274"/>
                </a:lnTo>
                <a:lnTo>
                  <a:pt x="2794" y="3302"/>
                </a:lnTo>
                <a:lnTo>
                  <a:pt x="2750" y="3327"/>
                </a:lnTo>
                <a:lnTo>
                  <a:pt x="2776" y="3438"/>
                </a:lnTo>
                <a:lnTo>
                  <a:pt x="2801" y="3551"/>
                </a:lnTo>
                <a:lnTo>
                  <a:pt x="2819" y="3663"/>
                </a:lnTo>
                <a:lnTo>
                  <a:pt x="2833" y="3776"/>
                </a:lnTo>
                <a:lnTo>
                  <a:pt x="2750" y="3815"/>
                </a:lnTo>
                <a:lnTo>
                  <a:pt x="2664" y="3849"/>
                </a:lnTo>
                <a:lnTo>
                  <a:pt x="2577" y="3878"/>
                </a:lnTo>
                <a:lnTo>
                  <a:pt x="2489" y="3903"/>
                </a:lnTo>
                <a:lnTo>
                  <a:pt x="2400" y="3925"/>
                </a:lnTo>
                <a:lnTo>
                  <a:pt x="2310" y="3943"/>
                </a:lnTo>
                <a:lnTo>
                  <a:pt x="2239" y="3807"/>
                </a:lnTo>
                <a:lnTo>
                  <a:pt x="2176" y="3668"/>
                </a:lnTo>
                <a:lnTo>
                  <a:pt x="2119" y="3529"/>
                </a:lnTo>
                <a:lnTo>
                  <a:pt x="2069" y="3531"/>
                </a:lnTo>
                <a:lnTo>
                  <a:pt x="2017" y="3534"/>
                </a:lnTo>
                <a:lnTo>
                  <a:pt x="1965" y="3535"/>
                </a:lnTo>
                <a:lnTo>
                  <a:pt x="1913" y="3532"/>
                </a:lnTo>
                <a:lnTo>
                  <a:pt x="1843" y="3529"/>
                </a:lnTo>
                <a:lnTo>
                  <a:pt x="1774" y="3520"/>
                </a:lnTo>
                <a:lnTo>
                  <a:pt x="1706" y="3509"/>
                </a:lnTo>
                <a:lnTo>
                  <a:pt x="1656" y="3612"/>
                </a:lnTo>
                <a:lnTo>
                  <a:pt x="1601" y="3712"/>
                </a:lnTo>
                <a:lnTo>
                  <a:pt x="1543" y="3810"/>
                </a:lnTo>
                <a:lnTo>
                  <a:pt x="1482" y="3907"/>
                </a:lnTo>
                <a:lnTo>
                  <a:pt x="1394" y="3883"/>
                </a:lnTo>
                <a:lnTo>
                  <a:pt x="1307" y="3854"/>
                </a:lnTo>
                <a:lnTo>
                  <a:pt x="1221" y="3820"/>
                </a:lnTo>
                <a:lnTo>
                  <a:pt x="1136" y="3782"/>
                </a:lnTo>
                <a:lnTo>
                  <a:pt x="1054" y="3741"/>
                </a:lnTo>
                <a:lnTo>
                  <a:pt x="973" y="3698"/>
                </a:lnTo>
                <a:lnTo>
                  <a:pt x="999" y="3584"/>
                </a:lnTo>
                <a:lnTo>
                  <a:pt x="1026" y="3474"/>
                </a:lnTo>
                <a:lnTo>
                  <a:pt x="1059" y="3366"/>
                </a:lnTo>
                <a:lnTo>
                  <a:pt x="1095" y="3258"/>
                </a:lnTo>
                <a:lnTo>
                  <a:pt x="1053" y="3227"/>
                </a:lnTo>
                <a:lnTo>
                  <a:pt x="1012" y="3195"/>
                </a:lnTo>
                <a:lnTo>
                  <a:pt x="972" y="3163"/>
                </a:lnTo>
                <a:lnTo>
                  <a:pt x="934" y="3128"/>
                </a:lnTo>
                <a:lnTo>
                  <a:pt x="883" y="3081"/>
                </a:lnTo>
                <a:lnTo>
                  <a:pt x="834" y="3031"/>
                </a:lnTo>
                <a:lnTo>
                  <a:pt x="790" y="2978"/>
                </a:lnTo>
                <a:lnTo>
                  <a:pt x="685" y="3024"/>
                </a:lnTo>
                <a:lnTo>
                  <a:pt x="580" y="3065"/>
                </a:lnTo>
                <a:lnTo>
                  <a:pt x="472" y="3104"/>
                </a:lnTo>
                <a:lnTo>
                  <a:pt x="362" y="3138"/>
                </a:lnTo>
                <a:lnTo>
                  <a:pt x="301" y="3047"/>
                </a:lnTo>
                <a:lnTo>
                  <a:pt x="244" y="2952"/>
                </a:lnTo>
                <a:lnTo>
                  <a:pt x="193" y="2854"/>
                </a:lnTo>
                <a:lnTo>
                  <a:pt x="149" y="2753"/>
                </a:lnTo>
                <a:lnTo>
                  <a:pt x="109" y="2651"/>
                </a:lnTo>
                <a:lnTo>
                  <a:pt x="200" y="2581"/>
                </a:lnTo>
                <a:lnTo>
                  <a:pt x="292" y="2514"/>
                </a:lnTo>
                <a:lnTo>
                  <a:pt x="386" y="2452"/>
                </a:lnTo>
                <a:lnTo>
                  <a:pt x="483" y="2392"/>
                </a:lnTo>
                <a:lnTo>
                  <a:pt x="459" y="2291"/>
                </a:lnTo>
                <a:lnTo>
                  <a:pt x="449" y="2240"/>
                </a:lnTo>
                <a:lnTo>
                  <a:pt x="443" y="2188"/>
                </a:lnTo>
                <a:lnTo>
                  <a:pt x="436" y="2138"/>
                </a:lnTo>
                <a:lnTo>
                  <a:pt x="432" y="2086"/>
                </a:lnTo>
                <a:lnTo>
                  <a:pt x="430" y="2034"/>
                </a:lnTo>
                <a:lnTo>
                  <a:pt x="429" y="1982"/>
                </a:lnTo>
                <a:lnTo>
                  <a:pt x="320" y="1949"/>
                </a:lnTo>
                <a:lnTo>
                  <a:pt x="213" y="1913"/>
                </a:lnTo>
                <a:lnTo>
                  <a:pt x="106" y="1873"/>
                </a:lnTo>
                <a:lnTo>
                  <a:pt x="0" y="1828"/>
                </a:lnTo>
                <a:lnTo>
                  <a:pt x="11" y="1720"/>
                </a:lnTo>
                <a:lnTo>
                  <a:pt x="29" y="1611"/>
                </a:lnTo>
                <a:lnTo>
                  <a:pt x="52" y="1504"/>
                </a:lnTo>
                <a:lnTo>
                  <a:pt x="82" y="1397"/>
                </a:lnTo>
                <a:lnTo>
                  <a:pt x="118" y="1293"/>
                </a:lnTo>
                <a:lnTo>
                  <a:pt x="233" y="1298"/>
                </a:lnTo>
                <a:lnTo>
                  <a:pt x="347" y="1307"/>
                </a:lnTo>
                <a:lnTo>
                  <a:pt x="459" y="1319"/>
                </a:lnTo>
                <a:lnTo>
                  <a:pt x="571" y="1336"/>
                </a:lnTo>
                <a:lnTo>
                  <a:pt x="594" y="1290"/>
                </a:lnTo>
                <a:lnTo>
                  <a:pt x="618" y="1243"/>
                </a:lnTo>
                <a:lnTo>
                  <a:pt x="644" y="1198"/>
                </a:lnTo>
                <a:lnTo>
                  <a:pt x="671" y="1153"/>
                </a:lnTo>
                <a:lnTo>
                  <a:pt x="699" y="1110"/>
                </a:lnTo>
                <a:lnTo>
                  <a:pt x="729" y="1068"/>
                </a:lnTo>
                <a:lnTo>
                  <a:pt x="762" y="1027"/>
                </a:lnTo>
                <a:lnTo>
                  <a:pt x="793" y="985"/>
                </a:lnTo>
                <a:lnTo>
                  <a:pt x="731" y="891"/>
                </a:lnTo>
                <a:lnTo>
                  <a:pt x="671" y="795"/>
                </a:lnTo>
                <a:lnTo>
                  <a:pt x="616" y="696"/>
                </a:lnTo>
                <a:lnTo>
                  <a:pt x="563" y="593"/>
                </a:lnTo>
                <a:lnTo>
                  <a:pt x="629" y="529"/>
                </a:lnTo>
                <a:lnTo>
                  <a:pt x="698" y="469"/>
                </a:lnTo>
                <a:lnTo>
                  <a:pt x="769" y="411"/>
                </a:lnTo>
                <a:lnTo>
                  <a:pt x="843" y="356"/>
                </a:lnTo>
                <a:lnTo>
                  <a:pt x="920" y="306"/>
                </a:lnTo>
                <a:lnTo>
                  <a:pt x="999" y="260"/>
                </a:lnTo>
                <a:lnTo>
                  <a:pt x="1083" y="336"/>
                </a:lnTo>
                <a:lnTo>
                  <a:pt x="1164" y="415"/>
                </a:lnTo>
                <a:lnTo>
                  <a:pt x="1243" y="498"/>
                </a:lnTo>
                <a:lnTo>
                  <a:pt x="1319" y="583"/>
                </a:lnTo>
                <a:lnTo>
                  <a:pt x="1382" y="556"/>
                </a:lnTo>
                <a:lnTo>
                  <a:pt x="1446" y="530"/>
                </a:lnTo>
                <a:lnTo>
                  <a:pt x="1512" y="507"/>
                </a:lnTo>
                <a:lnTo>
                  <a:pt x="1578" y="488"/>
                </a:lnTo>
                <a:lnTo>
                  <a:pt x="1645" y="472"/>
                </a:lnTo>
                <a:lnTo>
                  <a:pt x="1712" y="458"/>
                </a:lnTo>
                <a:lnTo>
                  <a:pt x="1731" y="309"/>
                </a:lnTo>
                <a:lnTo>
                  <a:pt x="1756" y="159"/>
                </a:lnTo>
                <a:lnTo>
                  <a:pt x="1789" y="9"/>
                </a:lnTo>
                <a:lnTo>
                  <a:pt x="1880" y="2"/>
                </a:lnTo>
                <a:lnTo>
                  <a:pt x="1972" y="0"/>
                </a:lnTo>
                <a:close/>
              </a:path>
            </a:pathLst>
          </a:custGeom>
          <a:solidFill>
            <a:srgbClr val="C00000"/>
          </a:solidFill>
          <a:ln w="0">
            <a:noFill/>
            <a:prstDash val="solid"/>
            <a:round/>
            <a:headEnd/>
            <a:tailEnd/>
          </a:ln>
          <a:scene3d>
            <a:camera prst="perspectiveRight"/>
            <a:lightRig rig="threePt" dir="t"/>
          </a:scene3d>
          <a:sp3d extrusionH="203200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出自【趣你的PPT】(微信:qunideppt)：最优质的PPT资源库"/>
          <p:cNvSpPr>
            <a:spLocks noEditPoints="1"/>
          </p:cNvSpPr>
          <p:nvPr/>
        </p:nvSpPr>
        <p:spPr bwMode="auto">
          <a:xfrm>
            <a:off x="5469468" y="1400860"/>
            <a:ext cx="1311798" cy="1305178"/>
          </a:xfrm>
          <a:custGeom>
            <a:avLst/>
            <a:gdLst/>
            <a:ahLst/>
            <a:cxnLst>
              <a:cxn ang="0">
                <a:pos x="1635" y="930"/>
              </a:cxn>
              <a:cxn ang="0">
                <a:pos x="1267" y="1138"/>
              </a:cxn>
              <a:cxn ang="0">
                <a:pos x="1006" y="1466"/>
              </a:cxn>
              <a:cxn ang="0">
                <a:pos x="888" y="1880"/>
              </a:cxn>
              <a:cxn ang="0">
                <a:pos x="940" y="2318"/>
              </a:cxn>
              <a:cxn ang="0">
                <a:pos x="1148" y="2686"/>
              </a:cxn>
              <a:cxn ang="0">
                <a:pos x="1477" y="2947"/>
              </a:cxn>
              <a:cxn ang="0">
                <a:pos x="1891" y="3065"/>
              </a:cxn>
              <a:cxn ang="0">
                <a:pos x="2328" y="3013"/>
              </a:cxn>
              <a:cxn ang="0">
                <a:pos x="2697" y="2804"/>
              </a:cxn>
              <a:cxn ang="0">
                <a:pos x="2958" y="2476"/>
              </a:cxn>
              <a:cxn ang="0">
                <a:pos x="3076" y="2061"/>
              </a:cxn>
              <a:cxn ang="0">
                <a:pos x="3024" y="1624"/>
              </a:cxn>
              <a:cxn ang="0">
                <a:pos x="2815" y="1257"/>
              </a:cxn>
              <a:cxn ang="0">
                <a:pos x="2487" y="996"/>
              </a:cxn>
              <a:cxn ang="0">
                <a:pos x="2072" y="878"/>
              </a:cxn>
              <a:cxn ang="0">
                <a:pos x="2246" y="17"/>
              </a:cxn>
              <a:cxn ang="0">
                <a:pos x="2439" y="506"/>
              </a:cxn>
              <a:cxn ang="0">
                <a:pos x="2757" y="644"/>
              </a:cxn>
              <a:cxn ang="0">
                <a:pos x="3177" y="402"/>
              </a:cxn>
              <a:cxn ang="0">
                <a:pos x="3508" y="720"/>
              </a:cxn>
              <a:cxn ang="0">
                <a:pos x="3274" y="1134"/>
              </a:cxn>
              <a:cxn ang="0">
                <a:pos x="3397" y="1362"/>
              </a:cxn>
              <a:cxn ang="0">
                <a:pos x="3777" y="1449"/>
              </a:cxn>
              <a:cxn ang="0">
                <a:pos x="3962" y="1889"/>
              </a:cxn>
              <a:cxn ang="0">
                <a:pos x="3523" y="2113"/>
              </a:cxn>
              <a:cxn ang="0">
                <a:pos x="3478" y="2369"/>
              </a:cxn>
              <a:cxn ang="0">
                <a:pos x="3613" y="2656"/>
              </a:cxn>
              <a:cxn ang="0">
                <a:pos x="3624" y="3096"/>
              </a:cxn>
              <a:cxn ang="0">
                <a:pos x="3177" y="3130"/>
              </a:cxn>
              <a:cxn ang="0">
                <a:pos x="2922" y="3214"/>
              </a:cxn>
              <a:cxn ang="0">
                <a:pos x="2801" y="3551"/>
              </a:cxn>
              <a:cxn ang="0">
                <a:pos x="2577" y="3878"/>
              </a:cxn>
              <a:cxn ang="0">
                <a:pos x="2176" y="3668"/>
              </a:cxn>
              <a:cxn ang="0">
                <a:pos x="1913" y="3532"/>
              </a:cxn>
              <a:cxn ang="0">
                <a:pos x="1601" y="3712"/>
              </a:cxn>
              <a:cxn ang="0">
                <a:pos x="1221" y="3820"/>
              </a:cxn>
              <a:cxn ang="0">
                <a:pos x="1026" y="3474"/>
              </a:cxn>
              <a:cxn ang="0">
                <a:pos x="972" y="3163"/>
              </a:cxn>
              <a:cxn ang="0">
                <a:pos x="685" y="3024"/>
              </a:cxn>
              <a:cxn ang="0">
                <a:pos x="244" y="2952"/>
              </a:cxn>
              <a:cxn ang="0">
                <a:pos x="292" y="2514"/>
              </a:cxn>
              <a:cxn ang="0">
                <a:pos x="443" y="2188"/>
              </a:cxn>
              <a:cxn ang="0">
                <a:pos x="320" y="1949"/>
              </a:cxn>
              <a:cxn ang="0">
                <a:pos x="29" y="1611"/>
              </a:cxn>
              <a:cxn ang="0">
                <a:pos x="347" y="1307"/>
              </a:cxn>
              <a:cxn ang="0">
                <a:pos x="644" y="1198"/>
              </a:cxn>
              <a:cxn ang="0">
                <a:pos x="793" y="985"/>
              </a:cxn>
              <a:cxn ang="0">
                <a:pos x="629" y="529"/>
              </a:cxn>
              <a:cxn ang="0">
                <a:pos x="999" y="260"/>
              </a:cxn>
              <a:cxn ang="0">
                <a:pos x="1382" y="556"/>
              </a:cxn>
              <a:cxn ang="0">
                <a:pos x="1712" y="458"/>
              </a:cxn>
              <a:cxn ang="0">
                <a:pos x="1972" y="0"/>
              </a:cxn>
            </a:cxnLst>
            <a:rect l="0" t="0" r="r" b="b"/>
            <a:pathLst>
              <a:path w="3965" h="3943">
                <a:moveTo>
                  <a:pt x="1982" y="874"/>
                </a:moveTo>
                <a:lnTo>
                  <a:pt x="1891" y="878"/>
                </a:lnTo>
                <a:lnTo>
                  <a:pt x="1804" y="889"/>
                </a:lnTo>
                <a:lnTo>
                  <a:pt x="1718" y="906"/>
                </a:lnTo>
                <a:lnTo>
                  <a:pt x="1635" y="930"/>
                </a:lnTo>
                <a:lnTo>
                  <a:pt x="1554" y="960"/>
                </a:lnTo>
                <a:lnTo>
                  <a:pt x="1477" y="996"/>
                </a:lnTo>
                <a:lnTo>
                  <a:pt x="1403" y="1039"/>
                </a:lnTo>
                <a:lnTo>
                  <a:pt x="1333" y="1086"/>
                </a:lnTo>
                <a:lnTo>
                  <a:pt x="1267" y="1138"/>
                </a:lnTo>
                <a:lnTo>
                  <a:pt x="1205" y="1196"/>
                </a:lnTo>
                <a:lnTo>
                  <a:pt x="1148" y="1257"/>
                </a:lnTo>
                <a:lnTo>
                  <a:pt x="1095" y="1324"/>
                </a:lnTo>
                <a:lnTo>
                  <a:pt x="1048" y="1392"/>
                </a:lnTo>
                <a:lnTo>
                  <a:pt x="1006" y="1466"/>
                </a:lnTo>
                <a:lnTo>
                  <a:pt x="970" y="1543"/>
                </a:lnTo>
                <a:lnTo>
                  <a:pt x="940" y="1624"/>
                </a:lnTo>
                <a:lnTo>
                  <a:pt x="915" y="1708"/>
                </a:lnTo>
                <a:lnTo>
                  <a:pt x="898" y="1793"/>
                </a:lnTo>
                <a:lnTo>
                  <a:pt x="888" y="1880"/>
                </a:lnTo>
                <a:lnTo>
                  <a:pt x="884" y="1971"/>
                </a:lnTo>
                <a:lnTo>
                  <a:pt x="888" y="2061"/>
                </a:lnTo>
                <a:lnTo>
                  <a:pt x="898" y="2148"/>
                </a:lnTo>
                <a:lnTo>
                  <a:pt x="915" y="2234"/>
                </a:lnTo>
                <a:lnTo>
                  <a:pt x="940" y="2318"/>
                </a:lnTo>
                <a:lnTo>
                  <a:pt x="970" y="2398"/>
                </a:lnTo>
                <a:lnTo>
                  <a:pt x="1006" y="2476"/>
                </a:lnTo>
                <a:lnTo>
                  <a:pt x="1048" y="2549"/>
                </a:lnTo>
                <a:lnTo>
                  <a:pt x="1095" y="2619"/>
                </a:lnTo>
                <a:lnTo>
                  <a:pt x="1148" y="2686"/>
                </a:lnTo>
                <a:lnTo>
                  <a:pt x="1205" y="2747"/>
                </a:lnTo>
                <a:lnTo>
                  <a:pt x="1267" y="2804"/>
                </a:lnTo>
                <a:lnTo>
                  <a:pt x="1333" y="2857"/>
                </a:lnTo>
                <a:lnTo>
                  <a:pt x="1403" y="2904"/>
                </a:lnTo>
                <a:lnTo>
                  <a:pt x="1477" y="2947"/>
                </a:lnTo>
                <a:lnTo>
                  <a:pt x="1554" y="2983"/>
                </a:lnTo>
                <a:lnTo>
                  <a:pt x="1635" y="3013"/>
                </a:lnTo>
                <a:lnTo>
                  <a:pt x="1718" y="3037"/>
                </a:lnTo>
                <a:lnTo>
                  <a:pt x="1804" y="3054"/>
                </a:lnTo>
                <a:lnTo>
                  <a:pt x="1891" y="3065"/>
                </a:lnTo>
                <a:lnTo>
                  <a:pt x="1982" y="3069"/>
                </a:lnTo>
                <a:lnTo>
                  <a:pt x="2072" y="3065"/>
                </a:lnTo>
                <a:lnTo>
                  <a:pt x="2159" y="3054"/>
                </a:lnTo>
                <a:lnTo>
                  <a:pt x="2245" y="3037"/>
                </a:lnTo>
                <a:lnTo>
                  <a:pt x="2328" y="3013"/>
                </a:lnTo>
                <a:lnTo>
                  <a:pt x="2409" y="2983"/>
                </a:lnTo>
                <a:lnTo>
                  <a:pt x="2487" y="2947"/>
                </a:lnTo>
                <a:lnTo>
                  <a:pt x="2560" y="2904"/>
                </a:lnTo>
                <a:lnTo>
                  <a:pt x="2630" y="2857"/>
                </a:lnTo>
                <a:lnTo>
                  <a:pt x="2697" y="2804"/>
                </a:lnTo>
                <a:lnTo>
                  <a:pt x="2758" y="2747"/>
                </a:lnTo>
                <a:lnTo>
                  <a:pt x="2815" y="2686"/>
                </a:lnTo>
                <a:lnTo>
                  <a:pt x="2868" y="2619"/>
                </a:lnTo>
                <a:lnTo>
                  <a:pt x="2915" y="2549"/>
                </a:lnTo>
                <a:lnTo>
                  <a:pt x="2958" y="2476"/>
                </a:lnTo>
                <a:lnTo>
                  <a:pt x="2994" y="2398"/>
                </a:lnTo>
                <a:lnTo>
                  <a:pt x="3024" y="2318"/>
                </a:lnTo>
                <a:lnTo>
                  <a:pt x="3048" y="2234"/>
                </a:lnTo>
                <a:lnTo>
                  <a:pt x="3065" y="2148"/>
                </a:lnTo>
                <a:lnTo>
                  <a:pt x="3076" y="2061"/>
                </a:lnTo>
                <a:lnTo>
                  <a:pt x="3079" y="1971"/>
                </a:lnTo>
                <a:lnTo>
                  <a:pt x="3076" y="1880"/>
                </a:lnTo>
                <a:lnTo>
                  <a:pt x="3065" y="1793"/>
                </a:lnTo>
                <a:lnTo>
                  <a:pt x="3048" y="1708"/>
                </a:lnTo>
                <a:lnTo>
                  <a:pt x="3024" y="1624"/>
                </a:lnTo>
                <a:lnTo>
                  <a:pt x="2994" y="1543"/>
                </a:lnTo>
                <a:lnTo>
                  <a:pt x="2958" y="1466"/>
                </a:lnTo>
                <a:lnTo>
                  <a:pt x="2915" y="1392"/>
                </a:lnTo>
                <a:lnTo>
                  <a:pt x="2868" y="1324"/>
                </a:lnTo>
                <a:lnTo>
                  <a:pt x="2815" y="1257"/>
                </a:lnTo>
                <a:lnTo>
                  <a:pt x="2758" y="1196"/>
                </a:lnTo>
                <a:lnTo>
                  <a:pt x="2697" y="1138"/>
                </a:lnTo>
                <a:lnTo>
                  <a:pt x="2630" y="1086"/>
                </a:lnTo>
                <a:lnTo>
                  <a:pt x="2560" y="1039"/>
                </a:lnTo>
                <a:lnTo>
                  <a:pt x="2487" y="996"/>
                </a:lnTo>
                <a:lnTo>
                  <a:pt x="2409" y="960"/>
                </a:lnTo>
                <a:lnTo>
                  <a:pt x="2328" y="930"/>
                </a:lnTo>
                <a:lnTo>
                  <a:pt x="2245" y="906"/>
                </a:lnTo>
                <a:lnTo>
                  <a:pt x="2159" y="889"/>
                </a:lnTo>
                <a:lnTo>
                  <a:pt x="2072" y="878"/>
                </a:lnTo>
                <a:lnTo>
                  <a:pt x="1982" y="874"/>
                </a:lnTo>
                <a:close/>
                <a:moveTo>
                  <a:pt x="1972" y="0"/>
                </a:moveTo>
                <a:lnTo>
                  <a:pt x="2064" y="1"/>
                </a:lnTo>
                <a:lnTo>
                  <a:pt x="2156" y="6"/>
                </a:lnTo>
                <a:lnTo>
                  <a:pt x="2246" y="17"/>
                </a:lnTo>
                <a:lnTo>
                  <a:pt x="2337" y="33"/>
                </a:lnTo>
                <a:lnTo>
                  <a:pt x="2357" y="184"/>
                </a:lnTo>
                <a:lnTo>
                  <a:pt x="2369" y="336"/>
                </a:lnTo>
                <a:lnTo>
                  <a:pt x="2373" y="488"/>
                </a:lnTo>
                <a:lnTo>
                  <a:pt x="2439" y="506"/>
                </a:lnTo>
                <a:lnTo>
                  <a:pt x="2506" y="528"/>
                </a:lnTo>
                <a:lnTo>
                  <a:pt x="2570" y="553"/>
                </a:lnTo>
                <a:lnTo>
                  <a:pt x="2618" y="572"/>
                </a:lnTo>
                <a:lnTo>
                  <a:pt x="2665" y="595"/>
                </a:lnTo>
                <a:lnTo>
                  <a:pt x="2757" y="644"/>
                </a:lnTo>
                <a:lnTo>
                  <a:pt x="2838" y="566"/>
                </a:lnTo>
                <a:lnTo>
                  <a:pt x="2924" y="492"/>
                </a:lnTo>
                <a:lnTo>
                  <a:pt x="3012" y="419"/>
                </a:lnTo>
                <a:lnTo>
                  <a:pt x="3104" y="348"/>
                </a:lnTo>
                <a:lnTo>
                  <a:pt x="3177" y="402"/>
                </a:lnTo>
                <a:lnTo>
                  <a:pt x="3250" y="460"/>
                </a:lnTo>
                <a:lnTo>
                  <a:pt x="3319" y="521"/>
                </a:lnTo>
                <a:lnTo>
                  <a:pt x="3386" y="583"/>
                </a:lnTo>
                <a:lnTo>
                  <a:pt x="3449" y="650"/>
                </a:lnTo>
                <a:lnTo>
                  <a:pt x="3508" y="720"/>
                </a:lnTo>
                <a:lnTo>
                  <a:pt x="3447" y="816"/>
                </a:lnTo>
                <a:lnTo>
                  <a:pt x="3383" y="911"/>
                </a:lnTo>
                <a:lnTo>
                  <a:pt x="3314" y="1004"/>
                </a:lnTo>
                <a:lnTo>
                  <a:pt x="3244" y="1092"/>
                </a:lnTo>
                <a:lnTo>
                  <a:pt x="3274" y="1134"/>
                </a:lnTo>
                <a:lnTo>
                  <a:pt x="3300" y="1178"/>
                </a:lnTo>
                <a:lnTo>
                  <a:pt x="3327" y="1223"/>
                </a:lnTo>
                <a:lnTo>
                  <a:pt x="3352" y="1268"/>
                </a:lnTo>
                <a:lnTo>
                  <a:pt x="3374" y="1315"/>
                </a:lnTo>
                <a:lnTo>
                  <a:pt x="3397" y="1362"/>
                </a:lnTo>
                <a:lnTo>
                  <a:pt x="3418" y="1409"/>
                </a:lnTo>
                <a:lnTo>
                  <a:pt x="3436" y="1458"/>
                </a:lnTo>
                <a:lnTo>
                  <a:pt x="3548" y="1450"/>
                </a:lnTo>
                <a:lnTo>
                  <a:pt x="3663" y="1448"/>
                </a:lnTo>
                <a:lnTo>
                  <a:pt x="3777" y="1449"/>
                </a:lnTo>
                <a:lnTo>
                  <a:pt x="3892" y="1454"/>
                </a:lnTo>
                <a:lnTo>
                  <a:pt x="3919" y="1562"/>
                </a:lnTo>
                <a:lnTo>
                  <a:pt x="3938" y="1669"/>
                </a:lnTo>
                <a:lnTo>
                  <a:pt x="3953" y="1779"/>
                </a:lnTo>
                <a:lnTo>
                  <a:pt x="3962" y="1889"/>
                </a:lnTo>
                <a:lnTo>
                  <a:pt x="3965" y="1999"/>
                </a:lnTo>
                <a:lnTo>
                  <a:pt x="3855" y="2034"/>
                </a:lnTo>
                <a:lnTo>
                  <a:pt x="3744" y="2065"/>
                </a:lnTo>
                <a:lnTo>
                  <a:pt x="3633" y="2092"/>
                </a:lnTo>
                <a:lnTo>
                  <a:pt x="3523" y="2113"/>
                </a:lnTo>
                <a:lnTo>
                  <a:pt x="3518" y="2165"/>
                </a:lnTo>
                <a:lnTo>
                  <a:pt x="3511" y="2216"/>
                </a:lnTo>
                <a:lnTo>
                  <a:pt x="3501" y="2268"/>
                </a:lnTo>
                <a:lnTo>
                  <a:pt x="3492" y="2319"/>
                </a:lnTo>
                <a:lnTo>
                  <a:pt x="3478" y="2369"/>
                </a:lnTo>
                <a:lnTo>
                  <a:pt x="3466" y="2419"/>
                </a:lnTo>
                <a:lnTo>
                  <a:pt x="3451" y="2470"/>
                </a:lnTo>
                <a:lnTo>
                  <a:pt x="3433" y="2518"/>
                </a:lnTo>
                <a:lnTo>
                  <a:pt x="3524" y="2584"/>
                </a:lnTo>
                <a:lnTo>
                  <a:pt x="3613" y="2656"/>
                </a:lnTo>
                <a:lnTo>
                  <a:pt x="3701" y="2731"/>
                </a:lnTo>
                <a:lnTo>
                  <a:pt x="3786" y="2808"/>
                </a:lnTo>
                <a:lnTo>
                  <a:pt x="3736" y="2907"/>
                </a:lnTo>
                <a:lnTo>
                  <a:pt x="3683" y="3002"/>
                </a:lnTo>
                <a:lnTo>
                  <a:pt x="3624" y="3096"/>
                </a:lnTo>
                <a:lnTo>
                  <a:pt x="3560" y="3186"/>
                </a:lnTo>
                <a:lnTo>
                  <a:pt x="3491" y="3273"/>
                </a:lnTo>
                <a:lnTo>
                  <a:pt x="3385" y="3229"/>
                </a:lnTo>
                <a:lnTo>
                  <a:pt x="3280" y="3181"/>
                </a:lnTo>
                <a:lnTo>
                  <a:pt x="3177" y="3130"/>
                </a:lnTo>
                <a:lnTo>
                  <a:pt x="3078" y="3076"/>
                </a:lnTo>
                <a:lnTo>
                  <a:pt x="3042" y="3112"/>
                </a:lnTo>
                <a:lnTo>
                  <a:pt x="3002" y="3147"/>
                </a:lnTo>
                <a:lnTo>
                  <a:pt x="2962" y="3180"/>
                </a:lnTo>
                <a:lnTo>
                  <a:pt x="2922" y="3214"/>
                </a:lnTo>
                <a:lnTo>
                  <a:pt x="2838" y="3274"/>
                </a:lnTo>
                <a:lnTo>
                  <a:pt x="2794" y="3302"/>
                </a:lnTo>
                <a:lnTo>
                  <a:pt x="2750" y="3327"/>
                </a:lnTo>
                <a:lnTo>
                  <a:pt x="2776" y="3438"/>
                </a:lnTo>
                <a:lnTo>
                  <a:pt x="2801" y="3551"/>
                </a:lnTo>
                <a:lnTo>
                  <a:pt x="2819" y="3663"/>
                </a:lnTo>
                <a:lnTo>
                  <a:pt x="2833" y="3776"/>
                </a:lnTo>
                <a:lnTo>
                  <a:pt x="2750" y="3815"/>
                </a:lnTo>
                <a:lnTo>
                  <a:pt x="2664" y="3849"/>
                </a:lnTo>
                <a:lnTo>
                  <a:pt x="2577" y="3878"/>
                </a:lnTo>
                <a:lnTo>
                  <a:pt x="2489" y="3903"/>
                </a:lnTo>
                <a:lnTo>
                  <a:pt x="2400" y="3925"/>
                </a:lnTo>
                <a:lnTo>
                  <a:pt x="2310" y="3943"/>
                </a:lnTo>
                <a:lnTo>
                  <a:pt x="2239" y="3807"/>
                </a:lnTo>
                <a:lnTo>
                  <a:pt x="2176" y="3668"/>
                </a:lnTo>
                <a:lnTo>
                  <a:pt x="2119" y="3529"/>
                </a:lnTo>
                <a:lnTo>
                  <a:pt x="2069" y="3531"/>
                </a:lnTo>
                <a:lnTo>
                  <a:pt x="2017" y="3534"/>
                </a:lnTo>
                <a:lnTo>
                  <a:pt x="1965" y="3535"/>
                </a:lnTo>
                <a:lnTo>
                  <a:pt x="1913" y="3532"/>
                </a:lnTo>
                <a:lnTo>
                  <a:pt x="1843" y="3529"/>
                </a:lnTo>
                <a:lnTo>
                  <a:pt x="1774" y="3520"/>
                </a:lnTo>
                <a:lnTo>
                  <a:pt x="1706" y="3509"/>
                </a:lnTo>
                <a:lnTo>
                  <a:pt x="1656" y="3612"/>
                </a:lnTo>
                <a:lnTo>
                  <a:pt x="1601" y="3712"/>
                </a:lnTo>
                <a:lnTo>
                  <a:pt x="1543" y="3810"/>
                </a:lnTo>
                <a:lnTo>
                  <a:pt x="1482" y="3907"/>
                </a:lnTo>
                <a:lnTo>
                  <a:pt x="1394" y="3883"/>
                </a:lnTo>
                <a:lnTo>
                  <a:pt x="1307" y="3854"/>
                </a:lnTo>
                <a:lnTo>
                  <a:pt x="1221" y="3820"/>
                </a:lnTo>
                <a:lnTo>
                  <a:pt x="1136" y="3782"/>
                </a:lnTo>
                <a:lnTo>
                  <a:pt x="1054" y="3741"/>
                </a:lnTo>
                <a:lnTo>
                  <a:pt x="973" y="3698"/>
                </a:lnTo>
                <a:lnTo>
                  <a:pt x="999" y="3584"/>
                </a:lnTo>
                <a:lnTo>
                  <a:pt x="1026" y="3474"/>
                </a:lnTo>
                <a:lnTo>
                  <a:pt x="1059" y="3366"/>
                </a:lnTo>
                <a:lnTo>
                  <a:pt x="1095" y="3258"/>
                </a:lnTo>
                <a:lnTo>
                  <a:pt x="1053" y="3227"/>
                </a:lnTo>
                <a:lnTo>
                  <a:pt x="1012" y="3195"/>
                </a:lnTo>
                <a:lnTo>
                  <a:pt x="972" y="3163"/>
                </a:lnTo>
                <a:lnTo>
                  <a:pt x="934" y="3128"/>
                </a:lnTo>
                <a:lnTo>
                  <a:pt x="883" y="3081"/>
                </a:lnTo>
                <a:lnTo>
                  <a:pt x="834" y="3031"/>
                </a:lnTo>
                <a:lnTo>
                  <a:pt x="790" y="2978"/>
                </a:lnTo>
                <a:lnTo>
                  <a:pt x="685" y="3024"/>
                </a:lnTo>
                <a:lnTo>
                  <a:pt x="580" y="3065"/>
                </a:lnTo>
                <a:lnTo>
                  <a:pt x="472" y="3104"/>
                </a:lnTo>
                <a:lnTo>
                  <a:pt x="362" y="3138"/>
                </a:lnTo>
                <a:lnTo>
                  <a:pt x="301" y="3047"/>
                </a:lnTo>
                <a:lnTo>
                  <a:pt x="244" y="2952"/>
                </a:lnTo>
                <a:lnTo>
                  <a:pt x="193" y="2854"/>
                </a:lnTo>
                <a:lnTo>
                  <a:pt x="149" y="2753"/>
                </a:lnTo>
                <a:lnTo>
                  <a:pt x="109" y="2651"/>
                </a:lnTo>
                <a:lnTo>
                  <a:pt x="200" y="2581"/>
                </a:lnTo>
                <a:lnTo>
                  <a:pt x="292" y="2514"/>
                </a:lnTo>
                <a:lnTo>
                  <a:pt x="386" y="2452"/>
                </a:lnTo>
                <a:lnTo>
                  <a:pt x="483" y="2392"/>
                </a:lnTo>
                <a:lnTo>
                  <a:pt x="459" y="2291"/>
                </a:lnTo>
                <a:lnTo>
                  <a:pt x="449" y="2240"/>
                </a:lnTo>
                <a:lnTo>
                  <a:pt x="443" y="2188"/>
                </a:lnTo>
                <a:lnTo>
                  <a:pt x="436" y="2138"/>
                </a:lnTo>
                <a:lnTo>
                  <a:pt x="432" y="2086"/>
                </a:lnTo>
                <a:lnTo>
                  <a:pt x="430" y="2034"/>
                </a:lnTo>
                <a:lnTo>
                  <a:pt x="429" y="1982"/>
                </a:lnTo>
                <a:lnTo>
                  <a:pt x="320" y="1949"/>
                </a:lnTo>
                <a:lnTo>
                  <a:pt x="213" y="1913"/>
                </a:lnTo>
                <a:lnTo>
                  <a:pt x="106" y="1873"/>
                </a:lnTo>
                <a:lnTo>
                  <a:pt x="0" y="1828"/>
                </a:lnTo>
                <a:lnTo>
                  <a:pt x="11" y="1720"/>
                </a:lnTo>
                <a:lnTo>
                  <a:pt x="29" y="1611"/>
                </a:lnTo>
                <a:lnTo>
                  <a:pt x="52" y="1504"/>
                </a:lnTo>
                <a:lnTo>
                  <a:pt x="82" y="1397"/>
                </a:lnTo>
                <a:lnTo>
                  <a:pt x="118" y="1293"/>
                </a:lnTo>
                <a:lnTo>
                  <a:pt x="233" y="1298"/>
                </a:lnTo>
                <a:lnTo>
                  <a:pt x="347" y="1307"/>
                </a:lnTo>
                <a:lnTo>
                  <a:pt x="459" y="1319"/>
                </a:lnTo>
                <a:lnTo>
                  <a:pt x="571" y="1336"/>
                </a:lnTo>
                <a:lnTo>
                  <a:pt x="594" y="1290"/>
                </a:lnTo>
                <a:lnTo>
                  <a:pt x="618" y="1243"/>
                </a:lnTo>
                <a:lnTo>
                  <a:pt x="644" y="1198"/>
                </a:lnTo>
                <a:lnTo>
                  <a:pt x="671" y="1153"/>
                </a:lnTo>
                <a:lnTo>
                  <a:pt x="699" y="1110"/>
                </a:lnTo>
                <a:lnTo>
                  <a:pt x="729" y="1068"/>
                </a:lnTo>
                <a:lnTo>
                  <a:pt x="762" y="1027"/>
                </a:lnTo>
                <a:lnTo>
                  <a:pt x="793" y="985"/>
                </a:lnTo>
                <a:lnTo>
                  <a:pt x="731" y="891"/>
                </a:lnTo>
                <a:lnTo>
                  <a:pt x="671" y="795"/>
                </a:lnTo>
                <a:lnTo>
                  <a:pt x="616" y="696"/>
                </a:lnTo>
                <a:lnTo>
                  <a:pt x="563" y="593"/>
                </a:lnTo>
                <a:lnTo>
                  <a:pt x="629" y="529"/>
                </a:lnTo>
                <a:lnTo>
                  <a:pt x="698" y="469"/>
                </a:lnTo>
                <a:lnTo>
                  <a:pt x="769" y="411"/>
                </a:lnTo>
                <a:lnTo>
                  <a:pt x="843" y="356"/>
                </a:lnTo>
                <a:lnTo>
                  <a:pt x="920" y="306"/>
                </a:lnTo>
                <a:lnTo>
                  <a:pt x="999" y="260"/>
                </a:lnTo>
                <a:lnTo>
                  <a:pt x="1083" y="336"/>
                </a:lnTo>
                <a:lnTo>
                  <a:pt x="1164" y="415"/>
                </a:lnTo>
                <a:lnTo>
                  <a:pt x="1243" y="498"/>
                </a:lnTo>
                <a:lnTo>
                  <a:pt x="1319" y="583"/>
                </a:lnTo>
                <a:lnTo>
                  <a:pt x="1382" y="556"/>
                </a:lnTo>
                <a:lnTo>
                  <a:pt x="1446" y="530"/>
                </a:lnTo>
                <a:lnTo>
                  <a:pt x="1512" y="507"/>
                </a:lnTo>
                <a:lnTo>
                  <a:pt x="1578" y="488"/>
                </a:lnTo>
                <a:lnTo>
                  <a:pt x="1645" y="472"/>
                </a:lnTo>
                <a:lnTo>
                  <a:pt x="1712" y="458"/>
                </a:lnTo>
                <a:lnTo>
                  <a:pt x="1731" y="309"/>
                </a:lnTo>
                <a:lnTo>
                  <a:pt x="1756" y="159"/>
                </a:lnTo>
                <a:lnTo>
                  <a:pt x="1789" y="9"/>
                </a:lnTo>
                <a:lnTo>
                  <a:pt x="1880" y="2"/>
                </a:lnTo>
                <a:lnTo>
                  <a:pt x="197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  <a:scene3d>
            <a:camera prst="perspectiveRight"/>
            <a:lightRig rig="threePt" dir="t"/>
          </a:scene3d>
          <a:sp3d extrusionH="203200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出自【趣你的PPT】(微信:qunideppt)：最优质的PPT资源库"/>
          <p:cNvSpPr>
            <a:spLocks noEditPoints="1"/>
          </p:cNvSpPr>
          <p:nvPr/>
        </p:nvSpPr>
        <p:spPr bwMode="auto">
          <a:xfrm>
            <a:off x="6408455" y="710015"/>
            <a:ext cx="995898" cy="990872"/>
          </a:xfrm>
          <a:custGeom>
            <a:avLst/>
            <a:gdLst/>
            <a:ahLst/>
            <a:cxnLst>
              <a:cxn ang="0">
                <a:pos x="1635" y="930"/>
              </a:cxn>
              <a:cxn ang="0">
                <a:pos x="1267" y="1138"/>
              </a:cxn>
              <a:cxn ang="0">
                <a:pos x="1006" y="1466"/>
              </a:cxn>
              <a:cxn ang="0">
                <a:pos x="888" y="1880"/>
              </a:cxn>
              <a:cxn ang="0">
                <a:pos x="940" y="2318"/>
              </a:cxn>
              <a:cxn ang="0">
                <a:pos x="1148" y="2686"/>
              </a:cxn>
              <a:cxn ang="0">
                <a:pos x="1477" y="2947"/>
              </a:cxn>
              <a:cxn ang="0">
                <a:pos x="1891" y="3065"/>
              </a:cxn>
              <a:cxn ang="0">
                <a:pos x="2328" y="3013"/>
              </a:cxn>
              <a:cxn ang="0">
                <a:pos x="2697" y="2804"/>
              </a:cxn>
              <a:cxn ang="0">
                <a:pos x="2958" y="2476"/>
              </a:cxn>
              <a:cxn ang="0">
                <a:pos x="3076" y="2061"/>
              </a:cxn>
              <a:cxn ang="0">
                <a:pos x="3024" y="1624"/>
              </a:cxn>
              <a:cxn ang="0">
                <a:pos x="2815" y="1257"/>
              </a:cxn>
              <a:cxn ang="0">
                <a:pos x="2487" y="996"/>
              </a:cxn>
              <a:cxn ang="0">
                <a:pos x="2072" y="878"/>
              </a:cxn>
              <a:cxn ang="0">
                <a:pos x="2246" y="17"/>
              </a:cxn>
              <a:cxn ang="0">
                <a:pos x="2439" y="506"/>
              </a:cxn>
              <a:cxn ang="0">
                <a:pos x="2757" y="644"/>
              </a:cxn>
              <a:cxn ang="0">
                <a:pos x="3177" y="402"/>
              </a:cxn>
              <a:cxn ang="0">
                <a:pos x="3508" y="720"/>
              </a:cxn>
              <a:cxn ang="0">
                <a:pos x="3274" y="1134"/>
              </a:cxn>
              <a:cxn ang="0">
                <a:pos x="3397" y="1362"/>
              </a:cxn>
              <a:cxn ang="0">
                <a:pos x="3777" y="1449"/>
              </a:cxn>
              <a:cxn ang="0">
                <a:pos x="3962" y="1889"/>
              </a:cxn>
              <a:cxn ang="0">
                <a:pos x="3523" y="2113"/>
              </a:cxn>
              <a:cxn ang="0">
                <a:pos x="3478" y="2369"/>
              </a:cxn>
              <a:cxn ang="0">
                <a:pos x="3613" y="2656"/>
              </a:cxn>
              <a:cxn ang="0">
                <a:pos x="3624" y="3096"/>
              </a:cxn>
              <a:cxn ang="0">
                <a:pos x="3177" y="3130"/>
              </a:cxn>
              <a:cxn ang="0">
                <a:pos x="2922" y="3214"/>
              </a:cxn>
              <a:cxn ang="0">
                <a:pos x="2801" y="3551"/>
              </a:cxn>
              <a:cxn ang="0">
                <a:pos x="2577" y="3878"/>
              </a:cxn>
              <a:cxn ang="0">
                <a:pos x="2176" y="3668"/>
              </a:cxn>
              <a:cxn ang="0">
                <a:pos x="1913" y="3532"/>
              </a:cxn>
              <a:cxn ang="0">
                <a:pos x="1601" y="3712"/>
              </a:cxn>
              <a:cxn ang="0">
                <a:pos x="1221" y="3820"/>
              </a:cxn>
              <a:cxn ang="0">
                <a:pos x="1026" y="3474"/>
              </a:cxn>
              <a:cxn ang="0">
                <a:pos x="972" y="3163"/>
              </a:cxn>
              <a:cxn ang="0">
                <a:pos x="685" y="3024"/>
              </a:cxn>
              <a:cxn ang="0">
                <a:pos x="244" y="2952"/>
              </a:cxn>
              <a:cxn ang="0">
                <a:pos x="292" y="2514"/>
              </a:cxn>
              <a:cxn ang="0">
                <a:pos x="443" y="2188"/>
              </a:cxn>
              <a:cxn ang="0">
                <a:pos x="320" y="1949"/>
              </a:cxn>
              <a:cxn ang="0">
                <a:pos x="29" y="1611"/>
              </a:cxn>
              <a:cxn ang="0">
                <a:pos x="347" y="1307"/>
              </a:cxn>
              <a:cxn ang="0">
                <a:pos x="644" y="1198"/>
              </a:cxn>
              <a:cxn ang="0">
                <a:pos x="793" y="985"/>
              </a:cxn>
              <a:cxn ang="0">
                <a:pos x="629" y="529"/>
              </a:cxn>
              <a:cxn ang="0">
                <a:pos x="999" y="260"/>
              </a:cxn>
              <a:cxn ang="0">
                <a:pos x="1382" y="556"/>
              </a:cxn>
              <a:cxn ang="0">
                <a:pos x="1712" y="458"/>
              </a:cxn>
              <a:cxn ang="0">
                <a:pos x="1972" y="0"/>
              </a:cxn>
            </a:cxnLst>
            <a:rect l="0" t="0" r="r" b="b"/>
            <a:pathLst>
              <a:path w="3965" h="3943">
                <a:moveTo>
                  <a:pt x="1982" y="874"/>
                </a:moveTo>
                <a:lnTo>
                  <a:pt x="1891" y="878"/>
                </a:lnTo>
                <a:lnTo>
                  <a:pt x="1804" y="889"/>
                </a:lnTo>
                <a:lnTo>
                  <a:pt x="1718" y="906"/>
                </a:lnTo>
                <a:lnTo>
                  <a:pt x="1635" y="930"/>
                </a:lnTo>
                <a:lnTo>
                  <a:pt x="1554" y="960"/>
                </a:lnTo>
                <a:lnTo>
                  <a:pt x="1477" y="996"/>
                </a:lnTo>
                <a:lnTo>
                  <a:pt x="1403" y="1039"/>
                </a:lnTo>
                <a:lnTo>
                  <a:pt x="1333" y="1086"/>
                </a:lnTo>
                <a:lnTo>
                  <a:pt x="1267" y="1138"/>
                </a:lnTo>
                <a:lnTo>
                  <a:pt x="1205" y="1196"/>
                </a:lnTo>
                <a:lnTo>
                  <a:pt x="1148" y="1257"/>
                </a:lnTo>
                <a:lnTo>
                  <a:pt x="1095" y="1324"/>
                </a:lnTo>
                <a:lnTo>
                  <a:pt x="1048" y="1392"/>
                </a:lnTo>
                <a:lnTo>
                  <a:pt x="1006" y="1466"/>
                </a:lnTo>
                <a:lnTo>
                  <a:pt x="970" y="1543"/>
                </a:lnTo>
                <a:lnTo>
                  <a:pt x="940" y="1624"/>
                </a:lnTo>
                <a:lnTo>
                  <a:pt x="915" y="1708"/>
                </a:lnTo>
                <a:lnTo>
                  <a:pt x="898" y="1793"/>
                </a:lnTo>
                <a:lnTo>
                  <a:pt x="888" y="1880"/>
                </a:lnTo>
                <a:lnTo>
                  <a:pt x="884" y="1971"/>
                </a:lnTo>
                <a:lnTo>
                  <a:pt x="888" y="2061"/>
                </a:lnTo>
                <a:lnTo>
                  <a:pt x="898" y="2148"/>
                </a:lnTo>
                <a:lnTo>
                  <a:pt x="915" y="2234"/>
                </a:lnTo>
                <a:lnTo>
                  <a:pt x="940" y="2318"/>
                </a:lnTo>
                <a:lnTo>
                  <a:pt x="970" y="2398"/>
                </a:lnTo>
                <a:lnTo>
                  <a:pt x="1006" y="2476"/>
                </a:lnTo>
                <a:lnTo>
                  <a:pt x="1048" y="2549"/>
                </a:lnTo>
                <a:lnTo>
                  <a:pt x="1095" y="2619"/>
                </a:lnTo>
                <a:lnTo>
                  <a:pt x="1148" y="2686"/>
                </a:lnTo>
                <a:lnTo>
                  <a:pt x="1205" y="2747"/>
                </a:lnTo>
                <a:lnTo>
                  <a:pt x="1267" y="2804"/>
                </a:lnTo>
                <a:lnTo>
                  <a:pt x="1333" y="2857"/>
                </a:lnTo>
                <a:lnTo>
                  <a:pt x="1403" y="2904"/>
                </a:lnTo>
                <a:lnTo>
                  <a:pt x="1477" y="2947"/>
                </a:lnTo>
                <a:lnTo>
                  <a:pt x="1554" y="2983"/>
                </a:lnTo>
                <a:lnTo>
                  <a:pt x="1635" y="3013"/>
                </a:lnTo>
                <a:lnTo>
                  <a:pt x="1718" y="3037"/>
                </a:lnTo>
                <a:lnTo>
                  <a:pt x="1804" y="3054"/>
                </a:lnTo>
                <a:lnTo>
                  <a:pt x="1891" y="3065"/>
                </a:lnTo>
                <a:lnTo>
                  <a:pt x="1982" y="3069"/>
                </a:lnTo>
                <a:lnTo>
                  <a:pt x="2072" y="3065"/>
                </a:lnTo>
                <a:lnTo>
                  <a:pt x="2159" y="3054"/>
                </a:lnTo>
                <a:lnTo>
                  <a:pt x="2245" y="3037"/>
                </a:lnTo>
                <a:lnTo>
                  <a:pt x="2328" y="3013"/>
                </a:lnTo>
                <a:lnTo>
                  <a:pt x="2409" y="2983"/>
                </a:lnTo>
                <a:lnTo>
                  <a:pt x="2487" y="2947"/>
                </a:lnTo>
                <a:lnTo>
                  <a:pt x="2560" y="2904"/>
                </a:lnTo>
                <a:lnTo>
                  <a:pt x="2630" y="2857"/>
                </a:lnTo>
                <a:lnTo>
                  <a:pt x="2697" y="2804"/>
                </a:lnTo>
                <a:lnTo>
                  <a:pt x="2758" y="2747"/>
                </a:lnTo>
                <a:lnTo>
                  <a:pt x="2815" y="2686"/>
                </a:lnTo>
                <a:lnTo>
                  <a:pt x="2868" y="2619"/>
                </a:lnTo>
                <a:lnTo>
                  <a:pt x="2915" y="2549"/>
                </a:lnTo>
                <a:lnTo>
                  <a:pt x="2958" y="2476"/>
                </a:lnTo>
                <a:lnTo>
                  <a:pt x="2994" y="2398"/>
                </a:lnTo>
                <a:lnTo>
                  <a:pt x="3024" y="2318"/>
                </a:lnTo>
                <a:lnTo>
                  <a:pt x="3048" y="2234"/>
                </a:lnTo>
                <a:lnTo>
                  <a:pt x="3065" y="2148"/>
                </a:lnTo>
                <a:lnTo>
                  <a:pt x="3076" y="2061"/>
                </a:lnTo>
                <a:lnTo>
                  <a:pt x="3079" y="1971"/>
                </a:lnTo>
                <a:lnTo>
                  <a:pt x="3076" y="1880"/>
                </a:lnTo>
                <a:lnTo>
                  <a:pt x="3065" y="1793"/>
                </a:lnTo>
                <a:lnTo>
                  <a:pt x="3048" y="1708"/>
                </a:lnTo>
                <a:lnTo>
                  <a:pt x="3024" y="1624"/>
                </a:lnTo>
                <a:lnTo>
                  <a:pt x="2994" y="1543"/>
                </a:lnTo>
                <a:lnTo>
                  <a:pt x="2958" y="1466"/>
                </a:lnTo>
                <a:lnTo>
                  <a:pt x="2915" y="1392"/>
                </a:lnTo>
                <a:lnTo>
                  <a:pt x="2868" y="1324"/>
                </a:lnTo>
                <a:lnTo>
                  <a:pt x="2815" y="1257"/>
                </a:lnTo>
                <a:lnTo>
                  <a:pt x="2758" y="1196"/>
                </a:lnTo>
                <a:lnTo>
                  <a:pt x="2697" y="1138"/>
                </a:lnTo>
                <a:lnTo>
                  <a:pt x="2630" y="1086"/>
                </a:lnTo>
                <a:lnTo>
                  <a:pt x="2560" y="1039"/>
                </a:lnTo>
                <a:lnTo>
                  <a:pt x="2487" y="996"/>
                </a:lnTo>
                <a:lnTo>
                  <a:pt x="2409" y="960"/>
                </a:lnTo>
                <a:lnTo>
                  <a:pt x="2328" y="930"/>
                </a:lnTo>
                <a:lnTo>
                  <a:pt x="2245" y="906"/>
                </a:lnTo>
                <a:lnTo>
                  <a:pt x="2159" y="889"/>
                </a:lnTo>
                <a:lnTo>
                  <a:pt x="2072" y="878"/>
                </a:lnTo>
                <a:lnTo>
                  <a:pt x="1982" y="874"/>
                </a:lnTo>
                <a:close/>
                <a:moveTo>
                  <a:pt x="1972" y="0"/>
                </a:moveTo>
                <a:lnTo>
                  <a:pt x="2064" y="1"/>
                </a:lnTo>
                <a:lnTo>
                  <a:pt x="2156" y="6"/>
                </a:lnTo>
                <a:lnTo>
                  <a:pt x="2246" y="17"/>
                </a:lnTo>
                <a:lnTo>
                  <a:pt x="2337" y="33"/>
                </a:lnTo>
                <a:lnTo>
                  <a:pt x="2357" y="184"/>
                </a:lnTo>
                <a:lnTo>
                  <a:pt x="2369" y="336"/>
                </a:lnTo>
                <a:lnTo>
                  <a:pt x="2373" y="488"/>
                </a:lnTo>
                <a:lnTo>
                  <a:pt x="2439" y="506"/>
                </a:lnTo>
                <a:lnTo>
                  <a:pt x="2506" y="528"/>
                </a:lnTo>
                <a:lnTo>
                  <a:pt x="2570" y="553"/>
                </a:lnTo>
                <a:lnTo>
                  <a:pt x="2618" y="572"/>
                </a:lnTo>
                <a:lnTo>
                  <a:pt x="2665" y="595"/>
                </a:lnTo>
                <a:lnTo>
                  <a:pt x="2757" y="644"/>
                </a:lnTo>
                <a:lnTo>
                  <a:pt x="2838" y="566"/>
                </a:lnTo>
                <a:lnTo>
                  <a:pt x="2924" y="492"/>
                </a:lnTo>
                <a:lnTo>
                  <a:pt x="3012" y="419"/>
                </a:lnTo>
                <a:lnTo>
                  <a:pt x="3104" y="348"/>
                </a:lnTo>
                <a:lnTo>
                  <a:pt x="3177" y="402"/>
                </a:lnTo>
                <a:lnTo>
                  <a:pt x="3250" y="460"/>
                </a:lnTo>
                <a:lnTo>
                  <a:pt x="3319" y="521"/>
                </a:lnTo>
                <a:lnTo>
                  <a:pt x="3386" y="583"/>
                </a:lnTo>
                <a:lnTo>
                  <a:pt x="3449" y="650"/>
                </a:lnTo>
                <a:lnTo>
                  <a:pt x="3508" y="720"/>
                </a:lnTo>
                <a:lnTo>
                  <a:pt x="3447" y="816"/>
                </a:lnTo>
                <a:lnTo>
                  <a:pt x="3383" y="911"/>
                </a:lnTo>
                <a:lnTo>
                  <a:pt x="3314" y="1004"/>
                </a:lnTo>
                <a:lnTo>
                  <a:pt x="3244" y="1092"/>
                </a:lnTo>
                <a:lnTo>
                  <a:pt x="3274" y="1134"/>
                </a:lnTo>
                <a:lnTo>
                  <a:pt x="3300" y="1178"/>
                </a:lnTo>
                <a:lnTo>
                  <a:pt x="3327" y="1223"/>
                </a:lnTo>
                <a:lnTo>
                  <a:pt x="3352" y="1268"/>
                </a:lnTo>
                <a:lnTo>
                  <a:pt x="3374" y="1315"/>
                </a:lnTo>
                <a:lnTo>
                  <a:pt x="3397" y="1362"/>
                </a:lnTo>
                <a:lnTo>
                  <a:pt x="3418" y="1409"/>
                </a:lnTo>
                <a:lnTo>
                  <a:pt x="3436" y="1458"/>
                </a:lnTo>
                <a:lnTo>
                  <a:pt x="3548" y="1450"/>
                </a:lnTo>
                <a:lnTo>
                  <a:pt x="3663" y="1448"/>
                </a:lnTo>
                <a:lnTo>
                  <a:pt x="3777" y="1449"/>
                </a:lnTo>
                <a:lnTo>
                  <a:pt x="3892" y="1454"/>
                </a:lnTo>
                <a:lnTo>
                  <a:pt x="3919" y="1562"/>
                </a:lnTo>
                <a:lnTo>
                  <a:pt x="3938" y="1669"/>
                </a:lnTo>
                <a:lnTo>
                  <a:pt x="3953" y="1779"/>
                </a:lnTo>
                <a:lnTo>
                  <a:pt x="3962" y="1889"/>
                </a:lnTo>
                <a:lnTo>
                  <a:pt x="3965" y="1999"/>
                </a:lnTo>
                <a:lnTo>
                  <a:pt x="3855" y="2034"/>
                </a:lnTo>
                <a:lnTo>
                  <a:pt x="3744" y="2065"/>
                </a:lnTo>
                <a:lnTo>
                  <a:pt x="3633" y="2092"/>
                </a:lnTo>
                <a:lnTo>
                  <a:pt x="3523" y="2113"/>
                </a:lnTo>
                <a:lnTo>
                  <a:pt x="3518" y="2165"/>
                </a:lnTo>
                <a:lnTo>
                  <a:pt x="3511" y="2216"/>
                </a:lnTo>
                <a:lnTo>
                  <a:pt x="3501" y="2268"/>
                </a:lnTo>
                <a:lnTo>
                  <a:pt x="3492" y="2319"/>
                </a:lnTo>
                <a:lnTo>
                  <a:pt x="3478" y="2369"/>
                </a:lnTo>
                <a:lnTo>
                  <a:pt x="3466" y="2419"/>
                </a:lnTo>
                <a:lnTo>
                  <a:pt x="3451" y="2470"/>
                </a:lnTo>
                <a:lnTo>
                  <a:pt x="3433" y="2518"/>
                </a:lnTo>
                <a:lnTo>
                  <a:pt x="3524" y="2584"/>
                </a:lnTo>
                <a:lnTo>
                  <a:pt x="3613" y="2656"/>
                </a:lnTo>
                <a:lnTo>
                  <a:pt x="3701" y="2731"/>
                </a:lnTo>
                <a:lnTo>
                  <a:pt x="3786" y="2808"/>
                </a:lnTo>
                <a:lnTo>
                  <a:pt x="3736" y="2907"/>
                </a:lnTo>
                <a:lnTo>
                  <a:pt x="3683" y="3002"/>
                </a:lnTo>
                <a:lnTo>
                  <a:pt x="3624" y="3096"/>
                </a:lnTo>
                <a:lnTo>
                  <a:pt x="3560" y="3186"/>
                </a:lnTo>
                <a:lnTo>
                  <a:pt x="3491" y="3273"/>
                </a:lnTo>
                <a:lnTo>
                  <a:pt x="3385" y="3229"/>
                </a:lnTo>
                <a:lnTo>
                  <a:pt x="3280" y="3181"/>
                </a:lnTo>
                <a:lnTo>
                  <a:pt x="3177" y="3130"/>
                </a:lnTo>
                <a:lnTo>
                  <a:pt x="3078" y="3076"/>
                </a:lnTo>
                <a:lnTo>
                  <a:pt x="3042" y="3112"/>
                </a:lnTo>
                <a:lnTo>
                  <a:pt x="3002" y="3147"/>
                </a:lnTo>
                <a:lnTo>
                  <a:pt x="2962" y="3180"/>
                </a:lnTo>
                <a:lnTo>
                  <a:pt x="2922" y="3214"/>
                </a:lnTo>
                <a:lnTo>
                  <a:pt x="2838" y="3274"/>
                </a:lnTo>
                <a:lnTo>
                  <a:pt x="2794" y="3302"/>
                </a:lnTo>
                <a:lnTo>
                  <a:pt x="2750" y="3327"/>
                </a:lnTo>
                <a:lnTo>
                  <a:pt x="2776" y="3438"/>
                </a:lnTo>
                <a:lnTo>
                  <a:pt x="2801" y="3551"/>
                </a:lnTo>
                <a:lnTo>
                  <a:pt x="2819" y="3663"/>
                </a:lnTo>
                <a:lnTo>
                  <a:pt x="2833" y="3776"/>
                </a:lnTo>
                <a:lnTo>
                  <a:pt x="2750" y="3815"/>
                </a:lnTo>
                <a:lnTo>
                  <a:pt x="2664" y="3849"/>
                </a:lnTo>
                <a:lnTo>
                  <a:pt x="2577" y="3878"/>
                </a:lnTo>
                <a:lnTo>
                  <a:pt x="2489" y="3903"/>
                </a:lnTo>
                <a:lnTo>
                  <a:pt x="2400" y="3925"/>
                </a:lnTo>
                <a:lnTo>
                  <a:pt x="2310" y="3943"/>
                </a:lnTo>
                <a:lnTo>
                  <a:pt x="2239" y="3807"/>
                </a:lnTo>
                <a:lnTo>
                  <a:pt x="2176" y="3668"/>
                </a:lnTo>
                <a:lnTo>
                  <a:pt x="2119" y="3529"/>
                </a:lnTo>
                <a:lnTo>
                  <a:pt x="2069" y="3531"/>
                </a:lnTo>
                <a:lnTo>
                  <a:pt x="2017" y="3534"/>
                </a:lnTo>
                <a:lnTo>
                  <a:pt x="1965" y="3535"/>
                </a:lnTo>
                <a:lnTo>
                  <a:pt x="1913" y="3532"/>
                </a:lnTo>
                <a:lnTo>
                  <a:pt x="1843" y="3529"/>
                </a:lnTo>
                <a:lnTo>
                  <a:pt x="1774" y="3520"/>
                </a:lnTo>
                <a:lnTo>
                  <a:pt x="1706" y="3509"/>
                </a:lnTo>
                <a:lnTo>
                  <a:pt x="1656" y="3612"/>
                </a:lnTo>
                <a:lnTo>
                  <a:pt x="1601" y="3712"/>
                </a:lnTo>
                <a:lnTo>
                  <a:pt x="1543" y="3810"/>
                </a:lnTo>
                <a:lnTo>
                  <a:pt x="1482" y="3907"/>
                </a:lnTo>
                <a:lnTo>
                  <a:pt x="1394" y="3883"/>
                </a:lnTo>
                <a:lnTo>
                  <a:pt x="1307" y="3854"/>
                </a:lnTo>
                <a:lnTo>
                  <a:pt x="1221" y="3820"/>
                </a:lnTo>
                <a:lnTo>
                  <a:pt x="1136" y="3782"/>
                </a:lnTo>
                <a:lnTo>
                  <a:pt x="1054" y="3741"/>
                </a:lnTo>
                <a:lnTo>
                  <a:pt x="973" y="3698"/>
                </a:lnTo>
                <a:lnTo>
                  <a:pt x="999" y="3584"/>
                </a:lnTo>
                <a:lnTo>
                  <a:pt x="1026" y="3474"/>
                </a:lnTo>
                <a:lnTo>
                  <a:pt x="1059" y="3366"/>
                </a:lnTo>
                <a:lnTo>
                  <a:pt x="1095" y="3258"/>
                </a:lnTo>
                <a:lnTo>
                  <a:pt x="1053" y="3227"/>
                </a:lnTo>
                <a:lnTo>
                  <a:pt x="1012" y="3195"/>
                </a:lnTo>
                <a:lnTo>
                  <a:pt x="972" y="3163"/>
                </a:lnTo>
                <a:lnTo>
                  <a:pt x="934" y="3128"/>
                </a:lnTo>
                <a:lnTo>
                  <a:pt x="883" y="3081"/>
                </a:lnTo>
                <a:lnTo>
                  <a:pt x="834" y="3031"/>
                </a:lnTo>
                <a:lnTo>
                  <a:pt x="790" y="2978"/>
                </a:lnTo>
                <a:lnTo>
                  <a:pt x="685" y="3024"/>
                </a:lnTo>
                <a:lnTo>
                  <a:pt x="580" y="3065"/>
                </a:lnTo>
                <a:lnTo>
                  <a:pt x="472" y="3104"/>
                </a:lnTo>
                <a:lnTo>
                  <a:pt x="362" y="3138"/>
                </a:lnTo>
                <a:lnTo>
                  <a:pt x="301" y="3047"/>
                </a:lnTo>
                <a:lnTo>
                  <a:pt x="244" y="2952"/>
                </a:lnTo>
                <a:lnTo>
                  <a:pt x="193" y="2854"/>
                </a:lnTo>
                <a:lnTo>
                  <a:pt x="149" y="2753"/>
                </a:lnTo>
                <a:lnTo>
                  <a:pt x="109" y="2651"/>
                </a:lnTo>
                <a:lnTo>
                  <a:pt x="200" y="2581"/>
                </a:lnTo>
                <a:lnTo>
                  <a:pt x="292" y="2514"/>
                </a:lnTo>
                <a:lnTo>
                  <a:pt x="386" y="2452"/>
                </a:lnTo>
                <a:lnTo>
                  <a:pt x="483" y="2392"/>
                </a:lnTo>
                <a:lnTo>
                  <a:pt x="459" y="2291"/>
                </a:lnTo>
                <a:lnTo>
                  <a:pt x="449" y="2240"/>
                </a:lnTo>
                <a:lnTo>
                  <a:pt x="443" y="2188"/>
                </a:lnTo>
                <a:lnTo>
                  <a:pt x="436" y="2138"/>
                </a:lnTo>
                <a:lnTo>
                  <a:pt x="432" y="2086"/>
                </a:lnTo>
                <a:lnTo>
                  <a:pt x="430" y="2034"/>
                </a:lnTo>
                <a:lnTo>
                  <a:pt x="429" y="1982"/>
                </a:lnTo>
                <a:lnTo>
                  <a:pt x="320" y="1949"/>
                </a:lnTo>
                <a:lnTo>
                  <a:pt x="213" y="1913"/>
                </a:lnTo>
                <a:lnTo>
                  <a:pt x="106" y="1873"/>
                </a:lnTo>
                <a:lnTo>
                  <a:pt x="0" y="1828"/>
                </a:lnTo>
                <a:lnTo>
                  <a:pt x="11" y="1720"/>
                </a:lnTo>
                <a:lnTo>
                  <a:pt x="29" y="1611"/>
                </a:lnTo>
                <a:lnTo>
                  <a:pt x="52" y="1504"/>
                </a:lnTo>
                <a:lnTo>
                  <a:pt x="82" y="1397"/>
                </a:lnTo>
                <a:lnTo>
                  <a:pt x="118" y="1293"/>
                </a:lnTo>
                <a:lnTo>
                  <a:pt x="233" y="1298"/>
                </a:lnTo>
                <a:lnTo>
                  <a:pt x="347" y="1307"/>
                </a:lnTo>
                <a:lnTo>
                  <a:pt x="459" y="1319"/>
                </a:lnTo>
                <a:lnTo>
                  <a:pt x="571" y="1336"/>
                </a:lnTo>
                <a:lnTo>
                  <a:pt x="594" y="1290"/>
                </a:lnTo>
                <a:lnTo>
                  <a:pt x="618" y="1243"/>
                </a:lnTo>
                <a:lnTo>
                  <a:pt x="644" y="1198"/>
                </a:lnTo>
                <a:lnTo>
                  <a:pt x="671" y="1153"/>
                </a:lnTo>
                <a:lnTo>
                  <a:pt x="699" y="1110"/>
                </a:lnTo>
                <a:lnTo>
                  <a:pt x="729" y="1068"/>
                </a:lnTo>
                <a:lnTo>
                  <a:pt x="762" y="1027"/>
                </a:lnTo>
                <a:lnTo>
                  <a:pt x="793" y="985"/>
                </a:lnTo>
                <a:lnTo>
                  <a:pt x="731" y="891"/>
                </a:lnTo>
                <a:lnTo>
                  <a:pt x="671" y="795"/>
                </a:lnTo>
                <a:lnTo>
                  <a:pt x="616" y="696"/>
                </a:lnTo>
                <a:lnTo>
                  <a:pt x="563" y="593"/>
                </a:lnTo>
                <a:lnTo>
                  <a:pt x="629" y="529"/>
                </a:lnTo>
                <a:lnTo>
                  <a:pt x="698" y="469"/>
                </a:lnTo>
                <a:lnTo>
                  <a:pt x="769" y="411"/>
                </a:lnTo>
                <a:lnTo>
                  <a:pt x="843" y="356"/>
                </a:lnTo>
                <a:lnTo>
                  <a:pt x="920" y="306"/>
                </a:lnTo>
                <a:lnTo>
                  <a:pt x="999" y="260"/>
                </a:lnTo>
                <a:lnTo>
                  <a:pt x="1083" y="336"/>
                </a:lnTo>
                <a:lnTo>
                  <a:pt x="1164" y="415"/>
                </a:lnTo>
                <a:lnTo>
                  <a:pt x="1243" y="498"/>
                </a:lnTo>
                <a:lnTo>
                  <a:pt x="1319" y="583"/>
                </a:lnTo>
                <a:lnTo>
                  <a:pt x="1382" y="556"/>
                </a:lnTo>
                <a:lnTo>
                  <a:pt x="1446" y="530"/>
                </a:lnTo>
                <a:lnTo>
                  <a:pt x="1512" y="507"/>
                </a:lnTo>
                <a:lnTo>
                  <a:pt x="1578" y="488"/>
                </a:lnTo>
                <a:lnTo>
                  <a:pt x="1645" y="472"/>
                </a:lnTo>
                <a:lnTo>
                  <a:pt x="1712" y="458"/>
                </a:lnTo>
                <a:lnTo>
                  <a:pt x="1731" y="309"/>
                </a:lnTo>
                <a:lnTo>
                  <a:pt x="1756" y="159"/>
                </a:lnTo>
                <a:lnTo>
                  <a:pt x="1789" y="9"/>
                </a:lnTo>
                <a:lnTo>
                  <a:pt x="1880" y="2"/>
                </a:lnTo>
                <a:lnTo>
                  <a:pt x="197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0">
            <a:noFill/>
            <a:prstDash val="solid"/>
            <a:round/>
            <a:headEnd/>
            <a:tailEnd/>
          </a:ln>
          <a:scene3d>
            <a:camera prst="perspectiveRight"/>
            <a:lightRig rig="threePt" dir="t"/>
          </a:scene3d>
          <a:sp3d extrusionH="203200"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7" name="Group 82出自【趣你的PPT】(微信:qunideppt)：最优质的PPT资源库"/>
          <p:cNvGrpSpPr/>
          <p:nvPr/>
        </p:nvGrpSpPr>
        <p:grpSpPr>
          <a:xfrm>
            <a:off x="1336916" y="1344088"/>
            <a:ext cx="2128838" cy="2516315"/>
            <a:chOff x="1139573" y="1733929"/>
            <a:chExt cx="2128838" cy="2516315"/>
          </a:xfrm>
          <a:solidFill>
            <a:srgbClr val="0070C0"/>
          </a:solidFill>
          <a:scene3d>
            <a:camera prst="perspectiveRight"/>
            <a:lightRig rig="threePt" dir="t"/>
          </a:scene3d>
        </p:grpSpPr>
        <p:sp>
          <p:nvSpPr>
            <p:cNvPr id="18" name="出自【趣你的PPT】(微信:qunideppt)：最优质的PPT资源库"/>
            <p:cNvSpPr>
              <a:spLocks/>
            </p:cNvSpPr>
            <p:nvPr/>
          </p:nvSpPr>
          <p:spPr bwMode="auto">
            <a:xfrm rot="19694758">
              <a:off x="1139573" y="2303969"/>
              <a:ext cx="2128838" cy="1946275"/>
            </a:xfrm>
            <a:custGeom>
              <a:avLst/>
              <a:gdLst/>
              <a:ahLst/>
              <a:cxnLst>
                <a:cxn ang="0">
                  <a:pos x="2513" y="45"/>
                </a:cxn>
                <a:cxn ang="0">
                  <a:pos x="2676" y="198"/>
                </a:cxn>
                <a:cxn ang="0">
                  <a:pos x="2936" y="441"/>
                </a:cxn>
                <a:cxn ang="0">
                  <a:pos x="3074" y="567"/>
                </a:cxn>
                <a:cxn ang="0">
                  <a:pos x="3158" y="629"/>
                </a:cxn>
                <a:cxn ang="0">
                  <a:pos x="3292" y="623"/>
                </a:cxn>
                <a:cxn ang="0">
                  <a:pos x="3424" y="583"/>
                </a:cxn>
                <a:cxn ang="0">
                  <a:pos x="3660" y="510"/>
                </a:cxn>
                <a:cxn ang="0">
                  <a:pos x="3856" y="493"/>
                </a:cxn>
                <a:cxn ang="0">
                  <a:pos x="3996" y="620"/>
                </a:cxn>
                <a:cxn ang="0">
                  <a:pos x="4015" y="804"/>
                </a:cxn>
                <a:cxn ang="0">
                  <a:pos x="3886" y="932"/>
                </a:cxn>
                <a:cxn ang="0">
                  <a:pos x="3054" y="1144"/>
                </a:cxn>
                <a:cxn ang="0">
                  <a:pos x="2972" y="1113"/>
                </a:cxn>
                <a:cxn ang="0">
                  <a:pos x="2710" y="858"/>
                </a:cxn>
                <a:cxn ang="0">
                  <a:pos x="2587" y="733"/>
                </a:cxn>
                <a:cxn ang="0">
                  <a:pos x="2548" y="730"/>
                </a:cxn>
                <a:cxn ang="0">
                  <a:pos x="2509" y="836"/>
                </a:cxn>
                <a:cxn ang="0">
                  <a:pos x="2413" y="1040"/>
                </a:cxn>
                <a:cxn ang="0">
                  <a:pos x="2259" y="1338"/>
                </a:cxn>
                <a:cxn ang="0">
                  <a:pos x="2151" y="1542"/>
                </a:cxn>
                <a:cxn ang="0">
                  <a:pos x="2109" y="1620"/>
                </a:cxn>
                <a:cxn ang="0">
                  <a:pos x="2119" y="1740"/>
                </a:cxn>
                <a:cxn ang="0">
                  <a:pos x="2238" y="1845"/>
                </a:cxn>
                <a:cxn ang="0">
                  <a:pos x="2529" y="2054"/>
                </a:cxn>
                <a:cxn ang="0">
                  <a:pos x="2609" y="2109"/>
                </a:cxn>
                <a:cxn ang="0">
                  <a:pos x="2645" y="2136"/>
                </a:cxn>
                <a:cxn ang="0">
                  <a:pos x="2686" y="2247"/>
                </a:cxn>
                <a:cxn ang="0">
                  <a:pos x="2511" y="3523"/>
                </a:cxn>
                <a:cxn ang="0">
                  <a:pos x="2383" y="3661"/>
                </a:cxn>
                <a:cxn ang="0">
                  <a:pos x="2219" y="3660"/>
                </a:cxn>
                <a:cxn ang="0">
                  <a:pos x="2108" y="3513"/>
                </a:cxn>
                <a:cxn ang="0">
                  <a:pos x="2205" y="2384"/>
                </a:cxn>
                <a:cxn ang="0">
                  <a:pos x="2134" y="2291"/>
                </a:cxn>
                <a:cxn ang="0">
                  <a:pos x="1999" y="2198"/>
                </a:cxn>
                <a:cxn ang="0">
                  <a:pos x="1813" y="2043"/>
                </a:cxn>
                <a:cxn ang="0">
                  <a:pos x="1739" y="1978"/>
                </a:cxn>
                <a:cxn ang="0">
                  <a:pos x="1326" y="2602"/>
                </a:cxn>
                <a:cxn ang="0">
                  <a:pos x="1062" y="2629"/>
                </a:cxn>
                <a:cxn ang="0">
                  <a:pos x="256" y="2630"/>
                </a:cxn>
                <a:cxn ang="0">
                  <a:pos x="59" y="2554"/>
                </a:cxn>
                <a:cxn ang="0">
                  <a:pos x="0" y="2383"/>
                </a:cxn>
                <a:cxn ang="0">
                  <a:pos x="87" y="2220"/>
                </a:cxn>
                <a:cxn ang="0">
                  <a:pos x="340" y="2167"/>
                </a:cxn>
                <a:cxn ang="0">
                  <a:pos x="1043" y="2166"/>
                </a:cxn>
                <a:cxn ang="0">
                  <a:pos x="1908" y="724"/>
                </a:cxn>
                <a:cxn ang="0">
                  <a:pos x="1863" y="693"/>
                </a:cxn>
                <a:cxn ang="0">
                  <a:pos x="1732" y="762"/>
                </a:cxn>
                <a:cxn ang="0">
                  <a:pos x="1481" y="903"/>
                </a:cxn>
                <a:cxn ang="0">
                  <a:pos x="1157" y="1081"/>
                </a:cxn>
                <a:cxn ang="0">
                  <a:pos x="951" y="1177"/>
                </a:cxn>
                <a:cxn ang="0">
                  <a:pos x="792" y="1109"/>
                </a:cxn>
                <a:cxn ang="0">
                  <a:pos x="720" y="936"/>
                </a:cxn>
                <a:cxn ang="0">
                  <a:pos x="805" y="760"/>
                </a:cxn>
                <a:cxn ang="0">
                  <a:pos x="2276" y="16"/>
                </a:cxn>
              </a:cxnLst>
              <a:rect l="0" t="0" r="r" b="b"/>
              <a:pathLst>
                <a:path w="4024" h="3678">
                  <a:moveTo>
                    <a:pt x="2351" y="0"/>
                  </a:moveTo>
                  <a:lnTo>
                    <a:pt x="2382" y="0"/>
                  </a:lnTo>
                  <a:lnTo>
                    <a:pt x="2414" y="2"/>
                  </a:lnTo>
                  <a:lnTo>
                    <a:pt x="2446" y="11"/>
                  </a:lnTo>
                  <a:lnTo>
                    <a:pt x="2480" y="24"/>
                  </a:lnTo>
                  <a:lnTo>
                    <a:pt x="2513" y="45"/>
                  </a:lnTo>
                  <a:lnTo>
                    <a:pt x="2547" y="73"/>
                  </a:lnTo>
                  <a:lnTo>
                    <a:pt x="2568" y="94"/>
                  </a:lnTo>
                  <a:lnTo>
                    <a:pt x="2591" y="116"/>
                  </a:lnTo>
                  <a:lnTo>
                    <a:pt x="2618" y="142"/>
                  </a:lnTo>
                  <a:lnTo>
                    <a:pt x="2646" y="169"/>
                  </a:lnTo>
                  <a:lnTo>
                    <a:pt x="2676" y="198"/>
                  </a:lnTo>
                  <a:lnTo>
                    <a:pt x="2708" y="227"/>
                  </a:lnTo>
                  <a:lnTo>
                    <a:pt x="2741" y="258"/>
                  </a:lnTo>
                  <a:lnTo>
                    <a:pt x="2774" y="290"/>
                  </a:lnTo>
                  <a:lnTo>
                    <a:pt x="2874" y="382"/>
                  </a:lnTo>
                  <a:lnTo>
                    <a:pt x="2906" y="412"/>
                  </a:lnTo>
                  <a:lnTo>
                    <a:pt x="2936" y="441"/>
                  </a:lnTo>
                  <a:lnTo>
                    <a:pt x="2966" y="467"/>
                  </a:lnTo>
                  <a:lnTo>
                    <a:pt x="2993" y="493"/>
                  </a:lnTo>
                  <a:lnTo>
                    <a:pt x="3017" y="515"/>
                  </a:lnTo>
                  <a:lnTo>
                    <a:pt x="3040" y="536"/>
                  </a:lnTo>
                  <a:lnTo>
                    <a:pt x="3058" y="553"/>
                  </a:lnTo>
                  <a:lnTo>
                    <a:pt x="3074" y="567"/>
                  </a:lnTo>
                  <a:lnTo>
                    <a:pt x="3085" y="578"/>
                  </a:lnTo>
                  <a:lnTo>
                    <a:pt x="3092" y="584"/>
                  </a:lnTo>
                  <a:lnTo>
                    <a:pt x="3111" y="602"/>
                  </a:lnTo>
                  <a:lnTo>
                    <a:pt x="3123" y="611"/>
                  </a:lnTo>
                  <a:lnTo>
                    <a:pt x="3139" y="621"/>
                  </a:lnTo>
                  <a:lnTo>
                    <a:pt x="3158" y="629"/>
                  </a:lnTo>
                  <a:lnTo>
                    <a:pt x="3178" y="637"/>
                  </a:lnTo>
                  <a:lnTo>
                    <a:pt x="3202" y="640"/>
                  </a:lnTo>
                  <a:lnTo>
                    <a:pt x="3229" y="640"/>
                  </a:lnTo>
                  <a:lnTo>
                    <a:pt x="3257" y="636"/>
                  </a:lnTo>
                  <a:lnTo>
                    <a:pt x="3288" y="624"/>
                  </a:lnTo>
                  <a:lnTo>
                    <a:pt x="3292" y="623"/>
                  </a:lnTo>
                  <a:lnTo>
                    <a:pt x="3301" y="621"/>
                  </a:lnTo>
                  <a:lnTo>
                    <a:pt x="3317" y="616"/>
                  </a:lnTo>
                  <a:lnTo>
                    <a:pt x="3338" y="609"/>
                  </a:lnTo>
                  <a:lnTo>
                    <a:pt x="3364" y="601"/>
                  </a:lnTo>
                  <a:lnTo>
                    <a:pt x="3394" y="593"/>
                  </a:lnTo>
                  <a:lnTo>
                    <a:pt x="3424" y="583"/>
                  </a:lnTo>
                  <a:lnTo>
                    <a:pt x="3459" y="573"/>
                  </a:lnTo>
                  <a:lnTo>
                    <a:pt x="3493" y="562"/>
                  </a:lnTo>
                  <a:lnTo>
                    <a:pt x="3564" y="540"/>
                  </a:lnTo>
                  <a:lnTo>
                    <a:pt x="3599" y="530"/>
                  </a:lnTo>
                  <a:lnTo>
                    <a:pt x="3631" y="520"/>
                  </a:lnTo>
                  <a:lnTo>
                    <a:pt x="3660" y="510"/>
                  </a:lnTo>
                  <a:lnTo>
                    <a:pt x="3687" y="503"/>
                  </a:lnTo>
                  <a:lnTo>
                    <a:pt x="3709" y="495"/>
                  </a:lnTo>
                  <a:lnTo>
                    <a:pt x="3749" y="485"/>
                  </a:lnTo>
                  <a:lnTo>
                    <a:pt x="3787" y="483"/>
                  </a:lnTo>
                  <a:lnTo>
                    <a:pt x="3822" y="485"/>
                  </a:lnTo>
                  <a:lnTo>
                    <a:pt x="3856" y="493"/>
                  </a:lnTo>
                  <a:lnTo>
                    <a:pt x="3886" y="505"/>
                  </a:lnTo>
                  <a:lnTo>
                    <a:pt x="3913" y="521"/>
                  </a:lnTo>
                  <a:lnTo>
                    <a:pt x="3938" y="542"/>
                  </a:lnTo>
                  <a:lnTo>
                    <a:pt x="3960" y="565"/>
                  </a:lnTo>
                  <a:lnTo>
                    <a:pt x="3980" y="591"/>
                  </a:lnTo>
                  <a:lnTo>
                    <a:pt x="3996" y="620"/>
                  </a:lnTo>
                  <a:lnTo>
                    <a:pt x="4008" y="649"/>
                  </a:lnTo>
                  <a:lnTo>
                    <a:pt x="4017" y="680"/>
                  </a:lnTo>
                  <a:lnTo>
                    <a:pt x="4022" y="712"/>
                  </a:lnTo>
                  <a:lnTo>
                    <a:pt x="4024" y="743"/>
                  </a:lnTo>
                  <a:lnTo>
                    <a:pt x="4022" y="775"/>
                  </a:lnTo>
                  <a:lnTo>
                    <a:pt x="4015" y="804"/>
                  </a:lnTo>
                  <a:lnTo>
                    <a:pt x="4004" y="832"/>
                  </a:lnTo>
                  <a:lnTo>
                    <a:pt x="3990" y="858"/>
                  </a:lnTo>
                  <a:lnTo>
                    <a:pt x="3971" y="882"/>
                  </a:lnTo>
                  <a:lnTo>
                    <a:pt x="3948" y="903"/>
                  </a:lnTo>
                  <a:lnTo>
                    <a:pt x="3920" y="920"/>
                  </a:lnTo>
                  <a:lnTo>
                    <a:pt x="3886" y="932"/>
                  </a:lnTo>
                  <a:lnTo>
                    <a:pt x="3204" y="1133"/>
                  </a:lnTo>
                  <a:lnTo>
                    <a:pt x="3171" y="1144"/>
                  </a:lnTo>
                  <a:lnTo>
                    <a:pt x="3139" y="1149"/>
                  </a:lnTo>
                  <a:lnTo>
                    <a:pt x="3108" y="1150"/>
                  </a:lnTo>
                  <a:lnTo>
                    <a:pt x="3080" y="1149"/>
                  </a:lnTo>
                  <a:lnTo>
                    <a:pt x="3054" y="1144"/>
                  </a:lnTo>
                  <a:lnTo>
                    <a:pt x="3031" y="1138"/>
                  </a:lnTo>
                  <a:lnTo>
                    <a:pt x="3011" y="1131"/>
                  </a:lnTo>
                  <a:lnTo>
                    <a:pt x="2994" y="1124"/>
                  </a:lnTo>
                  <a:lnTo>
                    <a:pt x="2982" y="1119"/>
                  </a:lnTo>
                  <a:lnTo>
                    <a:pt x="2974" y="1114"/>
                  </a:lnTo>
                  <a:lnTo>
                    <a:pt x="2972" y="1113"/>
                  </a:lnTo>
                  <a:lnTo>
                    <a:pt x="2944" y="1087"/>
                  </a:lnTo>
                  <a:lnTo>
                    <a:pt x="2885" y="1030"/>
                  </a:lnTo>
                  <a:lnTo>
                    <a:pt x="2823" y="971"/>
                  </a:lnTo>
                  <a:lnTo>
                    <a:pt x="2764" y="912"/>
                  </a:lnTo>
                  <a:lnTo>
                    <a:pt x="2736" y="885"/>
                  </a:lnTo>
                  <a:lnTo>
                    <a:pt x="2710" y="858"/>
                  </a:lnTo>
                  <a:lnTo>
                    <a:pt x="2684" y="834"/>
                  </a:lnTo>
                  <a:lnTo>
                    <a:pt x="2662" y="810"/>
                  </a:lnTo>
                  <a:lnTo>
                    <a:pt x="2624" y="772"/>
                  </a:lnTo>
                  <a:lnTo>
                    <a:pt x="2611" y="757"/>
                  </a:lnTo>
                  <a:lnTo>
                    <a:pt x="2590" y="736"/>
                  </a:lnTo>
                  <a:lnTo>
                    <a:pt x="2587" y="733"/>
                  </a:lnTo>
                  <a:lnTo>
                    <a:pt x="2582" y="729"/>
                  </a:lnTo>
                  <a:lnTo>
                    <a:pt x="2576" y="725"/>
                  </a:lnTo>
                  <a:lnTo>
                    <a:pt x="2570" y="723"/>
                  </a:lnTo>
                  <a:lnTo>
                    <a:pt x="2563" y="722"/>
                  </a:lnTo>
                  <a:lnTo>
                    <a:pt x="2555" y="724"/>
                  </a:lnTo>
                  <a:lnTo>
                    <a:pt x="2548" y="730"/>
                  </a:lnTo>
                  <a:lnTo>
                    <a:pt x="2541" y="740"/>
                  </a:lnTo>
                  <a:lnTo>
                    <a:pt x="2534" y="757"/>
                  </a:lnTo>
                  <a:lnTo>
                    <a:pt x="2528" y="781"/>
                  </a:lnTo>
                  <a:lnTo>
                    <a:pt x="2525" y="794"/>
                  </a:lnTo>
                  <a:lnTo>
                    <a:pt x="2518" y="813"/>
                  </a:lnTo>
                  <a:lnTo>
                    <a:pt x="2509" y="836"/>
                  </a:lnTo>
                  <a:lnTo>
                    <a:pt x="2498" y="862"/>
                  </a:lnTo>
                  <a:lnTo>
                    <a:pt x="2484" y="893"/>
                  </a:lnTo>
                  <a:lnTo>
                    <a:pt x="2468" y="926"/>
                  </a:lnTo>
                  <a:lnTo>
                    <a:pt x="2451" y="962"/>
                  </a:lnTo>
                  <a:lnTo>
                    <a:pt x="2432" y="1000"/>
                  </a:lnTo>
                  <a:lnTo>
                    <a:pt x="2413" y="1040"/>
                  </a:lnTo>
                  <a:lnTo>
                    <a:pt x="2392" y="1082"/>
                  </a:lnTo>
                  <a:lnTo>
                    <a:pt x="2370" y="1124"/>
                  </a:lnTo>
                  <a:lnTo>
                    <a:pt x="2348" y="1167"/>
                  </a:lnTo>
                  <a:lnTo>
                    <a:pt x="2325" y="1211"/>
                  </a:lnTo>
                  <a:lnTo>
                    <a:pt x="2303" y="1254"/>
                  </a:lnTo>
                  <a:lnTo>
                    <a:pt x="2259" y="1338"/>
                  </a:lnTo>
                  <a:lnTo>
                    <a:pt x="2238" y="1379"/>
                  </a:lnTo>
                  <a:lnTo>
                    <a:pt x="2219" y="1417"/>
                  </a:lnTo>
                  <a:lnTo>
                    <a:pt x="2199" y="1452"/>
                  </a:lnTo>
                  <a:lnTo>
                    <a:pt x="2182" y="1486"/>
                  </a:lnTo>
                  <a:lnTo>
                    <a:pt x="2166" y="1516"/>
                  </a:lnTo>
                  <a:lnTo>
                    <a:pt x="2151" y="1542"/>
                  </a:lnTo>
                  <a:lnTo>
                    <a:pt x="2139" y="1566"/>
                  </a:lnTo>
                  <a:lnTo>
                    <a:pt x="2129" y="1584"/>
                  </a:lnTo>
                  <a:lnTo>
                    <a:pt x="2121" y="1598"/>
                  </a:lnTo>
                  <a:lnTo>
                    <a:pt x="2116" y="1606"/>
                  </a:lnTo>
                  <a:lnTo>
                    <a:pt x="2114" y="1611"/>
                  </a:lnTo>
                  <a:lnTo>
                    <a:pt x="2109" y="1620"/>
                  </a:lnTo>
                  <a:lnTo>
                    <a:pt x="2105" y="1632"/>
                  </a:lnTo>
                  <a:lnTo>
                    <a:pt x="2101" y="1649"/>
                  </a:lnTo>
                  <a:lnTo>
                    <a:pt x="2099" y="1669"/>
                  </a:lnTo>
                  <a:lnTo>
                    <a:pt x="2101" y="1691"/>
                  </a:lnTo>
                  <a:lnTo>
                    <a:pt x="2107" y="1715"/>
                  </a:lnTo>
                  <a:lnTo>
                    <a:pt x="2119" y="1740"/>
                  </a:lnTo>
                  <a:lnTo>
                    <a:pt x="2140" y="1765"/>
                  </a:lnTo>
                  <a:lnTo>
                    <a:pt x="2152" y="1777"/>
                  </a:lnTo>
                  <a:lnTo>
                    <a:pt x="2169" y="1791"/>
                  </a:lnTo>
                  <a:lnTo>
                    <a:pt x="2189" y="1808"/>
                  </a:lnTo>
                  <a:lnTo>
                    <a:pt x="2212" y="1825"/>
                  </a:lnTo>
                  <a:lnTo>
                    <a:pt x="2238" y="1845"/>
                  </a:lnTo>
                  <a:lnTo>
                    <a:pt x="2265" y="1866"/>
                  </a:lnTo>
                  <a:lnTo>
                    <a:pt x="2295" y="1888"/>
                  </a:lnTo>
                  <a:lnTo>
                    <a:pt x="2418" y="1977"/>
                  </a:lnTo>
                  <a:lnTo>
                    <a:pt x="2448" y="1997"/>
                  </a:lnTo>
                  <a:lnTo>
                    <a:pt x="2505" y="2037"/>
                  </a:lnTo>
                  <a:lnTo>
                    <a:pt x="2529" y="2054"/>
                  </a:lnTo>
                  <a:lnTo>
                    <a:pt x="2552" y="2070"/>
                  </a:lnTo>
                  <a:lnTo>
                    <a:pt x="2571" y="2084"/>
                  </a:lnTo>
                  <a:lnTo>
                    <a:pt x="2587" y="2095"/>
                  </a:lnTo>
                  <a:lnTo>
                    <a:pt x="2600" y="2102"/>
                  </a:lnTo>
                  <a:lnTo>
                    <a:pt x="2607" y="2108"/>
                  </a:lnTo>
                  <a:lnTo>
                    <a:pt x="2609" y="2109"/>
                  </a:lnTo>
                  <a:lnTo>
                    <a:pt x="2611" y="2109"/>
                  </a:lnTo>
                  <a:lnTo>
                    <a:pt x="2614" y="2112"/>
                  </a:lnTo>
                  <a:lnTo>
                    <a:pt x="2620" y="2116"/>
                  </a:lnTo>
                  <a:lnTo>
                    <a:pt x="2628" y="2120"/>
                  </a:lnTo>
                  <a:lnTo>
                    <a:pt x="2636" y="2127"/>
                  </a:lnTo>
                  <a:lnTo>
                    <a:pt x="2645" y="2136"/>
                  </a:lnTo>
                  <a:lnTo>
                    <a:pt x="2655" y="2148"/>
                  </a:lnTo>
                  <a:lnTo>
                    <a:pt x="2663" y="2161"/>
                  </a:lnTo>
                  <a:lnTo>
                    <a:pt x="2672" y="2178"/>
                  </a:lnTo>
                  <a:lnTo>
                    <a:pt x="2678" y="2198"/>
                  </a:lnTo>
                  <a:lnTo>
                    <a:pt x="2683" y="2220"/>
                  </a:lnTo>
                  <a:lnTo>
                    <a:pt x="2686" y="2247"/>
                  </a:lnTo>
                  <a:lnTo>
                    <a:pt x="2687" y="2277"/>
                  </a:lnTo>
                  <a:lnTo>
                    <a:pt x="2683" y="2311"/>
                  </a:lnTo>
                  <a:lnTo>
                    <a:pt x="2677" y="2349"/>
                  </a:lnTo>
                  <a:lnTo>
                    <a:pt x="2666" y="2391"/>
                  </a:lnTo>
                  <a:lnTo>
                    <a:pt x="2522" y="3487"/>
                  </a:lnTo>
                  <a:lnTo>
                    <a:pt x="2511" y="3523"/>
                  </a:lnTo>
                  <a:lnTo>
                    <a:pt x="2496" y="3555"/>
                  </a:lnTo>
                  <a:lnTo>
                    <a:pt x="2478" y="3583"/>
                  </a:lnTo>
                  <a:lnTo>
                    <a:pt x="2457" y="3609"/>
                  </a:lnTo>
                  <a:lnTo>
                    <a:pt x="2435" y="3630"/>
                  </a:lnTo>
                  <a:lnTo>
                    <a:pt x="2409" y="3647"/>
                  </a:lnTo>
                  <a:lnTo>
                    <a:pt x="2383" y="3661"/>
                  </a:lnTo>
                  <a:lnTo>
                    <a:pt x="2356" y="3671"/>
                  </a:lnTo>
                  <a:lnTo>
                    <a:pt x="2328" y="3677"/>
                  </a:lnTo>
                  <a:lnTo>
                    <a:pt x="2300" y="3678"/>
                  </a:lnTo>
                  <a:lnTo>
                    <a:pt x="2273" y="3677"/>
                  </a:lnTo>
                  <a:lnTo>
                    <a:pt x="2246" y="3671"/>
                  </a:lnTo>
                  <a:lnTo>
                    <a:pt x="2219" y="3660"/>
                  </a:lnTo>
                  <a:lnTo>
                    <a:pt x="2194" y="3646"/>
                  </a:lnTo>
                  <a:lnTo>
                    <a:pt x="2172" y="3628"/>
                  </a:lnTo>
                  <a:lnTo>
                    <a:pt x="2151" y="3605"/>
                  </a:lnTo>
                  <a:lnTo>
                    <a:pt x="2134" y="3578"/>
                  </a:lnTo>
                  <a:lnTo>
                    <a:pt x="2119" y="3548"/>
                  </a:lnTo>
                  <a:lnTo>
                    <a:pt x="2108" y="3513"/>
                  </a:lnTo>
                  <a:lnTo>
                    <a:pt x="2102" y="3474"/>
                  </a:lnTo>
                  <a:lnTo>
                    <a:pt x="2099" y="3429"/>
                  </a:lnTo>
                  <a:lnTo>
                    <a:pt x="2102" y="3382"/>
                  </a:lnTo>
                  <a:lnTo>
                    <a:pt x="2203" y="2391"/>
                  </a:lnTo>
                  <a:lnTo>
                    <a:pt x="2204" y="2389"/>
                  </a:lnTo>
                  <a:lnTo>
                    <a:pt x="2205" y="2384"/>
                  </a:lnTo>
                  <a:lnTo>
                    <a:pt x="2205" y="2364"/>
                  </a:lnTo>
                  <a:lnTo>
                    <a:pt x="2201" y="2351"/>
                  </a:lnTo>
                  <a:lnTo>
                    <a:pt x="2193" y="2337"/>
                  </a:lnTo>
                  <a:lnTo>
                    <a:pt x="2180" y="2321"/>
                  </a:lnTo>
                  <a:lnTo>
                    <a:pt x="2161" y="2306"/>
                  </a:lnTo>
                  <a:lnTo>
                    <a:pt x="2134" y="2291"/>
                  </a:lnTo>
                  <a:lnTo>
                    <a:pt x="2118" y="2283"/>
                  </a:lnTo>
                  <a:lnTo>
                    <a:pt x="2098" y="2271"/>
                  </a:lnTo>
                  <a:lnTo>
                    <a:pt x="2076" y="2256"/>
                  </a:lnTo>
                  <a:lnTo>
                    <a:pt x="2051" y="2239"/>
                  </a:lnTo>
                  <a:lnTo>
                    <a:pt x="2026" y="2219"/>
                  </a:lnTo>
                  <a:lnTo>
                    <a:pt x="1999" y="2198"/>
                  </a:lnTo>
                  <a:lnTo>
                    <a:pt x="1971" y="2176"/>
                  </a:lnTo>
                  <a:lnTo>
                    <a:pt x="1915" y="2129"/>
                  </a:lnTo>
                  <a:lnTo>
                    <a:pt x="1888" y="2107"/>
                  </a:lnTo>
                  <a:lnTo>
                    <a:pt x="1861" y="2084"/>
                  </a:lnTo>
                  <a:lnTo>
                    <a:pt x="1836" y="2063"/>
                  </a:lnTo>
                  <a:lnTo>
                    <a:pt x="1813" y="2043"/>
                  </a:lnTo>
                  <a:lnTo>
                    <a:pt x="1792" y="2025"/>
                  </a:lnTo>
                  <a:lnTo>
                    <a:pt x="1775" y="2009"/>
                  </a:lnTo>
                  <a:lnTo>
                    <a:pt x="1760" y="1996"/>
                  </a:lnTo>
                  <a:lnTo>
                    <a:pt x="1749" y="1986"/>
                  </a:lnTo>
                  <a:lnTo>
                    <a:pt x="1742" y="1980"/>
                  </a:lnTo>
                  <a:lnTo>
                    <a:pt x="1739" y="1978"/>
                  </a:lnTo>
                  <a:lnTo>
                    <a:pt x="1364" y="2561"/>
                  </a:lnTo>
                  <a:lnTo>
                    <a:pt x="1363" y="2563"/>
                  </a:lnTo>
                  <a:lnTo>
                    <a:pt x="1358" y="2570"/>
                  </a:lnTo>
                  <a:lnTo>
                    <a:pt x="1351" y="2579"/>
                  </a:lnTo>
                  <a:lnTo>
                    <a:pt x="1340" y="2589"/>
                  </a:lnTo>
                  <a:lnTo>
                    <a:pt x="1326" y="2602"/>
                  </a:lnTo>
                  <a:lnTo>
                    <a:pt x="1309" y="2611"/>
                  </a:lnTo>
                  <a:lnTo>
                    <a:pt x="1287" y="2621"/>
                  </a:lnTo>
                  <a:lnTo>
                    <a:pt x="1262" y="2627"/>
                  </a:lnTo>
                  <a:lnTo>
                    <a:pt x="1233" y="2630"/>
                  </a:lnTo>
                  <a:lnTo>
                    <a:pt x="1110" y="2630"/>
                  </a:lnTo>
                  <a:lnTo>
                    <a:pt x="1062" y="2629"/>
                  </a:lnTo>
                  <a:lnTo>
                    <a:pt x="832" y="2629"/>
                  </a:lnTo>
                  <a:lnTo>
                    <a:pt x="768" y="2627"/>
                  </a:lnTo>
                  <a:lnTo>
                    <a:pt x="454" y="2627"/>
                  </a:lnTo>
                  <a:lnTo>
                    <a:pt x="397" y="2629"/>
                  </a:lnTo>
                  <a:lnTo>
                    <a:pt x="297" y="2629"/>
                  </a:lnTo>
                  <a:lnTo>
                    <a:pt x="256" y="2630"/>
                  </a:lnTo>
                  <a:lnTo>
                    <a:pt x="214" y="2627"/>
                  </a:lnTo>
                  <a:lnTo>
                    <a:pt x="175" y="2621"/>
                  </a:lnTo>
                  <a:lnTo>
                    <a:pt x="140" y="2610"/>
                  </a:lnTo>
                  <a:lnTo>
                    <a:pt x="109" y="2594"/>
                  </a:lnTo>
                  <a:lnTo>
                    <a:pt x="82" y="2576"/>
                  </a:lnTo>
                  <a:lnTo>
                    <a:pt x="59" y="2554"/>
                  </a:lnTo>
                  <a:lnTo>
                    <a:pt x="39" y="2529"/>
                  </a:lnTo>
                  <a:lnTo>
                    <a:pt x="23" y="2502"/>
                  </a:lnTo>
                  <a:lnTo>
                    <a:pt x="12" y="2474"/>
                  </a:lnTo>
                  <a:lnTo>
                    <a:pt x="4" y="2444"/>
                  </a:lnTo>
                  <a:lnTo>
                    <a:pt x="0" y="2413"/>
                  </a:lnTo>
                  <a:lnTo>
                    <a:pt x="0" y="2383"/>
                  </a:lnTo>
                  <a:lnTo>
                    <a:pt x="5" y="2352"/>
                  </a:lnTo>
                  <a:lnTo>
                    <a:pt x="14" y="2322"/>
                  </a:lnTo>
                  <a:lnTo>
                    <a:pt x="26" y="2294"/>
                  </a:lnTo>
                  <a:lnTo>
                    <a:pt x="42" y="2267"/>
                  </a:lnTo>
                  <a:lnTo>
                    <a:pt x="63" y="2242"/>
                  </a:lnTo>
                  <a:lnTo>
                    <a:pt x="87" y="2220"/>
                  </a:lnTo>
                  <a:lnTo>
                    <a:pt x="116" y="2202"/>
                  </a:lnTo>
                  <a:lnTo>
                    <a:pt x="149" y="2186"/>
                  </a:lnTo>
                  <a:lnTo>
                    <a:pt x="187" y="2175"/>
                  </a:lnTo>
                  <a:lnTo>
                    <a:pt x="229" y="2168"/>
                  </a:lnTo>
                  <a:lnTo>
                    <a:pt x="274" y="2166"/>
                  </a:lnTo>
                  <a:lnTo>
                    <a:pt x="340" y="2167"/>
                  </a:lnTo>
                  <a:lnTo>
                    <a:pt x="407" y="2167"/>
                  </a:lnTo>
                  <a:lnTo>
                    <a:pt x="473" y="2168"/>
                  </a:lnTo>
                  <a:lnTo>
                    <a:pt x="843" y="2168"/>
                  </a:lnTo>
                  <a:lnTo>
                    <a:pt x="895" y="2167"/>
                  </a:lnTo>
                  <a:lnTo>
                    <a:pt x="1015" y="2167"/>
                  </a:lnTo>
                  <a:lnTo>
                    <a:pt x="1043" y="2166"/>
                  </a:lnTo>
                  <a:lnTo>
                    <a:pt x="1082" y="2166"/>
                  </a:lnTo>
                  <a:lnTo>
                    <a:pt x="1909" y="756"/>
                  </a:lnTo>
                  <a:lnTo>
                    <a:pt x="1909" y="750"/>
                  </a:lnTo>
                  <a:lnTo>
                    <a:pt x="1910" y="743"/>
                  </a:lnTo>
                  <a:lnTo>
                    <a:pt x="1909" y="733"/>
                  </a:lnTo>
                  <a:lnTo>
                    <a:pt x="1908" y="724"/>
                  </a:lnTo>
                  <a:lnTo>
                    <a:pt x="1905" y="714"/>
                  </a:lnTo>
                  <a:lnTo>
                    <a:pt x="1901" y="706"/>
                  </a:lnTo>
                  <a:lnTo>
                    <a:pt x="1895" y="698"/>
                  </a:lnTo>
                  <a:lnTo>
                    <a:pt x="1888" y="693"/>
                  </a:lnTo>
                  <a:lnTo>
                    <a:pt x="1877" y="691"/>
                  </a:lnTo>
                  <a:lnTo>
                    <a:pt x="1863" y="693"/>
                  </a:lnTo>
                  <a:lnTo>
                    <a:pt x="1846" y="700"/>
                  </a:lnTo>
                  <a:lnTo>
                    <a:pt x="1833" y="707"/>
                  </a:lnTo>
                  <a:lnTo>
                    <a:pt x="1814" y="717"/>
                  </a:lnTo>
                  <a:lnTo>
                    <a:pt x="1791" y="729"/>
                  </a:lnTo>
                  <a:lnTo>
                    <a:pt x="1764" y="745"/>
                  </a:lnTo>
                  <a:lnTo>
                    <a:pt x="1732" y="762"/>
                  </a:lnTo>
                  <a:lnTo>
                    <a:pt x="1696" y="782"/>
                  </a:lnTo>
                  <a:lnTo>
                    <a:pt x="1657" y="804"/>
                  </a:lnTo>
                  <a:lnTo>
                    <a:pt x="1616" y="826"/>
                  </a:lnTo>
                  <a:lnTo>
                    <a:pt x="1572" y="851"/>
                  </a:lnTo>
                  <a:lnTo>
                    <a:pt x="1528" y="877"/>
                  </a:lnTo>
                  <a:lnTo>
                    <a:pt x="1481" y="903"/>
                  </a:lnTo>
                  <a:lnTo>
                    <a:pt x="1433" y="928"/>
                  </a:lnTo>
                  <a:lnTo>
                    <a:pt x="1385" y="955"/>
                  </a:lnTo>
                  <a:lnTo>
                    <a:pt x="1337" y="981"/>
                  </a:lnTo>
                  <a:lnTo>
                    <a:pt x="1244" y="1033"/>
                  </a:lnTo>
                  <a:lnTo>
                    <a:pt x="1200" y="1058"/>
                  </a:lnTo>
                  <a:lnTo>
                    <a:pt x="1157" y="1081"/>
                  </a:lnTo>
                  <a:lnTo>
                    <a:pt x="1116" y="1103"/>
                  </a:lnTo>
                  <a:lnTo>
                    <a:pt x="1078" y="1123"/>
                  </a:lnTo>
                  <a:lnTo>
                    <a:pt x="1043" y="1141"/>
                  </a:lnTo>
                  <a:lnTo>
                    <a:pt x="1013" y="1157"/>
                  </a:lnTo>
                  <a:lnTo>
                    <a:pt x="982" y="1170"/>
                  </a:lnTo>
                  <a:lnTo>
                    <a:pt x="951" y="1177"/>
                  </a:lnTo>
                  <a:lnTo>
                    <a:pt x="921" y="1177"/>
                  </a:lnTo>
                  <a:lnTo>
                    <a:pt x="891" y="1172"/>
                  </a:lnTo>
                  <a:lnTo>
                    <a:pt x="864" y="1163"/>
                  </a:lnTo>
                  <a:lnTo>
                    <a:pt x="837" y="1149"/>
                  </a:lnTo>
                  <a:lnTo>
                    <a:pt x="814" y="1130"/>
                  </a:lnTo>
                  <a:lnTo>
                    <a:pt x="792" y="1109"/>
                  </a:lnTo>
                  <a:lnTo>
                    <a:pt x="772" y="1085"/>
                  </a:lnTo>
                  <a:lnTo>
                    <a:pt x="755" y="1058"/>
                  </a:lnTo>
                  <a:lnTo>
                    <a:pt x="741" y="1029"/>
                  </a:lnTo>
                  <a:lnTo>
                    <a:pt x="730" y="998"/>
                  </a:lnTo>
                  <a:lnTo>
                    <a:pt x="724" y="968"/>
                  </a:lnTo>
                  <a:lnTo>
                    <a:pt x="720" y="936"/>
                  </a:lnTo>
                  <a:lnTo>
                    <a:pt x="723" y="904"/>
                  </a:lnTo>
                  <a:lnTo>
                    <a:pt x="729" y="872"/>
                  </a:lnTo>
                  <a:lnTo>
                    <a:pt x="740" y="841"/>
                  </a:lnTo>
                  <a:lnTo>
                    <a:pt x="756" y="813"/>
                  </a:lnTo>
                  <a:lnTo>
                    <a:pt x="777" y="784"/>
                  </a:lnTo>
                  <a:lnTo>
                    <a:pt x="805" y="760"/>
                  </a:lnTo>
                  <a:lnTo>
                    <a:pt x="838" y="738"/>
                  </a:lnTo>
                  <a:lnTo>
                    <a:pt x="2233" y="35"/>
                  </a:lnTo>
                  <a:lnTo>
                    <a:pt x="2236" y="34"/>
                  </a:lnTo>
                  <a:lnTo>
                    <a:pt x="2244" y="29"/>
                  </a:lnTo>
                  <a:lnTo>
                    <a:pt x="2258" y="23"/>
                  </a:lnTo>
                  <a:lnTo>
                    <a:pt x="2276" y="16"/>
                  </a:lnTo>
                  <a:lnTo>
                    <a:pt x="2298" y="9"/>
                  </a:lnTo>
                  <a:lnTo>
                    <a:pt x="2323" y="3"/>
                  </a:lnTo>
                  <a:lnTo>
                    <a:pt x="2351" y="0"/>
                  </a:lnTo>
                  <a:close/>
                </a:path>
              </a:pathLst>
            </a:custGeom>
            <a:solidFill>
              <a:srgbClr val="C00000"/>
            </a:solidFill>
            <a:ln w="0">
              <a:noFill/>
              <a:prstDash val="solid"/>
              <a:round/>
              <a:headEnd/>
              <a:tailEnd/>
            </a:ln>
            <a:sp3d extrusionH="196850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/>
            <p:nvPr/>
          </p:nvSpPr>
          <p:spPr>
            <a:xfrm rot="19694758">
              <a:off x="1553342" y="1733929"/>
              <a:ext cx="533428" cy="53342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sp3d extrusionH="1968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416764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9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9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6" grpId="0" animBg="1"/>
      <p:bldP spid="16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cxnSp>
        <p:nvCxnSpPr>
          <p:cNvPr id="7" name="出自【趣你的PPT】(微信:qunideppt)：最优质的PPT资源库"/>
          <p:cNvCxnSpPr/>
          <p:nvPr/>
        </p:nvCxnSpPr>
        <p:spPr>
          <a:xfrm>
            <a:off x="913476" y="5656678"/>
            <a:ext cx="10306418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00" t="12017" r="24186"/>
          <a:stretch/>
        </p:blipFill>
        <p:spPr>
          <a:xfrm>
            <a:off x="6131206" y="1122021"/>
            <a:ext cx="2451975" cy="3107308"/>
          </a:xfrm>
          <a:prstGeom prst="rect">
            <a:avLst/>
          </a:prstGeom>
        </p:spPr>
      </p:pic>
      <p:grpSp>
        <p:nvGrpSpPr>
          <p:cNvPr id="9" name="Group 8出自【趣你的PPT】(微信:qunideppt)：最优质的PPT资源库"/>
          <p:cNvGrpSpPr/>
          <p:nvPr/>
        </p:nvGrpSpPr>
        <p:grpSpPr>
          <a:xfrm>
            <a:off x="6727122" y="1122021"/>
            <a:ext cx="1853760" cy="1855773"/>
            <a:chOff x="6146924" y="2227596"/>
            <a:chExt cx="1853760" cy="1855773"/>
          </a:xfrm>
        </p:grpSpPr>
        <p:sp>
          <p:nvSpPr>
            <p:cNvPr id="1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6146924" y="2227596"/>
              <a:ext cx="1853760" cy="1855773"/>
            </a:xfrm>
            <a:custGeom>
              <a:avLst/>
              <a:gdLst>
                <a:gd name="T0" fmla="*/ 0 w 921"/>
                <a:gd name="T1" fmla="*/ 0 h 922"/>
                <a:gd name="T2" fmla="*/ 921 w 921"/>
                <a:gd name="T3" fmla="*/ 0 h 922"/>
                <a:gd name="T4" fmla="*/ 921 w 921"/>
                <a:gd name="T5" fmla="*/ 922 h 922"/>
                <a:gd name="T6" fmla="*/ 0 w 921"/>
                <a:gd name="T7" fmla="*/ 0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1" h="922">
                  <a:moveTo>
                    <a:pt x="0" y="0"/>
                  </a:moveTo>
                  <a:lnTo>
                    <a:pt x="921" y="0"/>
                  </a:lnTo>
                  <a:lnTo>
                    <a:pt x="921" y="9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1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7185512" y="2565742"/>
              <a:ext cx="167060" cy="326068"/>
            </a:xfrm>
            <a:custGeom>
              <a:avLst/>
              <a:gdLst>
                <a:gd name="T0" fmla="*/ 27 w 31"/>
                <a:gd name="T1" fmla="*/ 6 h 61"/>
                <a:gd name="T2" fmla="*/ 23 w 31"/>
                <a:gd name="T3" fmla="*/ 6 h 61"/>
                <a:gd name="T4" fmla="*/ 8 w 31"/>
                <a:gd name="T5" fmla="*/ 28 h 61"/>
                <a:gd name="T6" fmla="*/ 8 w 31"/>
                <a:gd name="T7" fmla="*/ 28 h 61"/>
                <a:gd name="T8" fmla="*/ 18 w 31"/>
                <a:gd name="T9" fmla="*/ 22 h 61"/>
                <a:gd name="T10" fmla="*/ 31 w 31"/>
                <a:gd name="T11" fmla="*/ 40 h 61"/>
                <a:gd name="T12" fmla="*/ 16 w 31"/>
                <a:gd name="T13" fmla="*/ 61 h 61"/>
                <a:gd name="T14" fmla="*/ 0 w 31"/>
                <a:gd name="T15" fmla="*/ 36 h 61"/>
                <a:gd name="T16" fmla="*/ 8 w 31"/>
                <a:gd name="T17" fmla="*/ 9 h 61"/>
                <a:gd name="T18" fmla="*/ 23 w 31"/>
                <a:gd name="T19" fmla="*/ 0 h 61"/>
                <a:gd name="T20" fmla="*/ 27 w 31"/>
                <a:gd name="T21" fmla="*/ 0 h 61"/>
                <a:gd name="T22" fmla="*/ 27 w 31"/>
                <a:gd name="T23" fmla="*/ 6 h 61"/>
                <a:gd name="T24" fmla="*/ 24 w 31"/>
                <a:gd name="T25" fmla="*/ 41 h 61"/>
                <a:gd name="T26" fmla="*/ 16 w 31"/>
                <a:gd name="T27" fmla="*/ 27 h 61"/>
                <a:gd name="T28" fmla="*/ 8 w 31"/>
                <a:gd name="T29" fmla="*/ 34 h 61"/>
                <a:gd name="T30" fmla="*/ 7 w 31"/>
                <a:gd name="T31" fmla="*/ 37 h 61"/>
                <a:gd name="T32" fmla="*/ 16 w 31"/>
                <a:gd name="T33" fmla="*/ 55 h 61"/>
                <a:gd name="T34" fmla="*/ 24 w 31"/>
                <a:gd name="T35" fmla="*/ 4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61">
                  <a:moveTo>
                    <a:pt x="27" y="6"/>
                  </a:moveTo>
                  <a:cubicBezTo>
                    <a:pt x="26" y="6"/>
                    <a:pt x="24" y="6"/>
                    <a:pt x="23" y="6"/>
                  </a:cubicBezTo>
                  <a:cubicBezTo>
                    <a:pt x="13" y="9"/>
                    <a:pt x="9" y="19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0" y="24"/>
                    <a:pt x="13" y="22"/>
                    <a:pt x="18" y="22"/>
                  </a:cubicBezTo>
                  <a:cubicBezTo>
                    <a:pt x="25" y="22"/>
                    <a:pt x="31" y="29"/>
                    <a:pt x="31" y="40"/>
                  </a:cubicBezTo>
                  <a:cubicBezTo>
                    <a:pt x="31" y="52"/>
                    <a:pt x="26" y="61"/>
                    <a:pt x="16" y="61"/>
                  </a:cubicBezTo>
                  <a:cubicBezTo>
                    <a:pt x="6" y="61"/>
                    <a:pt x="0" y="50"/>
                    <a:pt x="0" y="36"/>
                  </a:cubicBezTo>
                  <a:cubicBezTo>
                    <a:pt x="0" y="25"/>
                    <a:pt x="3" y="16"/>
                    <a:pt x="8" y="9"/>
                  </a:cubicBezTo>
                  <a:cubicBezTo>
                    <a:pt x="12" y="5"/>
                    <a:pt x="17" y="1"/>
                    <a:pt x="23" y="0"/>
                  </a:cubicBezTo>
                  <a:cubicBezTo>
                    <a:pt x="24" y="0"/>
                    <a:pt x="26" y="0"/>
                    <a:pt x="27" y="0"/>
                  </a:cubicBezTo>
                  <a:lnTo>
                    <a:pt x="27" y="6"/>
                  </a:lnTo>
                  <a:close/>
                  <a:moveTo>
                    <a:pt x="24" y="41"/>
                  </a:moveTo>
                  <a:cubicBezTo>
                    <a:pt x="24" y="32"/>
                    <a:pt x="20" y="27"/>
                    <a:pt x="16" y="27"/>
                  </a:cubicBezTo>
                  <a:cubicBezTo>
                    <a:pt x="13" y="27"/>
                    <a:pt x="10" y="29"/>
                    <a:pt x="8" y="34"/>
                  </a:cubicBezTo>
                  <a:cubicBezTo>
                    <a:pt x="8" y="34"/>
                    <a:pt x="7" y="36"/>
                    <a:pt x="7" y="37"/>
                  </a:cubicBezTo>
                  <a:cubicBezTo>
                    <a:pt x="8" y="50"/>
                    <a:pt x="11" y="55"/>
                    <a:pt x="16" y="55"/>
                  </a:cubicBezTo>
                  <a:cubicBezTo>
                    <a:pt x="20" y="55"/>
                    <a:pt x="24" y="51"/>
                    <a:pt x="24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7378738" y="2565742"/>
              <a:ext cx="161021" cy="326068"/>
            </a:xfrm>
            <a:custGeom>
              <a:avLst/>
              <a:gdLst>
                <a:gd name="T0" fmla="*/ 3 w 30"/>
                <a:gd name="T1" fmla="*/ 55 h 61"/>
                <a:gd name="T2" fmla="*/ 8 w 30"/>
                <a:gd name="T3" fmla="*/ 54 h 61"/>
                <a:gd name="T4" fmla="*/ 16 w 30"/>
                <a:gd name="T5" fmla="*/ 50 h 61"/>
                <a:gd name="T6" fmla="*/ 23 w 30"/>
                <a:gd name="T7" fmla="*/ 33 h 61"/>
                <a:gd name="T8" fmla="*/ 23 w 30"/>
                <a:gd name="T9" fmla="*/ 33 h 61"/>
                <a:gd name="T10" fmla="*/ 13 w 30"/>
                <a:gd name="T11" fmla="*/ 38 h 61"/>
                <a:gd name="T12" fmla="*/ 0 w 30"/>
                <a:gd name="T13" fmla="*/ 20 h 61"/>
                <a:gd name="T14" fmla="*/ 15 w 30"/>
                <a:gd name="T15" fmla="*/ 0 h 61"/>
                <a:gd name="T16" fmla="*/ 30 w 30"/>
                <a:gd name="T17" fmla="*/ 24 h 61"/>
                <a:gd name="T18" fmla="*/ 22 w 30"/>
                <a:gd name="T19" fmla="*/ 51 h 61"/>
                <a:gd name="T20" fmla="*/ 8 w 30"/>
                <a:gd name="T21" fmla="*/ 60 h 61"/>
                <a:gd name="T22" fmla="*/ 3 w 30"/>
                <a:gd name="T23" fmla="*/ 61 h 61"/>
                <a:gd name="T24" fmla="*/ 3 w 30"/>
                <a:gd name="T25" fmla="*/ 55 h 61"/>
                <a:gd name="T26" fmla="*/ 7 w 30"/>
                <a:gd name="T27" fmla="*/ 19 h 61"/>
                <a:gd name="T28" fmla="*/ 15 w 30"/>
                <a:gd name="T29" fmla="*/ 32 h 61"/>
                <a:gd name="T30" fmla="*/ 22 w 30"/>
                <a:gd name="T31" fmla="*/ 27 h 61"/>
                <a:gd name="T32" fmla="*/ 23 w 30"/>
                <a:gd name="T33" fmla="*/ 23 h 61"/>
                <a:gd name="T34" fmla="*/ 14 w 30"/>
                <a:gd name="T35" fmla="*/ 5 h 61"/>
                <a:gd name="T36" fmla="*/ 7 w 30"/>
                <a:gd name="T37" fmla="*/ 1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61">
                  <a:moveTo>
                    <a:pt x="3" y="55"/>
                  </a:moveTo>
                  <a:cubicBezTo>
                    <a:pt x="5" y="55"/>
                    <a:pt x="6" y="54"/>
                    <a:pt x="8" y="54"/>
                  </a:cubicBezTo>
                  <a:cubicBezTo>
                    <a:pt x="11" y="53"/>
                    <a:pt x="14" y="52"/>
                    <a:pt x="16" y="50"/>
                  </a:cubicBezTo>
                  <a:cubicBezTo>
                    <a:pt x="19" y="46"/>
                    <a:pt x="22" y="40"/>
                    <a:pt x="23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5"/>
                    <a:pt x="17" y="38"/>
                    <a:pt x="13" y="38"/>
                  </a:cubicBezTo>
                  <a:cubicBezTo>
                    <a:pt x="5" y="38"/>
                    <a:pt x="0" y="31"/>
                    <a:pt x="0" y="20"/>
                  </a:cubicBezTo>
                  <a:cubicBezTo>
                    <a:pt x="0" y="9"/>
                    <a:pt x="6" y="0"/>
                    <a:pt x="15" y="0"/>
                  </a:cubicBezTo>
                  <a:cubicBezTo>
                    <a:pt x="25" y="0"/>
                    <a:pt x="30" y="11"/>
                    <a:pt x="30" y="24"/>
                  </a:cubicBezTo>
                  <a:cubicBezTo>
                    <a:pt x="30" y="35"/>
                    <a:pt x="27" y="44"/>
                    <a:pt x="22" y="51"/>
                  </a:cubicBezTo>
                  <a:cubicBezTo>
                    <a:pt x="18" y="56"/>
                    <a:pt x="13" y="59"/>
                    <a:pt x="8" y="60"/>
                  </a:cubicBezTo>
                  <a:cubicBezTo>
                    <a:pt x="6" y="61"/>
                    <a:pt x="5" y="61"/>
                    <a:pt x="3" y="61"/>
                  </a:cubicBezTo>
                  <a:lnTo>
                    <a:pt x="3" y="55"/>
                  </a:lnTo>
                  <a:close/>
                  <a:moveTo>
                    <a:pt x="7" y="19"/>
                  </a:moveTo>
                  <a:cubicBezTo>
                    <a:pt x="7" y="28"/>
                    <a:pt x="10" y="32"/>
                    <a:pt x="15" y="32"/>
                  </a:cubicBezTo>
                  <a:cubicBezTo>
                    <a:pt x="18" y="32"/>
                    <a:pt x="21" y="30"/>
                    <a:pt x="22" y="27"/>
                  </a:cubicBezTo>
                  <a:cubicBezTo>
                    <a:pt x="23" y="26"/>
                    <a:pt x="23" y="25"/>
                    <a:pt x="23" y="23"/>
                  </a:cubicBezTo>
                  <a:cubicBezTo>
                    <a:pt x="23" y="11"/>
                    <a:pt x="19" y="5"/>
                    <a:pt x="14" y="5"/>
                  </a:cubicBezTo>
                  <a:cubicBezTo>
                    <a:pt x="11" y="5"/>
                    <a:pt x="7" y="9"/>
                    <a:pt x="7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7567938" y="2559704"/>
              <a:ext cx="287827" cy="332107"/>
            </a:xfrm>
            <a:custGeom>
              <a:avLst/>
              <a:gdLst>
                <a:gd name="T0" fmla="*/ 23 w 54"/>
                <a:gd name="T1" fmla="*/ 19 h 62"/>
                <a:gd name="T2" fmla="*/ 11 w 54"/>
                <a:gd name="T3" fmla="*/ 37 h 62"/>
                <a:gd name="T4" fmla="*/ 0 w 54"/>
                <a:gd name="T5" fmla="*/ 19 h 62"/>
                <a:gd name="T6" fmla="*/ 11 w 54"/>
                <a:gd name="T7" fmla="*/ 1 h 62"/>
                <a:gd name="T8" fmla="*/ 23 w 54"/>
                <a:gd name="T9" fmla="*/ 19 h 62"/>
                <a:gd name="T10" fmla="*/ 5 w 54"/>
                <a:gd name="T11" fmla="*/ 19 h 62"/>
                <a:gd name="T12" fmla="*/ 11 w 54"/>
                <a:gd name="T13" fmla="*/ 32 h 62"/>
                <a:gd name="T14" fmla="*/ 17 w 54"/>
                <a:gd name="T15" fmla="*/ 19 h 62"/>
                <a:gd name="T16" fmla="*/ 11 w 54"/>
                <a:gd name="T17" fmla="*/ 5 h 62"/>
                <a:gd name="T18" fmla="*/ 5 w 54"/>
                <a:gd name="T19" fmla="*/ 19 h 62"/>
                <a:gd name="T20" fmla="*/ 9 w 54"/>
                <a:gd name="T21" fmla="*/ 62 h 62"/>
                <a:gd name="T22" fmla="*/ 40 w 54"/>
                <a:gd name="T23" fmla="*/ 0 h 62"/>
                <a:gd name="T24" fmla="*/ 45 w 54"/>
                <a:gd name="T25" fmla="*/ 0 h 62"/>
                <a:gd name="T26" fmla="*/ 13 w 54"/>
                <a:gd name="T27" fmla="*/ 62 h 62"/>
                <a:gd name="T28" fmla="*/ 9 w 54"/>
                <a:gd name="T29" fmla="*/ 62 h 62"/>
                <a:gd name="T30" fmla="*/ 54 w 54"/>
                <a:gd name="T31" fmla="*/ 44 h 62"/>
                <a:gd name="T32" fmla="*/ 42 w 54"/>
                <a:gd name="T33" fmla="*/ 62 h 62"/>
                <a:gd name="T34" fmla="*/ 31 w 54"/>
                <a:gd name="T35" fmla="*/ 44 h 62"/>
                <a:gd name="T36" fmla="*/ 43 w 54"/>
                <a:gd name="T37" fmla="*/ 25 h 62"/>
                <a:gd name="T38" fmla="*/ 54 w 54"/>
                <a:gd name="T39" fmla="*/ 44 h 62"/>
                <a:gd name="T40" fmla="*/ 37 w 54"/>
                <a:gd name="T41" fmla="*/ 44 h 62"/>
                <a:gd name="T42" fmla="*/ 42 w 54"/>
                <a:gd name="T43" fmla="*/ 57 h 62"/>
                <a:gd name="T44" fmla="*/ 48 w 54"/>
                <a:gd name="T45" fmla="*/ 44 h 62"/>
                <a:gd name="T46" fmla="*/ 42 w 54"/>
                <a:gd name="T47" fmla="*/ 30 h 62"/>
                <a:gd name="T48" fmla="*/ 37 w 54"/>
                <a:gd name="T4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2">
                  <a:moveTo>
                    <a:pt x="23" y="19"/>
                  </a:moveTo>
                  <a:cubicBezTo>
                    <a:pt x="23" y="31"/>
                    <a:pt x="17" y="37"/>
                    <a:pt x="11" y="37"/>
                  </a:cubicBezTo>
                  <a:cubicBezTo>
                    <a:pt x="5" y="37"/>
                    <a:pt x="0" y="30"/>
                    <a:pt x="0" y="19"/>
                  </a:cubicBezTo>
                  <a:cubicBezTo>
                    <a:pt x="0" y="7"/>
                    <a:pt x="5" y="1"/>
                    <a:pt x="11" y="1"/>
                  </a:cubicBezTo>
                  <a:cubicBezTo>
                    <a:pt x="18" y="1"/>
                    <a:pt x="23" y="8"/>
                    <a:pt x="23" y="19"/>
                  </a:cubicBezTo>
                  <a:close/>
                  <a:moveTo>
                    <a:pt x="5" y="19"/>
                  </a:moveTo>
                  <a:cubicBezTo>
                    <a:pt x="5" y="25"/>
                    <a:pt x="7" y="32"/>
                    <a:pt x="11" y="32"/>
                  </a:cubicBezTo>
                  <a:cubicBezTo>
                    <a:pt x="16" y="32"/>
                    <a:pt x="17" y="25"/>
                    <a:pt x="17" y="19"/>
                  </a:cubicBezTo>
                  <a:cubicBezTo>
                    <a:pt x="17" y="13"/>
                    <a:pt x="16" y="5"/>
                    <a:pt x="11" y="5"/>
                  </a:cubicBezTo>
                  <a:cubicBezTo>
                    <a:pt x="7" y="5"/>
                    <a:pt x="5" y="13"/>
                    <a:pt x="5" y="19"/>
                  </a:cubicBezTo>
                  <a:close/>
                  <a:moveTo>
                    <a:pt x="9" y="62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62"/>
                    <a:pt x="13" y="62"/>
                    <a:pt x="13" y="62"/>
                  </a:cubicBezTo>
                  <a:lnTo>
                    <a:pt x="9" y="62"/>
                  </a:lnTo>
                  <a:close/>
                  <a:moveTo>
                    <a:pt x="54" y="44"/>
                  </a:moveTo>
                  <a:cubicBezTo>
                    <a:pt x="54" y="56"/>
                    <a:pt x="48" y="62"/>
                    <a:pt x="42" y="62"/>
                  </a:cubicBezTo>
                  <a:cubicBezTo>
                    <a:pt x="36" y="62"/>
                    <a:pt x="31" y="55"/>
                    <a:pt x="31" y="44"/>
                  </a:cubicBezTo>
                  <a:cubicBezTo>
                    <a:pt x="31" y="32"/>
                    <a:pt x="36" y="25"/>
                    <a:pt x="43" y="25"/>
                  </a:cubicBezTo>
                  <a:cubicBezTo>
                    <a:pt x="49" y="25"/>
                    <a:pt x="54" y="33"/>
                    <a:pt x="54" y="44"/>
                  </a:cubicBezTo>
                  <a:close/>
                  <a:moveTo>
                    <a:pt x="37" y="44"/>
                  </a:moveTo>
                  <a:cubicBezTo>
                    <a:pt x="37" y="50"/>
                    <a:pt x="38" y="57"/>
                    <a:pt x="42" y="57"/>
                  </a:cubicBezTo>
                  <a:cubicBezTo>
                    <a:pt x="47" y="57"/>
                    <a:pt x="48" y="50"/>
                    <a:pt x="48" y="44"/>
                  </a:cubicBezTo>
                  <a:cubicBezTo>
                    <a:pt x="48" y="38"/>
                    <a:pt x="47" y="30"/>
                    <a:pt x="42" y="30"/>
                  </a:cubicBezTo>
                  <a:cubicBezTo>
                    <a:pt x="38" y="30"/>
                    <a:pt x="37" y="38"/>
                    <a:pt x="3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4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1" r="22087"/>
          <a:stretch/>
        </p:blipFill>
        <p:spPr>
          <a:xfrm>
            <a:off x="913476" y="1122021"/>
            <a:ext cx="2436278" cy="3107308"/>
          </a:xfrm>
          <a:prstGeom prst="rect">
            <a:avLst/>
          </a:prstGeom>
        </p:spPr>
      </p:pic>
      <p:grpSp>
        <p:nvGrpSpPr>
          <p:cNvPr id="16" name="Group 15出自【趣你的PPT】(微信:qunideppt)：最优质的PPT资源库"/>
          <p:cNvGrpSpPr/>
          <p:nvPr/>
        </p:nvGrpSpPr>
        <p:grpSpPr>
          <a:xfrm>
            <a:off x="1488551" y="1122021"/>
            <a:ext cx="1855772" cy="1855773"/>
            <a:chOff x="1871804" y="2179290"/>
            <a:chExt cx="1855772" cy="1855773"/>
          </a:xfrm>
        </p:grpSpPr>
        <p:sp>
          <p:nvSpPr>
            <p:cNvPr id="1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1871804" y="2179290"/>
              <a:ext cx="1855772" cy="1855773"/>
            </a:xfrm>
            <a:custGeom>
              <a:avLst/>
              <a:gdLst>
                <a:gd name="T0" fmla="*/ 0 w 922"/>
                <a:gd name="T1" fmla="*/ 0 h 922"/>
                <a:gd name="T2" fmla="*/ 922 w 922"/>
                <a:gd name="T3" fmla="*/ 0 h 922"/>
                <a:gd name="T4" fmla="*/ 922 w 922"/>
                <a:gd name="T5" fmla="*/ 922 h 922"/>
                <a:gd name="T6" fmla="*/ 0 w 922"/>
                <a:gd name="T7" fmla="*/ 0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2" h="922">
                  <a:moveTo>
                    <a:pt x="0" y="0"/>
                  </a:moveTo>
                  <a:lnTo>
                    <a:pt x="922" y="0"/>
                  </a:lnTo>
                  <a:lnTo>
                    <a:pt x="922" y="9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7C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8" name="出自【趣你的PPT】(微信:qunideppt)：最优质的PPT资源库"/>
            <p:cNvSpPr>
              <a:spLocks/>
            </p:cNvSpPr>
            <p:nvPr/>
          </p:nvSpPr>
          <p:spPr bwMode="auto">
            <a:xfrm>
              <a:off x="2874162" y="2565742"/>
              <a:ext cx="96613" cy="320031"/>
            </a:xfrm>
            <a:custGeom>
              <a:avLst/>
              <a:gdLst>
                <a:gd name="T0" fmla="*/ 30 w 48"/>
                <a:gd name="T1" fmla="*/ 18 h 159"/>
                <a:gd name="T2" fmla="*/ 30 w 48"/>
                <a:gd name="T3" fmla="*/ 18 h 159"/>
                <a:gd name="T4" fmla="*/ 3 w 48"/>
                <a:gd name="T5" fmla="*/ 34 h 159"/>
                <a:gd name="T6" fmla="*/ 0 w 48"/>
                <a:gd name="T7" fmla="*/ 21 h 159"/>
                <a:gd name="T8" fmla="*/ 32 w 48"/>
                <a:gd name="T9" fmla="*/ 0 h 159"/>
                <a:gd name="T10" fmla="*/ 48 w 48"/>
                <a:gd name="T11" fmla="*/ 0 h 159"/>
                <a:gd name="T12" fmla="*/ 48 w 48"/>
                <a:gd name="T13" fmla="*/ 159 h 159"/>
                <a:gd name="T14" fmla="*/ 30 w 48"/>
                <a:gd name="T15" fmla="*/ 159 h 159"/>
                <a:gd name="T16" fmla="*/ 30 w 48"/>
                <a:gd name="T17" fmla="*/ 18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59">
                  <a:moveTo>
                    <a:pt x="30" y="18"/>
                  </a:moveTo>
                  <a:lnTo>
                    <a:pt x="30" y="18"/>
                  </a:lnTo>
                  <a:lnTo>
                    <a:pt x="3" y="34"/>
                  </a:lnTo>
                  <a:lnTo>
                    <a:pt x="0" y="21"/>
                  </a:lnTo>
                  <a:lnTo>
                    <a:pt x="32" y="0"/>
                  </a:lnTo>
                  <a:lnTo>
                    <a:pt x="48" y="0"/>
                  </a:lnTo>
                  <a:lnTo>
                    <a:pt x="48" y="159"/>
                  </a:lnTo>
                  <a:lnTo>
                    <a:pt x="30" y="159"/>
                  </a:lnTo>
                  <a:lnTo>
                    <a:pt x="30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3041223" y="2565742"/>
              <a:ext cx="171086" cy="320031"/>
            </a:xfrm>
            <a:custGeom>
              <a:avLst/>
              <a:gdLst>
                <a:gd name="T0" fmla="*/ 19 w 32"/>
                <a:gd name="T1" fmla="*/ 60 h 60"/>
                <a:gd name="T2" fmla="*/ 19 w 32"/>
                <a:gd name="T3" fmla="*/ 43 h 60"/>
                <a:gd name="T4" fmla="*/ 0 w 32"/>
                <a:gd name="T5" fmla="*/ 43 h 60"/>
                <a:gd name="T6" fmla="*/ 0 w 32"/>
                <a:gd name="T7" fmla="*/ 39 h 60"/>
                <a:gd name="T8" fmla="*/ 19 w 32"/>
                <a:gd name="T9" fmla="*/ 0 h 60"/>
                <a:gd name="T10" fmla="*/ 26 w 32"/>
                <a:gd name="T11" fmla="*/ 0 h 60"/>
                <a:gd name="T12" fmla="*/ 26 w 32"/>
                <a:gd name="T13" fmla="*/ 38 h 60"/>
                <a:gd name="T14" fmla="*/ 32 w 32"/>
                <a:gd name="T15" fmla="*/ 38 h 60"/>
                <a:gd name="T16" fmla="*/ 32 w 32"/>
                <a:gd name="T17" fmla="*/ 43 h 60"/>
                <a:gd name="T18" fmla="*/ 26 w 32"/>
                <a:gd name="T19" fmla="*/ 43 h 60"/>
                <a:gd name="T20" fmla="*/ 26 w 32"/>
                <a:gd name="T21" fmla="*/ 60 h 60"/>
                <a:gd name="T22" fmla="*/ 19 w 32"/>
                <a:gd name="T23" fmla="*/ 60 h 60"/>
                <a:gd name="T24" fmla="*/ 19 w 32"/>
                <a:gd name="T25" fmla="*/ 38 h 60"/>
                <a:gd name="T26" fmla="*/ 19 w 32"/>
                <a:gd name="T27" fmla="*/ 21 h 60"/>
                <a:gd name="T28" fmla="*/ 20 w 32"/>
                <a:gd name="T29" fmla="*/ 9 h 60"/>
                <a:gd name="T30" fmla="*/ 20 w 32"/>
                <a:gd name="T31" fmla="*/ 9 h 60"/>
                <a:gd name="T32" fmla="*/ 15 w 32"/>
                <a:gd name="T33" fmla="*/ 20 h 60"/>
                <a:gd name="T34" fmla="*/ 6 w 32"/>
                <a:gd name="T35" fmla="*/ 38 h 60"/>
                <a:gd name="T36" fmla="*/ 6 w 32"/>
                <a:gd name="T37" fmla="*/ 38 h 60"/>
                <a:gd name="T38" fmla="*/ 19 w 32"/>
                <a:gd name="T39" fmla="*/ 3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60">
                  <a:moveTo>
                    <a:pt x="19" y="6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60"/>
                    <a:pt x="26" y="60"/>
                    <a:pt x="26" y="60"/>
                  </a:cubicBezTo>
                  <a:lnTo>
                    <a:pt x="19" y="60"/>
                  </a:lnTo>
                  <a:close/>
                  <a:moveTo>
                    <a:pt x="19" y="38"/>
                  </a:moveTo>
                  <a:cubicBezTo>
                    <a:pt x="19" y="21"/>
                    <a:pt x="19" y="21"/>
                    <a:pt x="19" y="21"/>
                  </a:cubicBezTo>
                  <a:cubicBezTo>
                    <a:pt x="19" y="17"/>
                    <a:pt x="20" y="13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8" y="14"/>
                    <a:pt x="16" y="17"/>
                    <a:pt x="15" y="20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lnTo>
                    <a:pt x="1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3234449" y="2559704"/>
              <a:ext cx="289839" cy="332107"/>
            </a:xfrm>
            <a:custGeom>
              <a:avLst/>
              <a:gdLst>
                <a:gd name="T0" fmla="*/ 22 w 54"/>
                <a:gd name="T1" fmla="*/ 19 h 62"/>
                <a:gd name="T2" fmla="*/ 11 w 54"/>
                <a:gd name="T3" fmla="*/ 37 h 62"/>
                <a:gd name="T4" fmla="*/ 0 w 54"/>
                <a:gd name="T5" fmla="*/ 19 h 62"/>
                <a:gd name="T6" fmla="*/ 11 w 54"/>
                <a:gd name="T7" fmla="*/ 1 h 62"/>
                <a:gd name="T8" fmla="*/ 22 w 54"/>
                <a:gd name="T9" fmla="*/ 19 h 62"/>
                <a:gd name="T10" fmla="*/ 5 w 54"/>
                <a:gd name="T11" fmla="*/ 19 h 62"/>
                <a:gd name="T12" fmla="*/ 11 w 54"/>
                <a:gd name="T13" fmla="*/ 32 h 62"/>
                <a:gd name="T14" fmla="*/ 17 w 54"/>
                <a:gd name="T15" fmla="*/ 19 h 62"/>
                <a:gd name="T16" fmla="*/ 11 w 54"/>
                <a:gd name="T17" fmla="*/ 5 h 62"/>
                <a:gd name="T18" fmla="*/ 5 w 54"/>
                <a:gd name="T19" fmla="*/ 19 h 62"/>
                <a:gd name="T20" fmla="*/ 9 w 54"/>
                <a:gd name="T21" fmla="*/ 62 h 62"/>
                <a:gd name="T22" fmla="*/ 40 w 54"/>
                <a:gd name="T23" fmla="*/ 0 h 62"/>
                <a:gd name="T24" fmla="*/ 45 w 54"/>
                <a:gd name="T25" fmla="*/ 0 h 62"/>
                <a:gd name="T26" fmla="*/ 13 w 54"/>
                <a:gd name="T27" fmla="*/ 62 h 62"/>
                <a:gd name="T28" fmla="*/ 9 w 54"/>
                <a:gd name="T29" fmla="*/ 62 h 62"/>
                <a:gd name="T30" fmla="*/ 54 w 54"/>
                <a:gd name="T31" fmla="*/ 44 h 62"/>
                <a:gd name="T32" fmla="*/ 42 w 54"/>
                <a:gd name="T33" fmla="*/ 62 h 62"/>
                <a:gd name="T34" fmla="*/ 31 w 54"/>
                <a:gd name="T35" fmla="*/ 44 h 62"/>
                <a:gd name="T36" fmla="*/ 43 w 54"/>
                <a:gd name="T37" fmla="*/ 25 h 62"/>
                <a:gd name="T38" fmla="*/ 54 w 54"/>
                <a:gd name="T39" fmla="*/ 44 h 62"/>
                <a:gd name="T40" fmla="*/ 37 w 54"/>
                <a:gd name="T41" fmla="*/ 44 h 62"/>
                <a:gd name="T42" fmla="*/ 42 w 54"/>
                <a:gd name="T43" fmla="*/ 57 h 62"/>
                <a:gd name="T44" fmla="*/ 48 w 54"/>
                <a:gd name="T45" fmla="*/ 44 h 62"/>
                <a:gd name="T46" fmla="*/ 42 w 54"/>
                <a:gd name="T47" fmla="*/ 30 h 62"/>
                <a:gd name="T48" fmla="*/ 37 w 54"/>
                <a:gd name="T4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2">
                  <a:moveTo>
                    <a:pt x="22" y="19"/>
                  </a:moveTo>
                  <a:cubicBezTo>
                    <a:pt x="22" y="31"/>
                    <a:pt x="17" y="37"/>
                    <a:pt x="11" y="37"/>
                  </a:cubicBezTo>
                  <a:cubicBezTo>
                    <a:pt x="5" y="37"/>
                    <a:pt x="0" y="30"/>
                    <a:pt x="0" y="19"/>
                  </a:cubicBezTo>
                  <a:cubicBezTo>
                    <a:pt x="0" y="7"/>
                    <a:pt x="5" y="1"/>
                    <a:pt x="11" y="1"/>
                  </a:cubicBezTo>
                  <a:cubicBezTo>
                    <a:pt x="18" y="1"/>
                    <a:pt x="22" y="8"/>
                    <a:pt x="22" y="19"/>
                  </a:cubicBezTo>
                  <a:close/>
                  <a:moveTo>
                    <a:pt x="5" y="19"/>
                  </a:moveTo>
                  <a:cubicBezTo>
                    <a:pt x="5" y="25"/>
                    <a:pt x="7" y="32"/>
                    <a:pt x="11" y="32"/>
                  </a:cubicBezTo>
                  <a:cubicBezTo>
                    <a:pt x="16" y="32"/>
                    <a:pt x="17" y="25"/>
                    <a:pt x="17" y="19"/>
                  </a:cubicBezTo>
                  <a:cubicBezTo>
                    <a:pt x="17" y="13"/>
                    <a:pt x="16" y="5"/>
                    <a:pt x="11" y="5"/>
                  </a:cubicBezTo>
                  <a:cubicBezTo>
                    <a:pt x="7" y="5"/>
                    <a:pt x="5" y="13"/>
                    <a:pt x="5" y="19"/>
                  </a:cubicBezTo>
                  <a:close/>
                  <a:moveTo>
                    <a:pt x="9" y="62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62"/>
                    <a:pt x="13" y="62"/>
                    <a:pt x="13" y="62"/>
                  </a:cubicBezTo>
                  <a:lnTo>
                    <a:pt x="9" y="62"/>
                  </a:lnTo>
                  <a:close/>
                  <a:moveTo>
                    <a:pt x="54" y="44"/>
                  </a:moveTo>
                  <a:cubicBezTo>
                    <a:pt x="54" y="56"/>
                    <a:pt x="48" y="62"/>
                    <a:pt x="42" y="62"/>
                  </a:cubicBezTo>
                  <a:cubicBezTo>
                    <a:pt x="36" y="62"/>
                    <a:pt x="31" y="55"/>
                    <a:pt x="31" y="44"/>
                  </a:cubicBezTo>
                  <a:cubicBezTo>
                    <a:pt x="31" y="32"/>
                    <a:pt x="36" y="25"/>
                    <a:pt x="43" y="25"/>
                  </a:cubicBezTo>
                  <a:cubicBezTo>
                    <a:pt x="49" y="25"/>
                    <a:pt x="54" y="33"/>
                    <a:pt x="54" y="44"/>
                  </a:cubicBezTo>
                  <a:close/>
                  <a:moveTo>
                    <a:pt x="37" y="44"/>
                  </a:moveTo>
                  <a:cubicBezTo>
                    <a:pt x="37" y="50"/>
                    <a:pt x="38" y="57"/>
                    <a:pt x="42" y="57"/>
                  </a:cubicBezTo>
                  <a:cubicBezTo>
                    <a:pt x="47" y="57"/>
                    <a:pt x="48" y="50"/>
                    <a:pt x="48" y="44"/>
                  </a:cubicBezTo>
                  <a:cubicBezTo>
                    <a:pt x="48" y="38"/>
                    <a:pt x="47" y="30"/>
                    <a:pt x="42" y="30"/>
                  </a:cubicBezTo>
                  <a:cubicBezTo>
                    <a:pt x="38" y="30"/>
                    <a:pt x="37" y="38"/>
                    <a:pt x="3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21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3"/>
          <a:stretch/>
        </p:blipFill>
        <p:spPr>
          <a:xfrm>
            <a:off x="3520863" y="1122021"/>
            <a:ext cx="2439258" cy="3107308"/>
          </a:xfrm>
          <a:prstGeom prst="rect">
            <a:avLst/>
          </a:prstGeom>
        </p:spPr>
      </p:pic>
      <p:grpSp>
        <p:nvGrpSpPr>
          <p:cNvPr id="22" name="Group 21出自【趣你的PPT】(微信:qunideppt)：最优质的PPT资源库"/>
          <p:cNvGrpSpPr/>
          <p:nvPr/>
        </p:nvGrpSpPr>
        <p:grpSpPr>
          <a:xfrm>
            <a:off x="4104349" y="1122021"/>
            <a:ext cx="1855772" cy="1855773"/>
            <a:chOff x="4011377" y="2199418"/>
            <a:chExt cx="1855772" cy="1855773"/>
          </a:xfrm>
        </p:grpSpPr>
        <p:sp>
          <p:nvSpPr>
            <p:cNvPr id="23" name="出自【趣你的PPT】(微信:qunideppt)：最优质的PPT资源库"/>
            <p:cNvSpPr>
              <a:spLocks/>
            </p:cNvSpPr>
            <p:nvPr/>
          </p:nvSpPr>
          <p:spPr bwMode="auto">
            <a:xfrm>
              <a:off x="4011377" y="2199418"/>
              <a:ext cx="1855772" cy="1855773"/>
            </a:xfrm>
            <a:custGeom>
              <a:avLst/>
              <a:gdLst>
                <a:gd name="T0" fmla="*/ 0 w 922"/>
                <a:gd name="T1" fmla="*/ 0 h 922"/>
                <a:gd name="T2" fmla="*/ 922 w 922"/>
                <a:gd name="T3" fmla="*/ 0 h 922"/>
                <a:gd name="T4" fmla="*/ 922 w 922"/>
                <a:gd name="T5" fmla="*/ 922 h 922"/>
                <a:gd name="T6" fmla="*/ 0 w 922"/>
                <a:gd name="T7" fmla="*/ 0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2" h="922">
                  <a:moveTo>
                    <a:pt x="0" y="0"/>
                  </a:moveTo>
                  <a:lnTo>
                    <a:pt x="922" y="0"/>
                  </a:lnTo>
                  <a:lnTo>
                    <a:pt x="922" y="9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4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025812" y="2565742"/>
              <a:ext cx="148945" cy="326068"/>
            </a:xfrm>
            <a:custGeom>
              <a:avLst/>
              <a:gdLst>
                <a:gd name="T0" fmla="*/ 28 w 28"/>
                <a:gd name="T1" fmla="*/ 7 h 61"/>
                <a:gd name="T2" fmla="*/ 12 w 28"/>
                <a:gd name="T3" fmla="*/ 7 h 61"/>
                <a:gd name="T4" fmla="*/ 10 w 28"/>
                <a:gd name="T5" fmla="*/ 22 h 61"/>
                <a:gd name="T6" fmla="*/ 12 w 28"/>
                <a:gd name="T7" fmla="*/ 22 h 61"/>
                <a:gd name="T8" fmla="*/ 23 w 28"/>
                <a:gd name="T9" fmla="*/ 27 h 61"/>
                <a:gd name="T10" fmla="*/ 28 w 28"/>
                <a:gd name="T11" fmla="*/ 40 h 61"/>
                <a:gd name="T12" fmla="*/ 10 w 28"/>
                <a:gd name="T13" fmla="*/ 61 h 61"/>
                <a:gd name="T14" fmla="*/ 0 w 28"/>
                <a:gd name="T15" fmla="*/ 58 h 61"/>
                <a:gd name="T16" fmla="*/ 2 w 28"/>
                <a:gd name="T17" fmla="*/ 53 h 61"/>
                <a:gd name="T18" fmla="*/ 10 w 28"/>
                <a:gd name="T19" fmla="*/ 55 h 61"/>
                <a:gd name="T20" fmla="*/ 21 w 28"/>
                <a:gd name="T21" fmla="*/ 41 h 61"/>
                <a:gd name="T22" fmla="*/ 8 w 28"/>
                <a:gd name="T23" fmla="*/ 28 h 61"/>
                <a:gd name="T24" fmla="*/ 3 w 28"/>
                <a:gd name="T25" fmla="*/ 28 h 61"/>
                <a:gd name="T26" fmla="*/ 7 w 28"/>
                <a:gd name="T27" fmla="*/ 0 h 61"/>
                <a:gd name="T28" fmla="*/ 28 w 28"/>
                <a:gd name="T29" fmla="*/ 0 h 61"/>
                <a:gd name="T30" fmla="*/ 28 w 28"/>
                <a:gd name="T31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61">
                  <a:moveTo>
                    <a:pt x="28" y="7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1" y="22"/>
                    <a:pt x="12" y="22"/>
                  </a:cubicBezTo>
                  <a:cubicBezTo>
                    <a:pt x="15" y="22"/>
                    <a:pt x="20" y="24"/>
                    <a:pt x="23" y="27"/>
                  </a:cubicBezTo>
                  <a:cubicBezTo>
                    <a:pt x="26" y="30"/>
                    <a:pt x="28" y="34"/>
                    <a:pt x="28" y="40"/>
                  </a:cubicBezTo>
                  <a:cubicBezTo>
                    <a:pt x="28" y="52"/>
                    <a:pt x="21" y="61"/>
                    <a:pt x="10" y="61"/>
                  </a:cubicBezTo>
                  <a:cubicBezTo>
                    <a:pt x="7" y="61"/>
                    <a:pt x="2" y="60"/>
                    <a:pt x="0" y="5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4" y="53"/>
                    <a:pt x="7" y="55"/>
                    <a:pt x="10" y="55"/>
                  </a:cubicBezTo>
                  <a:cubicBezTo>
                    <a:pt x="16" y="55"/>
                    <a:pt x="21" y="50"/>
                    <a:pt x="21" y="41"/>
                  </a:cubicBezTo>
                  <a:cubicBezTo>
                    <a:pt x="21" y="32"/>
                    <a:pt x="15" y="28"/>
                    <a:pt x="8" y="28"/>
                  </a:cubicBezTo>
                  <a:cubicBezTo>
                    <a:pt x="6" y="28"/>
                    <a:pt x="4" y="28"/>
                    <a:pt x="3" y="28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28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5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235140" y="2565742"/>
              <a:ext cx="96613" cy="320031"/>
            </a:xfrm>
            <a:custGeom>
              <a:avLst/>
              <a:gdLst>
                <a:gd name="T0" fmla="*/ 29 w 48"/>
                <a:gd name="T1" fmla="*/ 18 h 159"/>
                <a:gd name="T2" fmla="*/ 29 w 48"/>
                <a:gd name="T3" fmla="*/ 18 h 159"/>
                <a:gd name="T4" fmla="*/ 2 w 48"/>
                <a:gd name="T5" fmla="*/ 34 h 159"/>
                <a:gd name="T6" fmla="*/ 0 w 48"/>
                <a:gd name="T7" fmla="*/ 21 h 159"/>
                <a:gd name="T8" fmla="*/ 32 w 48"/>
                <a:gd name="T9" fmla="*/ 0 h 159"/>
                <a:gd name="T10" fmla="*/ 48 w 48"/>
                <a:gd name="T11" fmla="*/ 0 h 159"/>
                <a:gd name="T12" fmla="*/ 48 w 48"/>
                <a:gd name="T13" fmla="*/ 159 h 159"/>
                <a:gd name="T14" fmla="*/ 29 w 48"/>
                <a:gd name="T15" fmla="*/ 159 h 159"/>
                <a:gd name="T16" fmla="*/ 29 w 48"/>
                <a:gd name="T17" fmla="*/ 18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59">
                  <a:moveTo>
                    <a:pt x="29" y="18"/>
                  </a:moveTo>
                  <a:lnTo>
                    <a:pt x="29" y="18"/>
                  </a:lnTo>
                  <a:lnTo>
                    <a:pt x="2" y="34"/>
                  </a:lnTo>
                  <a:lnTo>
                    <a:pt x="0" y="21"/>
                  </a:lnTo>
                  <a:lnTo>
                    <a:pt x="32" y="0"/>
                  </a:lnTo>
                  <a:lnTo>
                    <a:pt x="48" y="0"/>
                  </a:lnTo>
                  <a:lnTo>
                    <a:pt x="48" y="159"/>
                  </a:lnTo>
                  <a:lnTo>
                    <a:pt x="29" y="159"/>
                  </a:lnTo>
                  <a:lnTo>
                    <a:pt x="29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6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5406225" y="2559704"/>
              <a:ext cx="289839" cy="332107"/>
            </a:xfrm>
            <a:custGeom>
              <a:avLst/>
              <a:gdLst>
                <a:gd name="T0" fmla="*/ 22 w 54"/>
                <a:gd name="T1" fmla="*/ 19 h 62"/>
                <a:gd name="T2" fmla="*/ 11 w 54"/>
                <a:gd name="T3" fmla="*/ 37 h 62"/>
                <a:gd name="T4" fmla="*/ 0 w 54"/>
                <a:gd name="T5" fmla="*/ 19 h 62"/>
                <a:gd name="T6" fmla="*/ 11 w 54"/>
                <a:gd name="T7" fmla="*/ 1 h 62"/>
                <a:gd name="T8" fmla="*/ 22 w 54"/>
                <a:gd name="T9" fmla="*/ 19 h 62"/>
                <a:gd name="T10" fmla="*/ 5 w 54"/>
                <a:gd name="T11" fmla="*/ 19 h 62"/>
                <a:gd name="T12" fmla="*/ 11 w 54"/>
                <a:gd name="T13" fmla="*/ 32 h 62"/>
                <a:gd name="T14" fmla="*/ 17 w 54"/>
                <a:gd name="T15" fmla="*/ 19 h 62"/>
                <a:gd name="T16" fmla="*/ 11 w 54"/>
                <a:gd name="T17" fmla="*/ 5 h 62"/>
                <a:gd name="T18" fmla="*/ 5 w 54"/>
                <a:gd name="T19" fmla="*/ 19 h 62"/>
                <a:gd name="T20" fmla="*/ 9 w 54"/>
                <a:gd name="T21" fmla="*/ 62 h 62"/>
                <a:gd name="T22" fmla="*/ 40 w 54"/>
                <a:gd name="T23" fmla="*/ 0 h 62"/>
                <a:gd name="T24" fmla="*/ 45 w 54"/>
                <a:gd name="T25" fmla="*/ 0 h 62"/>
                <a:gd name="T26" fmla="*/ 13 w 54"/>
                <a:gd name="T27" fmla="*/ 62 h 62"/>
                <a:gd name="T28" fmla="*/ 9 w 54"/>
                <a:gd name="T29" fmla="*/ 62 h 62"/>
                <a:gd name="T30" fmla="*/ 54 w 54"/>
                <a:gd name="T31" fmla="*/ 44 h 62"/>
                <a:gd name="T32" fmla="*/ 42 w 54"/>
                <a:gd name="T33" fmla="*/ 62 h 62"/>
                <a:gd name="T34" fmla="*/ 31 w 54"/>
                <a:gd name="T35" fmla="*/ 44 h 62"/>
                <a:gd name="T36" fmla="*/ 42 w 54"/>
                <a:gd name="T37" fmla="*/ 25 h 62"/>
                <a:gd name="T38" fmla="*/ 54 w 54"/>
                <a:gd name="T39" fmla="*/ 44 h 62"/>
                <a:gd name="T40" fmla="*/ 36 w 54"/>
                <a:gd name="T41" fmla="*/ 44 h 62"/>
                <a:gd name="T42" fmla="*/ 42 w 54"/>
                <a:gd name="T43" fmla="*/ 57 h 62"/>
                <a:gd name="T44" fmla="*/ 48 w 54"/>
                <a:gd name="T45" fmla="*/ 44 h 62"/>
                <a:gd name="T46" fmla="*/ 42 w 54"/>
                <a:gd name="T47" fmla="*/ 30 h 62"/>
                <a:gd name="T48" fmla="*/ 36 w 54"/>
                <a:gd name="T4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2">
                  <a:moveTo>
                    <a:pt x="22" y="19"/>
                  </a:moveTo>
                  <a:cubicBezTo>
                    <a:pt x="22" y="31"/>
                    <a:pt x="17" y="37"/>
                    <a:pt x="11" y="37"/>
                  </a:cubicBezTo>
                  <a:cubicBezTo>
                    <a:pt x="5" y="37"/>
                    <a:pt x="0" y="30"/>
                    <a:pt x="0" y="19"/>
                  </a:cubicBezTo>
                  <a:cubicBezTo>
                    <a:pt x="0" y="7"/>
                    <a:pt x="5" y="1"/>
                    <a:pt x="11" y="1"/>
                  </a:cubicBezTo>
                  <a:cubicBezTo>
                    <a:pt x="18" y="1"/>
                    <a:pt x="22" y="8"/>
                    <a:pt x="22" y="19"/>
                  </a:cubicBezTo>
                  <a:close/>
                  <a:moveTo>
                    <a:pt x="5" y="19"/>
                  </a:moveTo>
                  <a:cubicBezTo>
                    <a:pt x="5" y="25"/>
                    <a:pt x="6" y="32"/>
                    <a:pt x="11" y="32"/>
                  </a:cubicBezTo>
                  <a:cubicBezTo>
                    <a:pt x="16" y="32"/>
                    <a:pt x="17" y="25"/>
                    <a:pt x="17" y="19"/>
                  </a:cubicBezTo>
                  <a:cubicBezTo>
                    <a:pt x="17" y="13"/>
                    <a:pt x="16" y="5"/>
                    <a:pt x="11" y="5"/>
                  </a:cubicBezTo>
                  <a:cubicBezTo>
                    <a:pt x="6" y="5"/>
                    <a:pt x="5" y="13"/>
                    <a:pt x="5" y="19"/>
                  </a:cubicBezTo>
                  <a:close/>
                  <a:moveTo>
                    <a:pt x="9" y="62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62"/>
                    <a:pt x="13" y="62"/>
                    <a:pt x="13" y="62"/>
                  </a:cubicBezTo>
                  <a:lnTo>
                    <a:pt x="9" y="62"/>
                  </a:lnTo>
                  <a:close/>
                  <a:moveTo>
                    <a:pt x="54" y="44"/>
                  </a:moveTo>
                  <a:cubicBezTo>
                    <a:pt x="54" y="56"/>
                    <a:pt x="48" y="62"/>
                    <a:pt x="42" y="62"/>
                  </a:cubicBezTo>
                  <a:cubicBezTo>
                    <a:pt x="36" y="62"/>
                    <a:pt x="31" y="55"/>
                    <a:pt x="31" y="44"/>
                  </a:cubicBezTo>
                  <a:cubicBezTo>
                    <a:pt x="31" y="32"/>
                    <a:pt x="36" y="25"/>
                    <a:pt x="42" y="25"/>
                  </a:cubicBezTo>
                  <a:cubicBezTo>
                    <a:pt x="49" y="25"/>
                    <a:pt x="54" y="33"/>
                    <a:pt x="54" y="44"/>
                  </a:cubicBezTo>
                  <a:close/>
                  <a:moveTo>
                    <a:pt x="36" y="44"/>
                  </a:moveTo>
                  <a:cubicBezTo>
                    <a:pt x="36" y="50"/>
                    <a:pt x="38" y="57"/>
                    <a:pt x="42" y="57"/>
                  </a:cubicBezTo>
                  <a:cubicBezTo>
                    <a:pt x="47" y="57"/>
                    <a:pt x="48" y="50"/>
                    <a:pt x="48" y="44"/>
                  </a:cubicBezTo>
                  <a:cubicBezTo>
                    <a:pt x="48" y="38"/>
                    <a:pt x="47" y="30"/>
                    <a:pt x="42" y="30"/>
                  </a:cubicBezTo>
                  <a:cubicBezTo>
                    <a:pt x="38" y="30"/>
                    <a:pt x="36" y="38"/>
                    <a:pt x="36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27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67" t="9090" r="39713"/>
          <a:stretch/>
        </p:blipFill>
        <p:spPr>
          <a:xfrm>
            <a:off x="8754266" y="1122021"/>
            <a:ext cx="2465628" cy="3107308"/>
          </a:xfrm>
          <a:prstGeom prst="rect">
            <a:avLst/>
          </a:prstGeom>
        </p:spPr>
      </p:pic>
      <p:grpSp>
        <p:nvGrpSpPr>
          <p:cNvPr id="28" name="Group 27出自【趣你的PPT】(微信:qunideppt)：最优质的PPT资源库"/>
          <p:cNvGrpSpPr/>
          <p:nvPr/>
        </p:nvGrpSpPr>
        <p:grpSpPr>
          <a:xfrm>
            <a:off x="9383028" y="1122021"/>
            <a:ext cx="1853760" cy="1849735"/>
            <a:chOff x="8286497" y="2253763"/>
            <a:chExt cx="1853760" cy="1849735"/>
          </a:xfrm>
        </p:grpSpPr>
        <p:sp>
          <p:nvSpPr>
            <p:cNvPr id="29" name="出自【趣你的PPT】(微信:qunideppt)：最优质的PPT资源库"/>
            <p:cNvSpPr>
              <a:spLocks/>
            </p:cNvSpPr>
            <p:nvPr/>
          </p:nvSpPr>
          <p:spPr bwMode="auto">
            <a:xfrm>
              <a:off x="8286497" y="2253763"/>
              <a:ext cx="1853760" cy="1849735"/>
            </a:xfrm>
            <a:custGeom>
              <a:avLst/>
              <a:gdLst>
                <a:gd name="T0" fmla="*/ 0 w 921"/>
                <a:gd name="T1" fmla="*/ 0 h 919"/>
                <a:gd name="T2" fmla="*/ 921 w 921"/>
                <a:gd name="T3" fmla="*/ 0 h 919"/>
                <a:gd name="T4" fmla="*/ 921 w 921"/>
                <a:gd name="T5" fmla="*/ 919 h 919"/>
                <a:gd name="T6" fmla="*/ 0 w 921"/>
                <a:gd name="T7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1" h="919">
                  <a:moveTo>
                    <a:pt x="0" y="0"/>
                  </a:moveTo>
                  <a:lnTo>
                    <a:pt x="921" y="0"/>
                  </a:lnTo>
                  <a:lnTo>
                    <a:pt x="921" y="9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6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30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353264" y="2565742"/>
              <a:ext cx="154984" cy="320031"/>
            </a:xfrm>
            <a:custGeom>
              <a:avLst/>
              <a:gdLst>
                <a:gd name="T0" fmla="*/ 77 w 77"/>
                <a:gd name="T1" fmla="*/ 0 h 159"/>
                <a:gd name="T2" fmla="*/ 77 w 77"/>
                <a:gd name="T3" fmla="*/ 13 h 159"/>
                <a:gd name="T4" fmla="*/ 24 w 77"/>
                <a:gd name="T5" fmla="*/ 159 h 159"/>
                <a:gd name="T6" fmla="*/ 8 w 77"/>
                <a:gd name="T7" fmla="*/ 159 h 159"/>
                <a:gd name="T8" fmla="*/ 56 w 77"/>
                <a:gd name="T9" fmla="*/ 18 h 159"/>
                <a:gd name="T10" fmla="*/ 56 w 77"/>
                <a:gd name="T11" fmla="*/ 18 h 159"/>
                <a:gd name="T12" fmla="*/ 0 w 77"/>
                <a:gd name="T13" fmla="*/ 18 h 159"/>
                <a:gd name="T14" fmla="*/ 0 w 77"/>
                <a:gd name="T15" fmla="*/ 0 h 159"/>
                <a:gd name="T16" fmla="*/ 77 w 77"/>
                <a:gd name="T1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59">
                  <a:moveTo>
                    <a:pt x="77" y="0"/>
                  </a:moveTo>
                  <a:lnTo>
                    <a:pt x="77" y="13"/>
                  </a:lnTo>
                  <a:lnTo>
                    <a:pt x="24" y="159"/>
                  </a:lnTo>
                  <a:lnTo>
                    <a:pt x="8" y="159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1" name="出自【趣你的PPT】(微信:qunideppt)：最优质的PPT资源库"/>
            <p:cNvSpPr>
              <a:spLocks/>
            </p:cNvSpPr>
            <p:nvPr/>
          </p:nvSpPr>
          <p:spPr bwMode="auto">
            <a:xfrm>
              <a:off x="9540451" y="2565742"/>
              <a:ext cx="154984" cy="320031"/>
            </a:xfrm>
            <a:custGeom>
              <a:avLst/>
              <a:gdLst>
                <a:gd name="T0" fmla="*/ 77 w 77"/>
                <a:gd name="T1" fmla="*/ 0 h 159"/>
                <a:gd name="T2" fmla="*/ 77 w 77"/>
                <a:gd name="T3" fmla="*/ 13 h 159"/>
                <a:gd name="T4" fmla="*/ 27 w 77"/>
                <a:gd name="T5" fmla="*/ 159 h 159"/>
                <a:gd name="T6" fmla="*/ 8 w 77"/>
                <a:gd name="T7" fmla="*/ 159 h 159"/>
                <a:gd name="T8" fmla="*/ 59 w 77"/>
                <a:gd name="T9" fmla="*/ 18 h 159"/>
                <a:gd name="T10" fmla="*/ 59 w 77"/>
                <a:gd name="T11" fmla="*/ 18 h 159"/>
                <a:gd name="T12" fmla="*/ 0 w 77"/>
                <a:gd name="T13" fmla="*/ 18 h 159"/>
                <a:gd name="T14" fmla="*/ 0 w 77"/>
                <a:gd name="T15" fmla="*/ 0 h 159"/>
                <a:gd name="T16" fmla="*/ 77 w 77"/>
                <a:gd name="T1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59">
                  <a:moveTo>
                    <a:pt x="77" y="0"/>
                  </a:moveTo>
                  <a:lnTo>
                    <a:pt x="77" y="13"/>
                  </a:lnTo>
                  <a:lnTo>
                    <a:pt x="27" y="159"/>
                  </a:lnTo>
                  <a:lnTo>
                    <a:pt x="8" y="159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9727639" y="2559704"/>
              <a:ext cx="283801" cy="332107"/>
            </a:xfrm>
            <a:custGeom>
              <a:avLst/>
              <a:gdLst>
                <a:gd name="T0" fmla="*/ 22 w 53"/>
                <a:gd name="T1" fmla="*/ 19 h 62"/>
                <a:gd name="T2" fmla="*/ 11 w 53"/>
                <a:gd name="T3" fmla="*/ 37 h 62"/>
                <a:gd name="T4" fmla="*/ 0 w 53"/>
                <a:gd name="T5" fmla="*/ 19 h 62"/>
                <a:gd name="T6" fmla="*/ 11 w 53"/>
                <a:gd name="T7" fmla="*/ 1 h 62"/>
                <a:gd name="T8" fmla="*/ 22 w 53"/>
                <a:gd name="T9" fmla="*/ 19 h 62"/>
                <a:gd name="T10" fmla="*/ 5 w 53"/>
                <a:gd name="T11" fmla="*/ 19 h 62"/>
                <a:gd name="T12" fmla="*/ 11 w 53"/>
                <a:gd name="T13" fmla="*/ 32 h 62"/>
                <a:gd name="T14" fmla="*/ 17 w 53"/>
                <a:gd name="T15" fmla="*/ 19 h 62"/>
                <a:gd name="T16" fmla="*/ 11 w 53"/>
                <a:gd name="T17" fmla="*/ 5 h 62"/>
                <a:gd name="T18" fmla="*/ 5 w 53"/>
                <a:gd name="T19" fmla="*/ 19 h 62"/>
                <a:gd name="T20" fmla="*/ 9 w 53"/>
                <a:gd name="T21" fmla="*/ 62 h 62"/>
                <a:gd name="T22" fmla="*/ 40 w 53"/>
                <a:gd name="T23" fmla="*/ 0 h 62"/>
                <a:gd name="T24" fmla="*/ 45 w 53"/>
                <a:gd name="T25" fmla="*/ 0 h 62"/>
                <a:gd name="T26" fmla="*/ 13 w 53"/>
                <a:gd name="T27" fmla="*/ 62 h 62"/>
                <a:gd name="T28" fmla="*/ 9 w 53"/>
                <a:gd name="T29" fmla="*/ 62 h 62"/>
                <a:gd name="T30" fmla="*/ 53 w 53"/>
                <a:gd name="T31" fmla="*/ 44 h 62"/>
                <a:gd name="T32" fmla="*/ 42 w 53"/>
                <a:gd name="T33" fmla="*/ 62 h 62"/>
                <a:gd name="T34" fmla="*/ 31 w 53"/>
                <a:gd name="T35" fmla="*/ 44 h 62"/>
                <a:gd name="T36" fmla="*/ 42 w 53"/>
                <a:gd name="T37" fmla="*/ 25 h 62"/>
                <a:gd name="T38" fmla="*/ 53 w 53"/>
                <a:gd name="T39" fmla="*/ 44 h 62"/>
                <a:gd name="T40" fmla="*/ 36 w 53"/>
                <a:gd name="T41" fmla="*/ 44 h 62"/>
                <a:gd name="T42" fmla="*/ 42 w 53"/>
                <a:gd name="T43" fmla="*/ 57 h 62"/>
                <a:gd name="T44" fmla="*/ 48 w 53"/>
                <a:gd name="T45" fmla="*/ 44 h 62"/>
                <a:gd name="T46" fmla="*/ 42 w 53"/>
                <a:gd name="T47" fmla="*/ 30 h 62"/>
                <a:gd name="T48" fmla="*/ 36 w 53"/>
                <a:gd name="T49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62">
                  <a:moveTo>
                    <a:pt x="22" y="19"/>
                  </a:moveTo>
                  <a:cubicBezTo>
                    <a:pt x="22" y="31"/>
                    <a:pt x="17" y="37"/>
                    <a:pt x="11" y="37"/>
                  </a:cubicBezTo>
                  <a:cubicBezTo>
                    <a:pt x="5" y="37"/>
                    <a:pt x="0" y="30"/>
                    <a:pt x="0" y="19"/>
                  </a:cubicBezTo>
                  <a:cubicBezTo>
                    <a:pt x="0" y="7"/>
                    <a:pt x="5" y="1"/>
                    <a:pt x="11" y="1"/>
                  </a:cubicBezTo>
                  <a:cubicBezTo>
                    <a:pt x="18" y="1"/>
                    <a:pt x="22" y="8"/>
                    <a:pt x="22" y="19"/>
                  </a:cubicBezTo>
                  <a:close/>
                  <a:moveTo>
                    <a:pt x="5" y="19"/>
                  </a:moveTo>
                  <a:cubicBezTo>
                    <a:pt x="5" y="25"/>
                    <a:pt x="6" y="32"/>
                    <a:pt x="11" y="32"/>
                  </a:cubicBezTo>
                  <a:cubicBezTo>
                    <a:pt x="16" y="32"/>
                    <a:pt x="17" y="25"/>
                    <a:pt x="17" y="19"/>
                  </a:cubicBezTo>
                  <a:cubicBezTo>
                    <a:pt x="17" y="13"/>
                    <a:pt x="16" y="5"/>
                    <a:pt x="11" y="5"/>
                  </a:cubicBezTo>
                  <a:cubicBezTo>
                    <a:pt x="6" y="5"/>
                    <a:pt x="5" y="13"/>
                    <a:pt x="5" y="19"/>
                  </a:cubicBezTo>
                  <a:close/>
                  <a:moveTo>
                    <a:pt x="9" y="62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62"/>
                    <a:pt x="13" y="62"/>
                    <a:pt x="13" y="62"/>
                  </a:cubicBezTo>
                  <a:lnTo>
                    <a:pt x="9" y="62"/>
                  </a:lnTo>
                  <a:close/>
                  <a:moveTo>
                    <a:pt x="53" y="44"/>
                  </a:moveTo>
                  <a:cubicBezTo>
                    <a:pt x="53" y="56"/>
                    <a:pt x="48" y="62"/>
                    <a:pt x="42" y="62"/>
                  </a:cubicBezTo>
                  <a:cubicBezTo>
                    <a:pt x="36" y="62"/>
                    <a:pt x="31" y="55"/>
                    <a:pt x="31" y="44"/>
                  </a:cubicBezTo>
                  <a:cubicBezTo>
                    <a:pt x="31" y="32"/>
                    <a:pt x="36" y="25"/>
                    <a:pt x="42" y="25"/>
                  </a:cubicBezTo>
                  <a:cubicBezTo>
                    <a:pt x="49" y="25"/>
                    <a:pt x="53" y="33"/>
                    <a:pt x="53" y="44"/>
                  </a:cubicBezTo>
                  <a:close/>
                  <a:moveTo>
                    <a:pt x="36" y="44"/>
                  </a:moveTo>
                  <a:cubicBezTo>
                    <a:pt x="36" y="50"/>
                    <a:pt x="38" y="57"/>
                    <a:pt x="42" y="57"/>
                  </a:cubicBezTo>
                  <a:cubicBezTo>
                    <a:pt x="47" y="57"/>
                    <a:pt x="48" y="50"/>
                    <a:pt x="48" y="44"/>
                  </a:cubicBezTo>
                  <a:cubicBezTo>
                    <a:pt x="48" y="38"/>
                    <a:pt x="47" y="30"/>
                    <a:pt x="42" y="30"/>
                  </a:cubicBezTo>
                  <a:cubicBezTo>
                    <a:pt x="38" y="30"/>
                    <a:pt x="36" y="38"/>
                    <a:pt x="36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cxnSp>
        <p:nvCxnSpPr>
          <p:cNvPr id="33" name="出自【趣你的PPT】(微信:qunideppt)：最优质的PPT资源库"/>
          <p:cNvCxnSpPr/>
          <p:nvPr/>
        </p:nvCxnSpPr>
        <p:spPr>
          <a:xfrm>
            <a:off x="913476" y="4718814"/>
            <a:ext cx="10306418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出自【趣你的PPT】(微信:qunideppt)：最优质的PPT资源库"/>
          <p:cNvSpPr>
            <a:spLocks noChangeArrowheads="1"/>
          </p:cNvSpPr>
          <p:nvPr/>
        </p:nvSpPr>
        <p:spPr bwMode="auto">
          <a:xfrm>
            <a:off x="819511" y="4965973"/>
            <a:ext cx="1048565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该原创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72101211"/>
      </p:ext>
    </p:extLst>
  </p:cSld>
  <p:clrMapOvr>
    <a:masterClrMapping/>
  </p:clrMapOvr>
  <p:transition spd="slow" advClick="0" advTm="3000">
    <p:wip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2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14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6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3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25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7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4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36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8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0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1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5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47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8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49" presetID="2" presetClass="entr" presetSubtype="4" fill="hold" nodeType="after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51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52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1" fill="hold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5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5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5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0" dur="25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2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14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6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3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25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7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4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36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8" presetID="1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0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1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 fmla="#ppt_x+(cos(-2*pi*(1-$))*-#ppt_x-sin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 fmla="#ppt_y+(sin(-2*pi*(1-$))*-#ppt_x+cos(-2*pi*(1-$))*(1-#ppt_y))*(1-$)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1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5" presetID="18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downLeft)">
                                          <p:cBhvr>
                                            <p:cTn id="47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8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49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5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0" dur="25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/>
        </p:bldLst>
      </p:timing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5231408" y="4210525"/>
            <a:ext cx="1664683" cy="1291209"/>
            <a:chOff x="5218529" y="4829848"/>
            <a:chExt cx="1664683" cy="1291209"/>
          </a:xfrm>
        </p:grpSpPr>
        <p:sp>
          <p:nvSpPr>
            <p:cNvPr id="8" name="出自【趣你的PPT】(微信:qunideppt)：最优质的PPT资源库"/>
            <p:cNvSpPr txBox="1"/>
            <p:nvPr/>
          </p:nvSpPr>
          <p:spPr>
            <a:xfrm>
              <a:off x="5218530" y="4829848"/>
              <a:ext cx="1664682" cy="3109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rgbClr val="1AADA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  <p:sp>
          <p:nvSpPr>
            <p:cNvPr id="9" name="出自【趣你的PPT】(微信:qunideppt)：最优质的PPT资源库"/>
            <p:cNvSpPr txBox="1"/>
            <p:nvPr/>
          </p:nvSpPr>
          <p:spPr>
            <a:xfrm>
              <a:off x="5218529" y="5105394"/>
              <a:ext cx="14939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zh-CN" alt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Group 9出自【趣你的PPT】(微信:qunideppt)：最优质的PPT资源库"/>
          <p:cNvGrpSpPr/>
          <p:nvPr/>
        </p:nvGrpSpPr>
        <p:grpSpPr>
          <a:xfrm>
            <a:off x="3516591" y="4205682"/>
            <a:ext cx="1885583" cy="1291209"/>
            <a:chOff x="3503712" y="4825005"/>
            <a:chExt cx="1885583" cy="1291209"/>
          </a:xfrm>
        </p:grpSpPr>
        <p:sp>
          <p:nvSpPr>
            <p:cNvPr id="11" name="出自【趣你的PPT】(微信:qunideppt)：最优质的PPT资源库"/>
            <p:cNvSpPr txBox="1"/>
            <p:nvPr/>
          </p:nvSpPr>
          <p:spPr>
            <a:xfrm>
              <a:off x="3503712" y="4825005"/>
              <a:ext cx="18855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rgbClr val="E3A72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  <p:sp>
          <p:nvSpPr>
            <p:cNvPr id="12" name="出自【趣你的PPT】(微信:qunideppt)：最优质的PPT资源库"/>
            <p:cNvSpPr txBox="1"/>
            <p:nvPr/>
          </p:nvSpPr>
          <p:spPr>
            <a:xfrm>
              <a:off x="3503712" y="5100551"/>
              <a:ext cx="14939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zh-CN" alt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" name="Group 12出自【趣你的PPT】(微信:qunideppt)：最优质的PPT资源库"/>
          <p:cNvGrpSpPr/>
          <p:nvPr/>
        </p:nvGrpSpPr>
        <p:grpSpPr>
          <a:xfrm>
            <a:off x="1801774" y="4197640"/>
            <a:ext cx="1714817" cy="1291208"/>
            <a:chOff x="1788895" y="4816963"/>
            <a:chExt cx="1714817" cy="1291208"/>
          </a:xfrm>
        </p:grpSpPr>
        <p:sp>
          <p:nvSpPr>
            <p:cNvPr id="14" name="出自【趣你的PPT】(微信:qunideppt)：最优质的PPT资源库"/>
            <p:cNvSpPr txBox="1"/>
            <p:nvPr/>
          </p:nvSpPr>
          <p:spPr>
            <a:xfrm>
              <a:off x="1788895" y="4816963"/>
              <a:ext cx="17148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rgbClr val="DE401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  <p:sp>
          <p:nvSpPr>
            <p:cNvPr id="16" name="出自【趣你的PPT】(微信:qunideppt)：最优质的PPT资源库"/>
            <p:cNvSpPr txBox="1"/>
            <p:nvPr/>
          </p:nvSpPr>
          <p:spPr>
            <a:xfrm>
              <a:off x="1788895" y="5092508"/>
              <a:ext cx="14939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zh-CN" alt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Group 16出自【趣你的PPT】(微信:qunideppt)：最优质的PPT资源库"/>
          <p:cNvGrpSpPr/>
          <p:nvPr/>
        </p:nvGrpSpPr>
        <p:grpSpPr>
          <a:xfrm>
            <a:off x="7116991" y="4200720"/>
            <a:ext cx="1714817" cy="1291209"/>
            <a:chOff x="7104112" y="4820043"/>
            <a:chExt cx="1714817" cy="1291209"/>
          </a:xfrm>
        </p:grpSpPr>
        <p:sp>
          <p:nvSpPr>
            <p:cNvPr id="18" name="出自【趣你的PPT】(微信:qunideppt)：最优质的PPT资源库"/>
            <p:cNvSpPr txBox="1"/>
            <p:nvPr/>
          </p:nvSpPr>
          <p:spPr>
            <a:xfrm>
              <a:off x="7104113" y="4820043"/>
              <a:ext cx="17148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rgbClr val="A4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  <p:sp>
          <p:nvSpPr>
            <p:cNvPr id="19" name="出自【趣你的PPT】(微信:qunideppt)：最优质的PPT资源库"/>
            <p:cNvSpPr txBox="1"/>
            <p:nvPr/>
          </p:nvSpPr>
          <p:spPr>
            <a:xfrm>
              <a:off x="7104112" y="5095589"/>
              <a:ext cx="14939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zh-CN" alt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" name="Group 19出自【趣你的PPT】(微信:qunideppt)：最优质的PPT资源库"/>
          <p:cNvGrpSpPr/>
          <p:nvPr/>
        </p:nvGrpSpPr>
        <p:grpSpPr>
          <a:xfrm>
            <a:off x="8943562" y="4205682"/>
            <a:ext cx="1665189" cy="1291209"/>
            <a:chOff x="8930683" y="4825005"/>
            <a:chExt cx="1665189" cy="1291209"/>
          </a:xfrm>
        </p:grpSpPr>
        <p:sp>
          <p:nvSpPr>
            <p:cNvPr id="21" name="出自【趣你的PPT】(微信:qunideppt)：最优质的PPT资源库"/>
            <p:cNvSpPr txBox="1"/>
            <p:nvPr/>
          </p:nvSpPr>
          <p:spPr>
            <a:xfrm>
              <a:off x="8930684" y="4825005"/>
              <a:ext cx="1665188" cy="315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</a:p>
          </p:txBody>
        </p:sp>
        <p:sp>
          <p:nvSpPr>
            <p:cNvPr id="22" name="出自【趣你的PPT】(微信:qunideppt)：最优质的PPT资源库"/>
            <p:cNvSpPr txBox="1"/>
            <p:nvPr/>
          </p:nvSpPr>
          <p:spPr>
            <a:xfrm>
              <a:off x="8930683" y="5100551"/>
              <a:ext cx="149391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该原创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来自公众号：趣你的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一不小心，就学会</a:t>
              </a:r>
              <a:r>
                <a:rPr lang="en-US" altLang="zh-CN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快来加入我们。</a:t>
              </a:r>
              <a:endParaRPr lang="zh-CN" alt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Group 22出自【趣你的PPT】(微信:qunideppt)：最优质的PPT资源库"/>
          <p:cNvGrpSpPr/>
          <p:nvPr/>
        </p:nvGrpSpPr>
        <p:grpSpPr>
          <a:xfrm>
            <a:off x="8652983" y="1863693"/>
            <a:ext cx="1505961" cy="1729520"/>
            <a:chOff x="8640104" y="2483016"/>
            <a:chExt cx="1505961" cy="1729520"/>
          </a:xfrm>
          <a:solidFill>
            <a:srgbClr val="C00000"/>
          </a:solidFill>
        </p:grpSpPr>
        <p:sp>
          <p:nvSpPr>
            <p:cNvPr id="24" name="出自【趣你的PPT】(微信:qunideppt)：最优质的PPT资源库"/>
            <p:cNvSpPr/>
            <p:nvPr/>
          </p:nvSpPr>
          <p:spPr>
            <a:xfrm rot="2670473">
              <a:off x="8640104" y="2483016"/>
              <a:ext cx="1505961" cy="150596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" name="出自【趣你的PPT】(微信:qunideppt)：最优质的PPT资源库"/>
            <p:cNvSpPr>
              <a:spLocks noEditPoints="1"/>
            </p:cNvSpPr>
            <p:nvPr/>
          </p:nvSpPr>
          <p:spPr bwMode="auto">
            <a:xfrm>
              <a:off x="9262090" y="2593929"/>
              <a:ext cx="357390" cy="401000"/>
            </a:xfrm>
            <a:custGeom>
              <a:avLst/>
              <a:gdLst>
                <a:gd name="T0" fmla="*/ 142 w 142"/>
                <a:gd name="T1" fmla="*/ 158 h 158"/>
                <a:gd name="T2" fmla="*/ 0 w 142"/>
                <a:gd name="T3" fmla="*/ 158 h 158"/>
                <a:gd name="T4" fmla="*/ 0 w 142"/>
                <a:gd name="T5" fmla="*/ 137 h 158"/>
                <a:gd name="T6" fmla="*/ 12 w 142"/>
                <a:gd name="T7" fmla="*/ 120 h 158"/>
                <a:gd name="T8" fmla="*/ 12 w 142"/>
                <a:gd name="T9" fmla="*/ 112 h 158"/>
                <a:gd name="T10" fmla="*/ 0 w 142"/>
                <a:gd name="T11" fmla="*/ 112 h 158"/>
                <a:gd name="T12" fmla="*/ 0 w 142"/>
                <a:gd name="T13" fmla="*/ 0 h 158"/>
                <a:gd name="T14" fmla="*/ 142 w 142"/>
                <a:gd name="T15" fmla="*/ 0 h 158"/>
                <a:gd name="T16" fmla="*/ 142 w 142"/>
                <a:gd name="T17" fmla="*/ 112 h 158"/>
                <a:gd name="T18" fmla="*/ 128 w 142"/>
                <a:gd name="T19" fmla="*/ 112 h 158"/>
                <a:gd name="T20" fmla="*/ 128 w 142"/>
                <a:gd name="T21" fmla="*/ 120 h 158"/>
                <a:gd name="T22" fmla="*/ 142 w 142"/>
                <a:gd name="T23" fmla="*/ 137 h 158"/>
                <a:gd name="T24" fmla="*/ 142 w 142"/>
                <a:gd name="T25" fmla="*/ 158 h 158"/>
                <a:gd name="T26" fmla="*/ 128 w 142"/>
                <a:gd name="T27" fmla="*/ 88 h 158"/>
                <a:gd name="T28" fmla="*/ 128 w 142"/>
                <a:gd name="T29" fmla="*/ 15 h 158"/>
                <a:gd name="T30" fmla="*/ 124 w 142"/>
                <a:gd name="T31" fmla="*/ 10 h 158"/>
                <a:gd name="T32" fmla="*/ 19 w 142"/>
                <a:gd name="T33" fmla="*/ 10 h 158"/>
                <a:gd name="T34" fmla="*/ 14 w 142"/>
                <a:gd name="T35" fmla="*/ 15 h 158"/>
                <a:gd name="T36" fmla="*/ 14 w 142"/>
                <a:gd name="T37" fmla="*/ 88 h 158"/>
                <a:gd name="T38" fmla="*/ 19 w 142"/>
                <a:gd name="T39" fmla="*/ 93 h 158"/>
                <a:gd name="T40" fmla="*/ 124 w 142"/>
                <a:gd name="T41" fmla="*/ 93 h 158"/>
                <a:gd name="T42" fmla="*/ 128 w 142"/>
                <a:gd name="T43" fmla="*/ 8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2" h="158">
                  <a:moveTo>
                    <a:pt x="142" y="158"/>
                  </a:moveTo>
                  <a:cubicBezTo>
                    <a:pt x="0" y="158"/>
                    <a:pt x="0" y="158"/>
                    <a:pt x="0" y="158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112"/>
                    <a:pt x="142" y="112"/>
                    <a:pt x="142" y="112"/>
                  </a:cubicBezTo>
                  <a:cubicBezTo>
                    <a:pt x="128" y="112"/>
                    <a:pt x="128" y="112"/>
                    <a:pt x="128" y="112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42" y="137"/>
                    <a:pt x="142" y="137"/>
                    <a:pt x="142" y="137"/>
                  </a:cubicBezTo>
                  <a:cubicBezTo>
                    <a:pt x="142" y="158"/>
                    <a:pt x="142" y="158"/>
                    <a:pt x="142" y="158"/>
                  </a:cubicBezTo>
                  <a:close/>
                  <a:moveTo>
                    <a:pt x="128" y="88"/>
                  </a:moveTo>
                  <a:cubicBezTo>
                    <a:pt x="128" y="15"/>
                    <a:pt x="128" y="15"/>
                    <a:pt x="128" y="15"/>
                  </a:cubicBezTo>
                  <a:cubicBezTo>
                    <a:pt x="128" y="11"/>
                    <a:pt x="127" y="10"/>
                    <a:pt x="124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6" y="10"/>
                    <a:pt x="14" y="11"/>
                    <a:pt x="14" y="15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1"/>
                    <a:pt x="16" y="93"/>
                    <a:pt x="19" y="93"/>
                  </a:cubicBezTo>
                  <a:cubicBezTo>
                    <a:pt x="124" y="93"/>
                    <a:pt x="124" y="93"/>
                    <a:pt x="124" y="93"/>
                  </a:cubicBezTo>
                  <a:cubicBezTo>
                    <a:pt x="127" y="93"/>
                    <a:pt x="128" y="91"/>
                    <a:pt x="128" y="8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6" name="出自【趣你的PPT】(微信:qunideppt)：最优质的PPT资源库"/>
            <p:cNvSpPr txBox="1"/>
            <p:nvPr/>
          </p:nvSpPr>
          <p:spPr>
            <a:xfrm rot="18833630">
              <a:off x="9182500" y="3271786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你的标题</a:t>
              </a:r>
            </a:p>
          </p:txBody>
        </p:sp>
      </p:grpSp>
      <p:grpSp>
        <p:nvGrpSpPr>
          <p:cNvPr id="27" name="Group 26出自【趣你的PPT】(微信:qunideppt)：最优质的PPT资源库"/>
          <p:cNvGrpSpPr/>
          <p:nvPr/>
        </p:nvGrpSpPr>
        <p:grpSpPr>
          <a:xfrm>
            <a:off x="1843561" y="1916920"/>
            <a:ext cx="1505961" cy="2043987"/>
            <a:chOff x="1830682" y="2536243"/>
            <a:chExt cx="1505961" cy="2043987"/>
          </a:xfrm>
          <a:solidFill>
            <a:srgbClr val="C00000"/>
          </a:solidFill>
        </p:grpSpPr>
        <p:sp>
          <p:nvSpPr>
            <p:cNvPr id="28" name="出自【趣你的PPT】(微信:qunideppt)：最优质的PPT资源库"/>
            <p:cNvSpPr/>
            <p:nvPr/>
          </p:nvSpPr>
          <p:spPr>
            <a:xfrm rot="2670473">
              <a:off x="1830682" y="2536243"/>
              <a:ext cx="1505961" cy="150596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2305074" y="2608525"/>
              <a:ext cx="445136" cy="388888"/>
              <a:chOff x="1978456" y="2855297"/>
              <a:chExt cx="728663" cy="636588"/>
            </a:xfrm>
            <a:grpFill/>
          </p:grpSpPr>
          <p:sp>
            <p:nvSpPr>
              <p:cNvPr id="31" name="出自【趣你的PPT】(微信:qunideppt)：最优质的PPT资源库"/>
              <p:cNvSpPr>
                <a:spLocks noEditPoints="1"/>
              </p:cNvSpPr>
              <p:nvPr/>
            </p:nvSpPr>
            <p:spPr bwMode="auto">
              <a:xfrm>
                <a:off x="1978456" y="3006110"/>
                <a:ext cx="728663" cy="485775"/>
              </a:xfrm>
              <a:custGeom>
                <a:avLst/>
                <a:gdLst>
                  <a:gd name="T0" fmla="*/ 175 w 194"/>
                  <a:gd name="T1" fmla="*/ 0 h 128"/>
                  <a:gd name="T2" fmla="*/ 194 w 194"/>
                  <a:gd name="T3" fmla="*/ 109 h 128"/>
                  <a:gd name="T4" fmla="*/ 20 w 194"/>
                  <a:gd name="T5" fmla="*/ 128 h 128"/>
                  <a:gd name="T6" fmla="*/ 0 w 194"/>
                  <a:gd name="T7" fmla="*/ 19 h 128"/>
                  <a:gd name="T8" fmla="*/ 19 w 194"/>
                  <a:gd name="T9" fmla="*/ 23 h 128"/>
                  <a:gd name="T10" fmla="*/ 14 w 194"/>
                  <a:gd name="T11" fmla="*/ 29 h 128"/>
                  <a:gd name="T12" fmla="*/ 96 w 194"/>
                  <a:gd name="T13" fmla="*/ 34 h 128"/>
                  <a:gd name="T14" fmla="*/ 101 w 194"/>
                  <a:gd name="T15" fmla="*/ 29 h 128"/>
                  <a:gd name="T16" fmla="*/ 19 w 194"/>
                  <a:gd name="T17" fmla="*/ 23 h 128"/>
                  <a:gd name="T18" fmla="*/ 14 w 194"/>
                  <a:gd name="T19" fmla="*/ 46 h 128"/>
                  <a:gd name="T20" fmla="*/ 19 w 194"/>
                  <a:gd name="T21" fmla="*/ 52 h 128"/>
                  <a:gd name="T22" fmla="*/ 101 w 194"/>
                  <a:gd name="T23" fmla="*/ 46 h 128"/>
                  <a:gd name="T24" fmla="*/ 96 w 194"/>
                  <a:gd name="T25" fmla="*/ 41 h 128"/>
                  <a:gd name="T26" fmla="*/ 19 w 194"/>
                  <a:gd name="T27" fmla="*/ 59 h 128"/>
                  <a:gd name="T28" fmla="*/ 14 w 194"/>
                  <a:gd name="T29" fmla="*/ 64 h 128"/>
                  <a:gd name="T30" fmla="*/ 96 w 194"/>
                  <a:gd name="T31" fmla="*/ 69 h 128"/>
                  <a:gd name="T32" fmla="*/ 101 w 194"/>
                  <a:gd name="T33" fmla="*/ 64 h 128"/>
                  <a:gd name="T34" fmla="*/ 19 w 194"/>
                  <a:gd name="T35" fmla="*/ 59 h 128"/>
                  <a:gd name="T36" fmla="*/ 14 w 194"/>
                  <a:gd name="T37" fmla="*/ 82 h 128"/>
                  <a:gd name="T38" fmla="*/ 19 w 194"/>
                  <a:gd name="T39" fmla="*/ 87 h 128"/>
                  <a:gd name="T40" fmla="*/ 101 w 194"/>
                  <a:gd name="T41" fmla="*/ 82 h 128"/>
                  <a:gd name="T42" fmla="*/ 96 w 194"/>
                  <a:gd name="T43" fmla="*/ 77 h 128"/>
                  <a:gd name="T44" fmla="*/ 19 w 194"/>
                  <a:gd name="T45" fmla="*/ 94 h 128"/>
                  <a:gd name="T46" fmla="*/ 14 w 194"/>
                  <a:gd name="T47" fmla="*/ 100 h 128"/>
                  <a:gd name="T48" fmla="*/ 96 w 194"/>
                  <a:gd name="T49" fmla="*/ 105 h 128"/>
                  <a:gd name="T50" fmla="*/ 101 w 194"/>
                  <a:gd name="T51" fmla="*/ 100 h 128"/>
                  <a:gd name="T52" fmla="*/ 19 w 194"/>
                  <a:gd name="T53" fmla="*/ 94 h 128"/>
                  <a:gd name="T54" fmla="*/ 113 w 194"/>
                  <a:gd name="T55" fmla="*/ 64 h 128"/>
                  <a:gd name="T56" fmla="*/ 184 w 194"/>
                  <a:gd name="T57" fmla="*/ 64 h 128"/>
                  <a:gd name="T58" fmla="*/ 148 w 194"/>
                  <a:gd name="T59" fmla="*/ 35 h 128"/>
                  <a:gd name="T60" fmla="*/ 148 w 194"/>
                  <a:gd name="T61" fmla="*/ 93 h 128"/>
                  <a:gd name="T62" fmla="*/ 148 w 194"/>
                  <a:gd name="T63" fmla="*/ 35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4" h="128">
                    <a:moveTo>
                      <a:pt x="20" y="0"/>
                    </a:moveTo>
                    <a:cubicBezTo>
                      <a:pt x="175" y="0"/>
                      <a:pt x="175" y="0"/>
                      <a:pt x="175" y="0"/>
                    </a:cubicBezTo>
                    <a:cubicBezTo>
                      <a:pt x="186" y="0"/>
                      <a:pt x="194" y="9"/>
                      <a:pt x="194" y="19"/>
                    </a:cubicBezTo>
                    <a:cubicBezTo>
                      <a:pt x="194" y="109"/>
                      <a:pt x="194" y="109"/>
                      <a:pt x="194" y="109"/>
                    </a:cubicBezTo>
                    <a:cubicBezTo>
                      <a:pt x="194" y="119"/>
                      <a:pt x="186" y="128"/>
                      <a:pt x="175" y="128"/>
                    </a:cubicBezTo>
                    <a:cubicBezTo>
                      <a:pt x="20" y="128"/>
                      <a:pt x="20" y="128"/>
                      <a:pt x="20" y="128"/>
                    </a:cubicBezTo>
                    <a:cubicBezTo>
                      <a:pt x="9" y="128"/>
                      <a:pt x="0" y="119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9"/>
                      <a:pt x="9" y="0"/>
                      <a:pt x="20" y="0"/>
                    </a:cubicBezTo>
                    <a:close/>
                    <a:moveTo>
                      <a:pt x="19" y="23"/>
                    </a:moveTo>
                    <a:cubicBezTo>
                      <a:pt x="16" y="23"/>
                      <a:pt x="14" y="26"/>
                      <a:pt x="14" y="29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14" y="32"/>
                      <a:pt x="16" y="34"/>
                      <a:pt x="19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9" y="34"/>
                      <a:pt x="101" y="32"/>
                      <a:pt x="101" y="29"/>
                    </a:cubicBezTo>
                    <a:cubicBezTo>
                      <a:pt x="101" y="29"/>
                      <a:pt x="101" y="29"/>
                      <a:pt x="101" y="29"/>
                    </a:cubicBezTo>
                    <a:cubicBezTo>
                      <a:pt x="101" y="26"/>
                      <a:pt x="99" y="23"/>
                      <a:pt x="96" y="23"/>
                    </a:cubicBezTo>
                    <a:cubicBezTo>
                      <a:pt x="19" y="23"/>
                      <a:pt x="19" y="23"/>
                      <a:pt x="19" y="23"/>
                    </a:cubicBezTo>
                    <a:close/>
                    <a:moveTo>
                      <a:pt x="19" y="41"/>
                    </a:moveTo>
                    <a:cubicBezTo>
                      <a:pt x="16" y="41"/>
                      <a:pt x="14" y="44"/>
                      <a:pt x="14" y="46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9"/>
                      <a:pt x="16" y="52"/>
                      <a:pt x="19" y="52"/>
                    </a:cubicBezTo>
                    <a:cubicBezTo>
                      <a:pt x="96" y="52"/>
                      <a:pt x="96" y="52"/>
                      <a:pt x="96" y="52"/>
                    </a:cubicBezTo>
                    <a:cubicBezTo>
                      <a:pt x="99" y="52"/>
                      <a:pt x="101" y="49"/>
                      <a:pt x="101" y="46"/>
                    </a:cubicBezTo>
                    <a:cubicBezTo>
                      <a:pt x="101" y="46"/>
                      <a:pt x="101" y="46"/>
                      <a:pt x="101" y="46"/>
                    </a:cubicBezTo>
                    <a:cubicBezTo>
                      <a:pt x="101" y="44"/>
                      <a:pt x="99" y="41"/>
                      <a:pt x="96" y="41"/>
                    </a:cubicBezTo>
                    <a:cubicBezTo>
                      <a:pt x="19" y="41"/>
                      <a:pt x="19" y="41"/>
                      <a:pt x="19" y="41"/>
                    </a:cubicBezTo>
                    <a:close/>
                    <a:moveTo>
                      <a:pt x="19" y="59"/>
                    </a:moveTo>
                    <a:cubicBezTo>
                      <a:pt x="16" y="59"/>
                      <a:pt x="14" y="61"/>
                      <a:pt x="14" y="64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67"/>
                      <a:pt x="16" y="69"/>
                      <a:pt x="19" y="69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99" y="69"/>
                      <a:pt x="101" y="67"/>
                      <a:pt x="101" y="64"/>
                    </a:cubicBezTo>
                    <a:cubicBezTo>
                      <a:pt x="101" y="64"/>
                      <a:pt x="101" y="64"/>
                      <a:pt x="101" y="64"/>
                    </a:cubicBezTo>
                    <a:cubicBezTo>
                      <a:pt x="101" y="61"/>
                      <a:pt x="99" y="59"/>
                      <a:pt x="96" y="59"/>
                    </a:cubicBezTo>
                    <a:cubicBezTo>
                      <a:pt x="19" y="59"/>
                      <a:pt x="19" y="59"/>
                      <a:pt x="19" y="59"/>
                    </a:cubicBezTo>
                    <a:close/>
                    <a:moveTo>
                      <a:pt x="19" y="77"/>
                    </a:moveTo>
                    <a:cubicBezTo>
                      <a:pt x="16" y="77"/>
                      <a:pt x="14" y="79"/>
                      <a:pt x="14" y="82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4" y="85"/>
                      <a:pt x="16" y="87"/>
                      <a:pt x="19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9" y="87"/>
                      <a:pt x="101" y="85"/>
                      <a:pt x="101" y="82"/>
                    </a:cubicBezTo>
                    <a:cubicBezTo>
                      <a:pt x="101" y="82"/>
                      <a:pt x="101" y="82"/>
                      <a:pt x="101" y="82"/>
                    </a:cubicBezTo>
                    <a:cubicBezTo>
                      <a:pt x="101" y="79"/>
                      <a:pt x="99" y="77"/>
                      <a:pt x="96" y="77"/>
                    </a:cubicBezTo>
                    <a:cubicBezTo>
                      <a:pt x="19" y="77"/>
                      <a:pt x="19" y="77"/>
                      <a:pt x="19" y="77"/>
                    </a:cubicBezTo>
                    <a:close/>
                    <a:moveTo>
                      <a:pt x="19" y="94"/>
                    </a:moveTo>
                    <a:cubicBezTo>
                      <a:pt x="16" y="94"/>
                      <a:pt x="14" y="97"/>
                      <a:pt x="14" y="100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14" y="102"/>
                      <a:pt x="16" y="105"/>
                      <a:pt x="19" y="105"/>
                    </a:cubicBezTo>
                    <a:cubicBezTo>
                      <a:pt x="96" y="105"/>
                      <a:pt x="96" y="105"/>
                      <a:pt x="96" y="105"/>
                    </a:cubicBezTo>
                    <a:cubicBezTo>
                      <a:pt x="99" y="105"/>
                      <a:pt x="101" y="102"/>
                      <a:pt x="101" y="100"/>
                    </a:cubicBezTo>
                    <a:cubicBezTo>
                      <a:pt x="101" y="100"/>
                      <a:pt x="101" y="100"/>
                      <a:pt x="101" y="100"/>
                    </a:cubicBezTo>
                    <a:cubicBezTo>
                      <a:pt x="101" y="97"/>
                      <a:pt x="99" y="94"/>
                      <a:pt x="96" y="94"/>
                    </a:cubicBezTo>
                    <a:cubicBezTo>
                      <a:pt x="19" y="94"/>
                      <a:pt x="19" y="94"/>
                      <a:pt x="19" y="94"/>
                    </a:cubicBezTo>
                    <a:close/>
                    <a:moveTo>
                      <a:pt x="148" y="29"/>
                    </a:moveTo>
                    <a:cubicBezTo>
                      <a:pt x="129" y="29"/>
                      <a:pt x="113" y="44"/>
                      <a:pt x="113" y="64"/>
                    </a:cubicBezTo>
                    <a:cubicBezTo>
                      <a:pt x="113" y="84"/>
                      <a:pt x="129" y="100"/>
                      <a:pt x="148" y="100"/>
                    </a:cubicBezTo>
                    <a:cubicBezTo>
                      <a:pt x="168" y="100"/>
                      <a:pt x="184" y="84"/>
                      <a:pt x="184" y="64"/>
                    </a:cubicBezTo>
                    <a:cubicBezTo>
                      <a:pt x="184" y="44"/>
                      <a:pt x="168" y="29"/>
                      <a:pt x="148" y="29"/>
                    </a:cubicBezTo>
                    <a:close/>
                    <a:moveTo>
                      <a:pt x="148" y="35"/>
                    </a:moveTo>
                    <a:cubicBezTo>
                      <a:pt x="133" y="35"/>
                      <a:pt x="120" y="48"/>
                      <a:pt x="120" y="64"/>
                    </a:cubicBezTo>
                    <a:cubicBezTo>
                      <a:pt x="120" y="80"/>
                      <a:pt x="133" y="93"/>
                      <a:pt x="148" y="93"/>
                    </a:cubicBezTo>
                    <a:cubicBezTo>
                      <a:pt x="164" y="93"/>
                      <a:pt x="177" y="80"/>
                      <a:pt x="177" y="64"/>
                    </a:cubicBezTo>
                    <a:cubicBezTo>
                      <a:pt x="177" y="48"/>
                      <a:pt x="164" y="35"/>
                      <a:pt x="148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出自【趣你的PPT】(微信:qunideppt)：最优质的PPT资源库"/>
              <p:cNvSpPr>
                <a:spLocks/>
              </p:cNvSpPr>
              <p:nvPr/>
            </p:nvSpPr>
            <p:spPr bwMode="auto">
              <a:xfrm>
                <a:off x="2173718" y="2855297"/>
                <a:ext cx="487363" cy="185738"/>
              </a:xfrm>
              <a:custGeom>
                <a:avLst/>
                <a:gdLst>
                  <a:gd name="T0" fmla="*/ 0 w 307"/>
                  <a:gd name="T1" fmla="*/ 19 h 117"/>
                  <a:gd name="T2" fmla="*/ 300 w 307"/>
                  <a:gd name="T3" fmla="*/ 117 h 117"/>
                  <a:gd name="T4" fmla="*/ 307 w 307"/>
                  <a:gd name="T5" fmla="*/ 98 h 117"/>
                  <a:gd name="T6" fmla="*/ 7 w 307"/>
                  <a:gd name="T7" fmla="*/ 0 h 117"/>
                  <a:gd name="T8" fmla="*/ 0 w 307"/>
                  <a:gd name="T9" fmla="*/ 1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117">
                    <a:moveTo>
                      <a:pt x="0" y="19"/>
                    </a:moveTo>
                    <a:lnTo>
                      <a:pt x="300" y="117"/>
                    </a:lnTo>
                    <a:lnTo>
                      <a:pt x="307" y="98"/>
                    </a:lnTo>
                    <a:lnTo>
                      <a:pt x="7" y="0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0" name="出自【趣你的PPT】(微信:qunideppt)：最优质的PPT资源库"/>
            <p:cNvSpPr txBox="1"/>
            <p:nvPr/>
          </p:nvSpPr>
          <p:spPr>
            <a:xfrm rot="2720642">
              <a:off x="1601175" y="3639480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你的标题</a:t>
              </a:r>
            </a:p>
          </p:txBody>
        </p:sp>
      </p:grpSp>
      <p:grpSp>
        <p:nvGrpSpPr>
          <p:cNvPr id="33" name="Group 32出自【趣你的PPT】(微信:qunideppt)：最优质的PPT资源库"/>
          <p:cNvGrpSpPr/>
          <p:nvPr/>
        </p:nvGrpSpPr>
        <p:grpSpPr>
          <a:xfrm>
            <a:off x="3355729" y="1903553"/>
            <a:ext cx="1505961" cy="2004404"/>
            <a:chOff x="3342850" y="2522876"/>
            <a:chExt cx="1505961" cy="2004404"/>
          </a:xfrm>
          <a:solidFill>
            <a:srgbClr val="C00000"/>
          </a:solidFill>
        </p:grpSpPr>
        <p:sp>
          <p:nvSpPr>
            <p:cNvPr id="34" name="出自【趣你的PPT】(微信:qunideppt)：最优质的PPT资源库"/>
            <p:cNvSpPr/>
            <p:nvPr/>
          </p:nvSpPr>
          <p:spPr>
            <a:xfrm rot="2670473">
              <a:off x="3342850" y="2522876"/>
              <a:ext cx="1505961" cy="1505961"/>
            </a:xfrm>
            <a:prstGeom prst="rect">
              <a:avLst/>
            </a:prstGeom>
            <a:grpFill/>
            <a:ln w="57150">
              <a:solidFill>
                <a:srgbClr val="F5F5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5" name="出自【趣你的PPT】(微信:qunideppt)：最优质的PPT资源库"/>
            <p:cNvSpPr>
              <a:spLocks/>
            </p:cNvSpPr>
            <p:nvPr/>
          </p:nvSpPr>
          <p:spPr bwMode="auto">
            <a:xfrm rot="1698444">
              <a:off x="3913990" y="2575846"/>
              <a:ext cx="160701" cy="454246"/>
            </a:xfrm>
            <a:custGeom>
              <a:avLst/>
              <a:gdLst>
                <a:gd name="T0" fmla="*/ 63 w 63"/>
                <a:gd name="T1" fmla="*/ 204 h 213"/>
                <a:gd name="T2" fmla="*/ 47 w 63"/>
                <a:gd name="T3" fmla="*/ 213 h 213"/>
                <a:gd name="T4" fmla="*/ 13 w 63"/>
                <a:gd name="T5" fmla="*/ 205 h 213"/>
                <a:gd name="T6" fmla="*/ 0 w 63"/>
                <a:gd name="T7" fmla="*/ 110 h 213"/>
                <a:gd name="T8" fmla="*/ 4 w 63"/>
                <a:gd name="T9" fmla="*/ 58 h 213"/>
                <a:gd name="T10" fmla="*/ 13 w 63"/>
                <a:gd name="T11" fmla="*/ 8 h 213"/>
                <a:gd name="T12" fmla="*/ 47 w 63"/>
                <a:gd name="T13" fmla="*/ 0 h 213"/>
                <a:gd name="T14" fmla="*/ 63 w 63"/>
                <a:gd name="T15" fmla="*/ 9 h 213"/>
                <a:gd name="T16" fmla="*/ 60 w 63"/>
                <a:gd name="T17" fmla="*/ 52 h 213"/>
                <a:gd name="T18" fmla="*/ 37 w 63"/>
                <a:gd name="T19" fmla="*/ 67 h 213"/>
                <a:gd name="T20" fmla="*/ 28 w 63"/>
                <a:gd name="T21" fmla="*/ 89 h 213"/>
                <a:gd name="T22" fmla="*/ 27 w 63"/>
                <a:gd name="T23" fmla="*/ 113 h 213"/>
                <a:gd name="T24" fmla="*/ 34 w 63"/>
                <a:gd name="T25" fmla="*/ 143 h 213"/>
                <a:gd name="T26" fmla="*/ 60 w 63"/>
                <a:gd name="T27" fmla="*/ 161 h 213"/>
                <a:gd name="T28" fmla="*/ 63 w 63"/>
                <a:gd name="T29" fmla="*/ 20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" h="213">
                  <a:moveTo>
                    <a:pt x="63" y="204"/>
                  </a:moveTo>
                  <a:cubicBezTo>
                    <a:pt x="60" y="206"/>
                    <a:pt x="54" y="209"/>
                    <a:pt x="47" y="213"/>
                  </a:cubicBezTo>
                  <a:cubicBezTo>
                    <a:pt x="35" y="213"/>
                    <a:pt x="24" y="210"/>
                    <a:pt x="13" y="205"/>
                  </a:cubicBezTo>
                  <a:cubicBezTo>
                    <a:pt x="5" y="182"/>
                    <a:pt x="0" y="150"/>
                    <a:pt x="0" y="110"/>
                  </a:cubicBezTo>
                  <a:cubicBezTo>
                    <a:pt x="0" y="96"/>
                    <a:pt x="1" y="78"/>
                    <a:pt x="4" y="58"/>
                  </a:cubicBezTo>
                  <a:cubicBezTo>
                    <a:pt x="6" y="35"/>
                    <a:pt x="9" y="18"/>
                    <a:pt x="13" y="8"/>
                  </a:cubicBezTo>
                  <a:cubicBezTo>
                    <a:pt x="24" y="3"/>
                    <a:pt x="35" y="0"/>
                    <a:pt x="47" y="0"/>
                  </a:cubicBezTo>
                  <a:cubicBezTo>
                    <a:pt x="51" y="1"/>
                    <a:pt x="56" y="4"/>
                    <a:pt x="63" y="9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2" y="74"/>
                    <a:pt x="29" y="81"/>
                    <a:pt x="28" y="89"/>
                  </a:cubicBezTo>
                  <a:cubicBezTo>
                    <a:pt x="28" y="92"/>
                    <a:pt x="27" y="101"/>
                    <a:pt x="27" y="113"/>
                  </a:cubicBezTo>
                  <a:cubicBezTo>
                    <a:pt x="27" y="127"/>
                    <a:pt x="30" y="137"/>
                    <a:pt x="34" y="143"/>
                  </a:cubicBezTo>
                  <a:cubicBezTo>
                    <a:pt x="37" y="145"/>
                    <a:pt x="45" y="151"/>
                    <a:pt x="60" y="161"/>
                  </a:cubicBezTo>
                  <a:lnTo>
                    <a:pt x="63" y="2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出自【趣你的PPT】(微信:qunideppt)：最优质的PPT资源库"/>
            <p:cNvSpPr txBox="1"/>
            <p:nvPr/>
          </p:nvSpPr>
          <p:spPr>
            <a:xfrm rot="2720642">
              <a:off x="3127273" y="3586530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你的标题</a:t>
              </a:r>
            </a:p>
          </p:txBody>
        </p:sp>
      </p:grpSp>
      <p:grpSp>
        <p:nvGrpSpPr>
          <p:cNvPr id="37" name="Group 36出自【趣你的PPT】(微信:qunideppt)：最优质的PPT资源库"/>
          <p:cNvGrpSpPr/>
          <p:nvPr/>
        </p:nvGrpSpPr>
        <p:grpSpPr>
          <a:xfrm>
            <a:off x="7140815" y="1877060"/>
            <a:ext cx="2005725" cy="1505961"/>
            <a:chOff x="7127936" y="2496383"/>
            <a:chExt cx="2005725" cy="1505961"/>
          </a:xfrm>
          <a:solidFill>
            <a:srgbClr val="C00000"/>
          </a:solidFill>
        </p:grpSpPr>
        <p:sp>
          <p:nvSpPr>
            <p:cNvPr id="38" name="出自【趣你的PPT】(微信:qunideppt)：最优质的PPT资源库"/>
            <p:cNvSpPr/>
            <p:nvPr/>
          </p:nvSpPr>
          <p:spPr>
            <a:xfrm rot="2670473">
              <a:off x="7127936" y="2496383"/>
              <a:ext cx="1505961" cy="1505961"/>
            </a:xfrm>
            <a:prstGeom prst="rect">
              <a:avLst/>
            </a:prstGeom>
            <a:grpFill/>
            <a:ln w="57150">
              <a:solidFill>
                <a:srgbClr val="F5F5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39" name="组合 38"/>
            <p:cNvGrpSpPr/>
            <p:nvPr/>
          </p:nvGrpSpPr>
          <p:grpSpPr>
            <a:xfrm>
              <a:off x="7638349" y="2564904"/>
              <a:ext cx="463231" cy="533975"/>
              <a:chOff x="6446167" y="4674118"/>
              <a:chExt cx="758826" cy="874713"/>
            </a:xfrm>
            <a:grpFill/>
          </p:grpSpPr>
          <p:sp>
            <p:nvSpPr>
              <p:cNvPr id="41" name="出自【趣你的PPT】(微信:qunideppt)：最优质的PPT资源库"/>
              <p:cNvSpPr>
                <a:spLocks/>
              </p:cNvSpPr>
              <p:nvPr/>
            </p:nvSpPr>
            <p:spPr bwMode="auto">
              <a:xfrm>
                <a:off x="6812880" y="4872556"/>
                <a:ext cx="38100" cy="19050"/>
              </a:xfrm>
              <a:custGeom>
                <a:avLst/>
                <a:gdLst>
                  <a:gd name="T0" fmla="*/ 10 w 10"/>
                  <a:gd name="T1" fmla="*/ 5 h 5"/>
                  <a:gd name="T2" fmla="*/ 5 w 10"/>
                  <a:gd name="T3" fmla="*/ 0 h 5"/>
                  <a:gd name="T4" fmla="*/ 0 w 10"/>
                  <a:gd name="T5" fmla="*/ 5 h 5"/>
                  <a:gd name="T6" fmla="*/ 10 w 10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5">
                    <a:moveTo>
                      <a:pt x="10" y="5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2"/>
                      <a:pt x="7" y="2"/>
                      <a:pt x="1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出自【趣你的PPT】(微信:qunideppt)：最优质的PPT资源库"/>
              <p:cNvSpPr>
                <a:spLocks/>
              </p:cNvSpPr>
              <p:nvPr/>
            </p:nvSpPr>
            <p:spPr bwMode="auto">
              <a:xfrm>
                <a:off x="6587455" y="4674118"/>
                <a:ext cx="468313" cy="236538"/>
              </a:xfrm>
              <a:custGeom>
                <a:avLst/>
                <a:gdLst>
                  <a:gd name="T0" fmla="*/ 64 w 123"/>
                  <a:gd name="T1" fmla="*/ 60 h 62"/>
                  <a:gd name="T2" fmla="*/ 66 w 123"/>
                  <a:gd name="T3" fmla="*/ 60 h 62"/>
                  <a:gd name="T4" fmla="*/ 74 w 123"/>
                  <a:gd name="T5" fmla="*/ 62 h 62"/>
                  <a:gd name="T6" fmla="*/ 120 w 123"/>
                  <a:gd name="T7" fmla="*/ 14 h 62"/>
                  <a:gd name="T8" fmla="*/ 120 w 123"/>
                  <a:gd name="T9" fmla="*/ 4 h 62"/>
                  <a:gd name="T10" fmla="*/ 110 w 123"/>
                  <a:gd name="T11" fmla="*/ 4 h 62"/>
                  <a:gd name="T12" fmla="*/ 64 w 123"/>
                  <a:gd name="T13" fmla="*/ 52 h 62"/>
                  <a:gd name="T14" fmla="*/ 69 w 123"/>
                  <a:gd name="T15" fmla="*/ 57 h 62"/>
                  <a:gd name="T16" fmla="*/ 59 w 123"/>
                  <a:gd name="T17" fmla="*/ 57 h 62"/>
                  <a:gd name="T18" fmla="*/ 64 w 123"/>
                  <a:gd name="T19" fmla="*/ 52 h 62"/>
                  <a:gd name="T20" fmla="*/ 13 w 123"/>
                  <a:gd name="T21" fmla="*/ 3 h 62"/>
                  <a:gd name="T22" fmla="*/ 3 w 123"/>
                  <a:gd name="T23" fmla="*/ 3 h 62"/>
                  <a:gd name="T24" fmla="*/ 3 w 123"/>
                  <a:gd name="T25" fmla="*/ 13 h 62"/>
                  <a:gd name="T26" fmla="*/ 54 w 123"/>
                  <a:gd name="T27" fmla="*/ 62 h 62"/>
                  <a:gd name="T28" fmla="*/ 62 w 123"/>
                  <a:gd name="T29" fmla="*/ 60 h 62"/>
                  <a:gd name="T30" fmla="*/ 64 w 123"/>
                  <a:gd name="T31" fmla="*/ 6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3" h="62">
                    <a:moveTo>
                      <a:pt x="64" y="60"/>
                    </a:moveTo>
                    <a:cubicBezTo>
                      <a:pt x="65" y="60"/>
                      <a:pt x="65" y="60"/>
                      <a:pt x="66" y="60"/>
                    </a:cubicBezTo>
                    <a:cubicBezTo>
                      <a:pt x="69" y="60"/>
                      <a:pt x="72" y="61"/>
                      <a:pt x="74" y="62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23" y="11"/>
                      <a:pt x="123" y="7"/>
                      <a:pt x="120" y="4"/>
                    </a:cubicBezTo>
                    <a:cubicBezTo>
                      <a:pt x="117" y="1"/>
                      <a:pt x="112" y="1"/>
                      <a:pt x="110" y="4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9" y="57"/>
                      <a:pt x="69" y="57"/>
                      <a:pt x="69" y="57"/>
                    </a:cubicBezTo>
                    <a:cubicBezTo>
                      <a:pt x="66" y="54"/>
                      <a:pt x="61" y="54"/>
                      <a:pt x="59" y="57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0" y="0"/>
                      <a:pt x="5" y="0"/>
                      <a:pt x="3" y="3"/>
                    </a:cubicBezTo>
                    <a:cubicBezTo>
                      <a:pt x="0" y="6"/>
                      <a:pt x="0" y="10"/>
                      <a:pt x="3" y="13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6" y="61"/>
                      <a:pt x="59" y="60"/>
                      <a:pt x="62" y="60"/>
                    </a:cubicBezTo>
                    <a:cubicBezTo>
                      <a:pt x="62" y="60"/>
                      <a:pt x="63" y="60"/>
                      <a:pt x="6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出自【趣你的PPT】(微信:qunideppt)：最优质的PPT资源库"/>
              <p:cNvSpPr>
                <a:spLocks noEditPoints="1"/>
              </p:cNvSpPr>
              <p:nvPr/>
            </p:nvSpPr>
            <p:spPr bwMode="auto">
              <a:xfrm>
                <a:off x="6446167" y="4910656"/>
                <a:ext cx="758826" cy="638175"/>
              </a:xfrm>
              <a:custGeom>
                <a:avLst/>
                <a:gdLst>
                  <a:gd name="T0" fmla="*/ 170 w 199"/>
                  <a:gd name="T1" fmla="*/ 9 h 168"/>
                  <a:gd name="T2" fmla="*/ 116 w 199"/>
                  <a:gd name="T3" fmla="*/ 9 h 168"/>
                  <a:gd name="T4" fmla="*/ 116 w 199"/>
                  <a:gd name="T5" fmla="*/ 8 h 168"/>
                  <a:gd name="T6" fmla="*/ 111 w 199"/>
                  <a:gd name="T7" fmla="*/ 0 h 168"/>
                  <a:gd name="T8" fmla="*/ 106 w 199"/>
                  <a:gd name="T9" fmla="*/ 5 h 168"/>
                  <a:gd name="T10" fmla="*/ 96 w 199"/>
                  <a:gd name="T11" fmla="*/ 5 h 168"/>
                  <a:gd name="T12" fmla="*/ 91 w 199"/>
                  <a:gd name="T13" fmla="*/ 0 h 168"/>
                  <a:gd name="T14" fmla="*/ 86 w 199"/>
                  <a:gd name="T15" fmla="*/ 8 h 168"/>
                  <a:gd name="T16" fmla="*/ 86 w 199"/>
                  <a:gd name="T17" fmla="*/ 9 h 168"/>
                  <a:gd name="T18" fmla="*/ 30 w 199"/>
                  <a:gd name="T19" fmla="*/ 9 h 168"/>
                  <a:gd name="T20" fmla="*/ 0 w 199"/>
                  <a:gd name="T21" fmla="*/ 39 h 168"/>
                  <a:gd name="T22" fmla="*/ 0 w 199"/>
                  <a:gd name="T23" fmla="*/ 133 h 168"/>
                  <a:gd name="T24" fmla="*/ 30 w 199"/>
                  <a:gd name="T25" fmla="*/ 163 h 168"/>
                  <a:gd name="T26" fmla="*/ 34 w 199"/>
                  <a:gd name="T27" fmla="*/ 163 h 168"/>
                  <a:gd name="T28" fmla="*/ 34 w 199"/>
                  <a:gd name="T29" fmla="*/ 168 h 168"/>
                  <a:gd name="T30" fmla="*/ 167 w 199"/>
                  <a:gd name="T31" fmla="*/ 168 h 168"/>
                  <a:gd name="T32" fmla="*/ 167 w 199"/>
                  <a:gd name="T33" fmla="*/ 163 h 168"/>
                  <a:gd name="T34" fmla="*/ 170 w 199"/>
                  <a:gd name="T35" fmla="*/ 163 h 168"/>
                  <a:gd name="T36" fmla="*/ 199 w 199"/>
                  <a:gd name="T37" fmla="*/ 133 h 168"/>
                  <a:gd name="T38" fmla="*/ 199 w 199"/>
                  <a:gd name="T39" fmla="*/ 39 h 168"/>
                  <a:gd name="T40" fmla="*/ 170 w 199"/>
                  <a:gd name="T41" fmla="*/ 9 h 168"/>
                  <a:gd name="T42" fmla="*/ 157 w 199"/>
                  <a:gd name="T43" fmla="*/ 163 h 168"/>
                  <a:gd name="T44" fmla="*/ 150 w 199"/>
                  <a:gd name="T45" fmla="*/ 155 h 168"/>
                  <a:gd name="T46" fmla="*/ 157 w 199"/>
                  <a:gd name="T47" fmla="*/ 148 h 168"/>
                  <a:gd name="T48" fmla="*/ 164 w 199"/>
                  <a:gd name="T49" fmla="*/ 155 h 168"/>
                  <a:gd name="T50" fmla="*/ 157 w 199"/>
                  <a:gd name="T51" fmla="*/ 163 h 168"/>
                  <a:gd name="T52" fmla="*/ 175 w 199"/>
                  <a:gd name="T53" fmla="*/ 122 h 168"/>
                  <a:gd name="T54" fmla="*/ 153 w 199"/>
                  <a:gd name="T55" fmla="*/ 144 h 168"/>
                  <a:gd name="T56" fmla="*/ 47 w 199"/>
                  <a:gd name="T57" fmla="*/ 144 h 168"/>
                  <a:gd name="T58" fmla="*/ 25 w 199"/>
                  <a:gd name="T59" fmla="*/ 122 h 168"/>
                  <a:gd name="T60" fmla="*/ 25 w 199"/>
                  <a:gd name="T61" fmla="*/ 51 h 168"/>
                  <a:gd name="T62" fmla="*/ 47 w 199"/>
                  <a:gd name="T63" fmla="*/ 28 h 168"/>
                  <a:gd name="T64" fmla="*/ 153 w 199"/>
                  <a:gd name="T65" fmla="*/ 28 h 168"/>
                  <a:gd name="T66" fmla="*/ 175 w 199"/>
                  <a:gd name="T67" fmla="*/ 51 h 168"/>
                  <a:gd name="T68" fmla="*/ 175 w 199"/>
                  <a:gd name="T69" fmla="*/ 122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9" h="168">
                    <a:moveTo>
                      <a:pt x="170" y="9"/>
                    </a:moveTo>
                    <a:cubicBezTo>
                      <a:pt x="116" y="9"/>
                      <a:pt x="116" y="9"/>
                      <a:pt x="116" y="9"/>
                    </a:cubicBezTo>
                    <a:cubicBezTo>
                      <a:pt x="116" y="9"/>
                      <a:pt x="116" y="8"/>
                      <a:pt x="116" y="8"/>
                    </a:cubicBezTo>
                    <a:cubicBezTo>
                      <a:pt x="116" y="5"/>
                      <a:pt x="114" y="2"/>
                      <a:pt x="111" y="0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3" y="8"/>
                      <a:pt x="99" y="8"/>
                      <a:pt x="96" y="5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88" y="2"/>
                      <a:pt x="86" y="5"/>
                      <a:pt x="86" y="8"/>
                    </a:cubicBezTo>
                    <a:cubicBezTo>
                      <a:pt x="86" y="8"/>
                      <a:pt x="86" y="9"/>
                      <a:pt x="86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14" y="9"/>
                      <a:pt x="0" y="23"/>
                      <a:pt x="0" y="39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50"/>
                      <a:pt x="14" y="163"/>
                      <a:pt x="30" y="163"/>
                    </a:cubicBezTo>
                    <a:cubicBezTo>
                      <a:pt x="34" y="163"/>
                      <a:pt x="34" y="163"/>
                      <a:pt x="34" y="163"/>
                    </a:cubicBezTo>
                    <a:cubicBezTo>
                      <a:pt x="34" y="168"/>
                      <a:pt x="34" y="168"/>
                      <a:pt x="34" y="168"/>
                    </a:cubicBezTo>
                    <a:cubicBezTo>
                      <a:pt x="167" y="168"/>
                      <a:pt x="167" y="168"/>
                      <a:pt x="167" y="168"/>
                    </a:cubicBezTo>
                    <a:cubicBezTo>
                      <a:pt x="167" y="163"/>
                      <a:pt x="167" y="163"/>
                      <a:pt x="167" y="163"/>
                    </a:cubicBezTo>
                    <a:cubicBezTo>
                      <a:pt x="170" y="163"/>
                      <a:pt x="170" y="163"/>
                      <a:pt x="170" y="163"/>
                    </a:cubicBezTo>
                    <a:cubicBezTo>
                      <a:pt x="186" y="163"/>
                      <a:pt x="199" y="150"/>
                      <a:pt x="199" y="133"/>
                    </a:cubicBezTo>
                    <a:cubicBezTo>
                      <a:pt x="199" y="39"/>
                      <a:pt x="199" y="39"/>
                      <a:pt x="199" y="39"/>
                    </a:cubicBezTo>
                    <a:cubicBezTo>
                      <a:pt x="199" y="23"/>
                      <a:pt x="186" y="9"/>
                      <a:pt x="170" y="9"/>
                    </a:cubicBezTo>
                    <a:close/>
                    <a:moveTo>
                      <a:pt x="157" y="163"/>
                    </a:moveTo>
                    <a:cubicBezTo>
                      <a:pt x="153" y="163"/>
                      <a:pt x="150" y="159"/>
                      <a:pt x="150" y="155"/>
                    </a:cubicBezTo>
                    <a:cubicBezTo>
                      <a:pt x="150" y="152"/>
                      <a:pt x="153" y="148"/>
                      <a:pt x="157" y="148"/>
                    </a:cubicBezTo>
                    <a:cubicBezTo>
                      <a:pt x="161" y="148"/>
                      <a:pt x="164" y="152"/>
                      <a:pt x="164" y="155"/>
                    </a:cubicBezTo>
                    <a:cubicBezTo>
                      <a:pt x="164" y="159"/>
                      <a:pt x="161" y="163"/>
                      <a:pt x="157" y="163"/>
                    </a:cubicBezTo>
                    <a:close/>
                    <a:moveTo>
                      <a:pt x="175" y="122"/>
                    </a:moveTo>
                    <a:cubicBezTo>
                      <a:pt x="175" y="134"/>
                      <a:pt x="164" y="144"/>
                      <a:pt x="153" y="144"/>
                    </a:cubicBezTo>
                    <a:cubicBezTo>
                      <a:pt x="47" y="144"/>
                      <a:pt x="47" y="144"/>
                      <a:pt x="47" y="144"/>
                    </a:cubicBezTo>
                    <a:cubicBezTo>
                      <a:pt x="34" y="144"/>
                      <a:pt x="25" y="134"/>
                      <a:pt x="25" y="122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5" y="38"/>
                      <a:pt x="34" y="28"/>
                      <a:pt x="47" y="28"/>
                    </a:cubicBezTo>
                    <a:cubicBezTo>
                      <a:pt x="153" y="28"/>
                      <a:pt x="153" y="28"/>
                      <a:pt x="153" y="28"/>
                    </a:cubicBezTo>
                    <a:cubicBezTo>
                      <a:pt x="164" y="28"/>
                      <a:pt x="175" y="38"/>
                      <a:pt x="175" y="51"/>
                    </a:cubicBezTo>
                    <a:lnTo>
                      <a:pt x="175" y="12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出自【趣你的PPT】(微信:qunideppt)：最优质的PPT资源库"/>
              <p:cNvSpPr>
                <a:spLocks/>
              </p:cNvSpPr>
              <p:nvPr/>
            </p:nvSpPr>
            <p:spPr bwMode="auto">
              <a:xfrm>
                <a:off x="6793830" y="4902719"/>
                <a:ext cx="76200" cy="38100"/>
              </a:xfrm>
              <a:custGeom>
                <a:avLst/>
                <a:gdLst>
                  <a:gd name="T0" fmla="*/ 15 w 20"/>
                  <a:gd name="T1" fmla="*/ 7 h 10"/>
                  <a:gd name="T2" fmla="*/ 20 w 20"/>
                  <a:gd name="T3" fmla="*/ 2 h 10"/>
                  <a:gd name="T4" fmla="*/ 12 w 20"/>
                  <a:gd name="T5" fmla="*/ 0 h 10"/>
                  <a:gd name="T6" fmla="*/ 10 w 20"/>
                  <a:gd name="T7" fmla="*/ 0 h 10"/>
                  <a:gd name="T8" fmla="*/ 8 w 20"/>
                  <a:gd name="T9" fmla="*/ 0 h 10"/>
                  <a:gd name="T10" fmla="*/ 0 w 20"/>
                  <a:gd name="T11" fmla="*/ 2 h 10"/>
                  <a:gd name="T12" fmla="*/ 5 w 20"/>
                  <a:gd name="T13" fmla="*/ 7 h 10"/>
                  <a:gd name="T14" fmla="*/ 15 w 20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0">
                    <a:moveTo>
                      <a:pt x="15" y="7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18" y="1"/>
                      <a:pt x="15" y="0"/>
                      <a:pt x="12" y="0"/>
                    </a:cubicBezTo>
                    <a:cubicBezTo>
                      <a:pt x="11" y="0"/>
                      <a:pt x="11" y="0"/>
                      <a:pt x="10" y="0"/>
                    </a:cubicBezTo>
                    <a:cubicBezTo>
                      <a:pt x="9" y="0"/>
                      <a:pt x="8" y="0"/>
                      <a:pt x="8" y="0"/>
                    </a:cubicBezTo>
                    <a:cubicBezTo>
                      <a:pt x="5" y="0"/>
                      <a:pt x="2" y="1"/>
                      <a:pt x="0" y="2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8" y="10"/>
                      <a:pt x="12" y="10"/>
                      <a:pt x="1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0" name="出自【趣你的PPT】(微信:qunideppt)：最优质的PPT资源库"/>
            <p:cNvSpPr txBox="1"/>
            <p:nvPr/>
          </p:nvSpPr>
          <p:spPr>
            <a:xfrm rot="18914665">
              <a:off x="7621493" y="327324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你的标题</a:t>
              </a:r>
            </a:p>
          </p:txBody>
        </p:sp>
      </p:grpSp>
      <p:grpSp>
        <p:nvGrpSpPr>
          <p:cNvPr id="45" name="Group 44出自【趣你的PPT】(微信:qunideppt)：最优质的PPT资源库"/>
          <p:cNvGrpSpPr/>
          <p:nvPr/>
        </p:nvGrpSpPr>
        <p:grpSpPr>
          <a:xfrm>
            <a:off x="4957136" y="1585925"/>
            <a:ext cx="2088232" cy="2088232"/>
            <a:chOff x="4944257" y="2205248"/>
            <a:chExt cx="2088232" cy="2088232"/>
          </a:xfrm>
          <a:solidFill>
            <a:srgbClr val="C00000"/>
          </a:solidFill>
        </p:grpSpPr>
        <p:sp>
          <p:nvSpPr>
            <p:cNvPr id="46" name="出自【趣你的PPT】(微信:qunideppt)：最优质的PPT资源库"/>
            <p:cNvSpPr/>
            <p:nvPr/>
          </p:nvSpPr>
          <p:spPr>
            <a:xfrm rot="2670473">
              <a:off x="4944257" y="2205248"/>
              <a:ext cx="2088232" cy="2088232"/>
            </a:xfrm>
            <a:prstGeom prst="rect">
              <a:avLst/>
            </a:prstGeom>
            <a:grpFill/>
            <a:ln w="57150">
              <a:solidFill>
                <a:srgbClr val="F5F5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7" name="出自【趣你的PPT】(微信:qunideppt)：最优质的PPT资源库"/>
            <p:cNvSpPr>
              <a:spLocks/>
            </p:cNvSpPr>
            <p:nvPr/>
          </p:nvSpPr>
          <p:spPr bwMode="auto">
            <a:xfrm>
              <a:off x="5601817" y="2564904"/>
              <a:ext cx="844350" cy="819840"/>
            </a:xfrm>
            <a:custGeom>
              <a:avLst/>
              <a:gdLst>
                <a:gd name="T0" fmla="*/ 61 w 65"/>
                <a:gd name="T1" fmla="*/ 35 h 60"/>
                <a:gd name="T2" fmla="*/ 60 w 65"/>
                <a:gd name="T3" fmla="*/ 35 h 60"/>
                <a:gd name="T4" fmla="*/ 59 w 65"/>
                <a:gd name="T5" fmla="*/ 35 h 60"/>
                <a:gd name="T6" fmla="*/ 59 w 65"/>
                <a:gd name="T7" fmla="*/ 35 h 60"/>
                <a:gd name="T8" fmla="*/ 61 w 65"/>
                <a:gd name="T9" fmla="*/ 31 h 60"/>
                <a:gd name="T10" fmla="*/ 56 w 65"/>
                <a:gd name="T11" fmla="*/ 26 h 60"/>
                <a:gd name="T12" fmla="*/ 55 w 65"/>
                <a:gd name="T13" fmla="*/ 26 h 60"/>
                <a:gd name="T14" fmla="*/ 52 w 65"/>
                <a:gd name="T15" fmla="*/ 26 h 60"/>
                <a:gd name="T16" fmla="*/ 33 w 65"/>
                <a:gd name="T17" fmla="*/ 26 h 60"/>
                <a:gd name="T18" fmla="*/ 34 w 65"/>
                <a:gd name="T19" fmla="*/ 7 h 60"/>
                <a:gd name="T20" fmla="*/ 26 w 65"/>
                <a:gd name="T21" fmla="*/ 2 h 60"/>
                <a:gd name="T22" fmla="*/ 26 w 65"/>
                <a:gd name="T23" fmla="*/ 13 h 60"/>
                <a:gd name="T24" fmla="*/ 18 w 65"/>
                <a:gd name="T25" fmla="*/ 26 h 60"/>
                <a:gd name="T26" fmla="*/ 9 w 65"/>
                <a:gd name="T27" fmla="*/ 32 h 60"/>
                <a:gd name="T28" fmla="*/ 0 w 65"/>
                <a:gd name="T29" fmla="*/ 34 h 60"/>
                <a:gd name="T30" fmla="*/ 0 w 65"/>
                <a:gd name="T31" fmla="*/ 58 h 60"/>
                <a:gd name="T32" fmla="*/ 2 w 65"/>
                <a:gd name="T33" fmla="*/ 57 h 60"/>
                <a:gd name="T34" fmla="*/ 22 w 65"/>
                <a:gd name="T35" fmla="*/ 59 h 60"/>
                <a:gd name="T36" fmla="*/ 45 w 65"/>
                <a:gd name="T37" fmla="*/ 57 h 60"/>
                <a:gd name="T38" fmla="*/ 50 w 65"/>
                <a:gd name="T39" fmla="*/ 52 h 60"/>
                <a:gd name="T40" fmla="*/ 56 w 65"/>
                <a:gd name="T41" fmla="*/ 49 h 60"/>
                <a:gd name="T42" fmla="*/ 55 w 65"/>
                <a:gd name="T43" fmla="*/ 43 h 60"/>
                <a:gd name="T44" fmla="*/ 60 w 65"/>
                <a:gd name="T45" fmla="*/ 42 h 60"/>
                <a:gd name="T46" fmla="*/ 61 w 65"/>
                <a:gd name="T47" fmla="*/ 3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60">
                  <a:moveTo>
                    <a:pt x="61" y="35"/>
                  </a:moveTo>
                  <a:cubicBezTo>
                    <a:pt x="61" y="35"/>
                    <a:pt x="60" y="35"/>
                    <a:pt x="60" y="35"/>
                  </a:cubicBezTo>
                  <a:cubicBezTo>
                    <a:pt x="60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60" y="34"/>
                    <a:pt x="61" y="33"/>
                    <a:pt x="61" y="31"/>
                  </a:cubicBezTo>
                  <a:cubicBezTo>
                    <a:pt x="61" y="28"/>
                    <a:pt x="58" y="27"/>
                    <a:pt x="56" y="26"/>
                  </a:cubicBezTo>
                  <a:cubicBezTo>
                    <a:pt x="56" y="26"/>
                    <a:pt x="55" y="26"/>
                    <a:pt x="55" y="26"/>
                  </a:cubicBezTo>
                  <a:cubicBezTo>
                    <a:pt x="53" y="26"/>
                    <a:pt x="52" y="26"/>
                    <a:pt x="52" y="26"/>
                  </a:cubicBezTo>
                  <a:cubicBezTo>
                    <a:pt x="45" y="26"/>
                    <a:pt x="33" y="26"/>
                    <a:pt x="33" y="26"/>
                  </a:cubicBezTo>
                  <a:cubicBezTo>
                    <a:pt x="34" y="23"/>
                    <a:pt x="36" y="15"/>
                    <a:pt x="34" y="7"/>
                  </a:cubicBezTo>
                  <a:cubicBezTo>
                    <a:pt x="32" y="0"/>
                    <a:pt x="26" y="2"/>
                    <a:pt x="26" y="2"/>
                  </a:cubicBezTo>
                  <a:cubicBezTo>
                    <a:pt x="26" y="2"/>
                    <a:pt x="26" y="8"/>
                    <a:pt x="26" y="13"/>
                  </a:cubicBezTo>
                  <a:cubicBezTo>
                    <a:pt x="26" y="17"/>
                    <a:pt x="21" y="25"/>
                    <a:pt x="18" y="26"/>
                  </a:cubicBezTo>
                  <a:cubicBezTo>
                    <a:pt x="15" y="27"/>
                    <a:pt x="13" y="28"/>
                    <a:pt x="9" y="32"/>
                  </a:cubicBezTo>
                  <a:cubicBezTo>
                    <a:pt x="6" y="33"/>
                    <a:pt x="3" y="34"/>
                    <a:pt x="0" y="34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1" y="58"/>
                    <a:pt x="2" y="57"/>
                  </a:cubicBezTo>
                  <a:cubicBezTo>
                    <a:pt x="5" y="57"/>
                    <a:pt x="15" y="58"/>
                    <a:pt x="22" y="59"/>
                  </a:cubicBezTo>
                  <a:cubicBezTo>
                    <a:pt x="28" y="60"/>
                    <a:pt x="38" y="59"/>
                    <a:pt x="45" y="57"/>
                  </a:cubicBezTo>
                  <a:cubicBezTo>
                    <a:pt x="52" y="56"/>
                    <a:pt x="50" y="52"/>
                    <a:pt x="50" y="52"/>
                  </a:cubicBezTo>
                  <a:cubicBezTo>
                    <a:pt x="50" y="52"/>
                    <a:pt x="53" y="52"/>
                    <a:pt x="56" y="49"/>
                  </a:cubicBezTo>
                  <a:cubicBezTo>
                    <a:pt x="58" y="47"/>
                    <a:pt x="55" y="43"/>
                    <a:pt x="55" y="43"/>
                  </a:cubicBezTo>
                  <a:cubicBezTo>
                    <a:pt x="57" y="43"/>
                    <a:pt x="58" y="43"/>
                    <a:pt x="60" y="42"/>
                  </a:cubicBezTo>
                  <a:cubicBezTo>
                    <a:pt x="65" y="38"/>
                    <a:pt x="61" y="35"/>
                    <a:pt x="61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出自【趣你的PPT】(微信:qunideppt)：最优质的PPT资源库"/>
            <p:cNvSpPr txBox="1"/>
            <p:nvPr/>
          </p:nvSpPr>
          <p:spPr>
            <a:xfrm>
              <a:off x="5303913" y="3529289"/>
              <a:ext cx="15121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你的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8895174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500"/>
                            </p:stCondLst>
                            <p:childTnLst>
                              <p:par>
                                <p:cTn id="57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出自【趣你的PPT】(微信:qunideppt)：最优质的PPT资源库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35" y="0"/>
            <a:ext cx="894894" cy="821635"/>
          </a:xfrm>
          <a:prstGeom prst="rect">
            <a:avLst/>
          </a:prstGeom>
        </p:spPr>
      </p:pic>
      <p:pic>
        <p:nvPicPr>
          <p:cNvPr id="880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92"/>
          <a:stretch/>
        </p:blipFill>
        <p:spPr>
          <a:xfrm flipH="1">
            <a:off x="0" y="548736"/>
            <a:ext cx="1404730" cy="485840"/>
          </a:xfrm>
          <a:prstGeom prst="rect">
            <a:avLst/>
          </a:prstGeom>
        </p:spPr>
      </p:pic>
      <p:pic>
        <p:nvPicPr>
          <p:cNvPr id="876" name="出自【趣你的PPT】(微信:qunideppt)：最优质的PPT资源库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664" y="5009322"/>
            <a:ext cx="2738335" cy="1651605"/>
          </a:xfrm>
          <a:prstGeom prst="rect">
            <a:avLst/>
          </a:prstGeom>
        </p:spPr>
      </p:pic>
      <p:pic>
        <p:nvPicPr>
          <p:cNvPr id="15" name="出自【趣你的PPT】(微信:qunideppt)：最优质的PPT资源库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30" t="70931"/>
          <a:stretch/>
        </p:blipFill>
        <p:spPr>
          <a:xfrm>
            <a:off x="8353692" y="5885232"/>
            <a:ext cx="3764589" cy="972768"/>
          </a:xfrm>
          <a:prstGeom prst="rect">
            <a:avLst/>
          </a:prstGeom>
        </p:spPr>
      </p:pic>
      <p:sp>
        <p:nvSpPr>
          <p:cNvPr id="2" name="出自【趣你的PPT】(微信:qunideppt)：最优质的PPT资源库"/>
          <p:cNvSpPr txBox="1"/>
          <p:nvPr/>
        </p:nvSpPr>
        <p:spPr>
          <a:xfrm>
            <a:off x="1200364" y="248350"/>
            <a:ext cx="3085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</a:p>
        </p:txBody>
      </p:sp>
      <p:grpSp>
        <p:nvGrpSpPr>
          <p:cNvPr id="7" name="Group 6出自【趣你的PPT】(微信:qunideppt)：最优质的PPT资源库"/>
          <p:cNvGrpSpPr/>
          <p:nvPr/>
        </p:nvGrpSpPr>
        <p:grpSpPr>
          <a:xfrm>
            <a:off x="6325010" y="2504297"/>
            <a:ext cx="2177093" cy="848849"/>
            <a:chOff x="3128953" y="2087513"/>
            <a:chExt cx="2832907" cy="1104550"/>
          </a:xfrm>
          <a:effectLst>
            <a:outerShdw blurRad="317500" dist="495300" dir="6600000" algn="tl" rotWithShape="0">
              <a:srgbClr val="FFFFFF">
                <a:lumMod val="75000"/>
                <a:lumOff val="25000"/>
                <a:alpha val="30000"/>
              </a:srgbClr>
            </a:outerShdw>
          </a:effectLst>
        </p:grpSpPr>
        <p:sp>
          <p:nvSpPr>
            <p:cNvPr id="8" name="出自【趣你的PPT】(微信:qunideppt)：最优质的PPT资源库"/>
            <p:cNvSpPr/>
            <p:nvPr/>
          </p:nvSpPr>
          <p:spPr>
            <a:xfrm>
              <a:off x="3131840" y="2087513"/>
              <a:ext cx="2830020" cy="1046592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4078881"/>
                <a:gd name="connsiteY0" fmla="*/ 28611 h 2096044"/>
                <a:gd name="connsiteX1" fmla="*/ 4078881 w 4078881"/>
                <a:gd name="connsiteY1" fmla="*/ 1019103 h 2096044"/>
                <a:gd name="connsiteX2" fmla="*/ 2827635 w 4078881"/>
                <a:gd name="connsiteY2" fmla="*/ 2096044 h 2096044"/>
                <a:gd name="connsiteX3" fmla="*/ 0 w 4078881"/>
                <a:gd name="connsiteY3" fmla="*/ 936189 h 2096044"/>
                <a:gd name="connsiteX4" fmla="*/ 2336353 w 4078881"/>
                <a:gd name="connsiteY4" fmla="*/ 28611 h 2096044"/>
                <a:gd name="connsiteX0" fmla="*/ 2336353 w 3996459"/>
                <a:gd name="connsiteY0" fmla="*/ 23959 h 2091392"/>
                <a:gd name="connsiteX1" fmla="*/ 3996459 w 3996459"/>
                <a:gd name="connsiteY1" fmla="*/ 1197621 h 2091392"/>
                <a:gd name="connsiteX2" fmla="*/ 2827635 w 3996459"/>
                <a:gd name="connsiteY2" fmla="*/ 2091392 h 2091392"/>
                <a:gd name="connsiteX3" fmla="*/ 0 w 3996459"/>
                <a:gd name="connsiteY3" fmla="*/ 931537 h 2091392"/>
                <a:gd name="connsiteX4" fmla="*/ 2336353 w 3996459"/>
                <a:gd name="connsiteY4" fmla="*/ 23959 h 2091392"/>
                <a:gd name="connsiteX0" fmla="*/ 2336353 w 3996459"/>
                <a:gd name="connsiteY0" fmla="*/ 0 h 2067433"/>
                <a:gd name="connsiteX1" fmla="*/ 3996459 w 3996459"/>
                <a:gd name="connsiteY1" fmla="*/ 1173662 h 2067433"/>
                <a:gd name="connsiteX2" fmla="*/ 2827635 w 3996459"/>
                <a:gd name="connsiteY2" fmla="*/ 2067433 h 2067433"/>
                <a:gd name="connsiteX3" fmla="*/ 0 w 3996459"/>
                <a:gd name="connsiteY3" fmla="*/ 907578 h 2067433"/>
                <a:gd name="connsiteX4" fmla="*/ 2336353 w 3996459"/>
                <a:gd name="connsiteY4" fmla="*/ 0 h 2067433"/>
                <a:gd name="connsiteX0" fmla="*/ 2336353 w 3996459"/>
                <a:gd name="connsiteY0" fmla="*/ 0 h 2067433"/>
                <a:gd name="connsiteX1" fmla="*/ 3996459 w 3996459"/>
                <a:gd name="connsiteY1" fmla="*/ 1173662 h 2067433"/>
                <a:gd name="connsiteX2" fmla="*/ 2827635 w 3996459"/>
                <a:gd name="connsiteY2" fmla="*/ 2067433 h 2067433"/>
                <a:gd name="connsiteX3" fmla="*/ 0 w 3996459"/>
                <a:gd name="connsiteY3" fmla="*/ 907578 h 2067433"/>
                <a:gd name="connsiteX4" fmla="*/ 2336353 w 3996459"/>
                <a:gd name="connsiteY4" fmla="*/ 0 h 2067433"/>
                <a:gd name="connsiteX0" fmla="*/ 2315747 w 3996459"/>
                <a:gd name="connsiteY0" fmla="*/ 0 h 1474316"/>
                <a:gd name="connsiteX1" fmla="*/ 3996459 w 3996459"/>
                <a:gd name="connsiteY1" fmla="*/ 580545 h 1474316"/>
                <a:gd name="connsiteX2" fmla="*/ 2827635 w 3996459"/>
                <a:gd name="connsiteY2" fmla="*/ 1474316 h 1474316"/>
                <a:gd name="connsiteX3" fmla="*/ 0 w 3996459"/>
                <a:gd name="connsiteY3" fmla="*/ 314461 h 1474316"/>
                <a:gd name="connsiteX4" fmla="*/ 2315747 w 3996459"/>
                <a:gd name="connsiteY4" fmla="*/ 0 h 1474316"/>
                <a:gd name="connsiteX0" fmla="*/ 1786869 w 3996459"/>
                <a:gd name="connsiteY0" fmla="*/ 0 h 1849374"/>
                <a:gd name="connsiteX1" fmla="*/ 3996459 w 3996459"/>
                <a:gd name="connsiteY1" fmla="*/ 955603 h 1849374"/>
                <a:gd name="connsiteX2" fmla="*/ 2827635 w 3996459"/>
                <a:gd name="connsiteY2" fmla="*/ 1849374 h 1849374"/>
                <a:gd name="connsiteX3" fmla="*/ 0 w 3996459"/>
                <a:gd name="connsiteY3" fmla="*/ 689519 h 1849374"/>
                <a:gd name="connsiteX4" fmla="*/ 1786869 w 3996459"/>
                <a:gd name="connsiteY4" fmla="*/ 0 h 1849374"/>
                <a:gd name="connsiteX0" fmla="*/ 1786869 w 3996459"/>
                <a:gd name="connsiteY0" fmla="*/ 27481 h 1876855"/>
                <a:gd name="connsiteX1" fmla="*/ 3996459 w 3996459"/>
                <a:gd name="connsiteY1" fmla="*/ 983084 h 1876855"/>
                <a:gd name="connsiteX2" fmla="*/ 2827635 w 3996459"/>
                <a:gd name="connsiteY2" fmla="*/ 1876855 h 1876855"/>
                <a:gd name="connsiteX3" fmla="*/ 0 w 3996459"/>
                <a:gd name="connsiteY3" fmla="*/ 717000 h 1876855"/>
                <a:gd name="connsiteX4" fmla="*/ 1786869 w 3996459"/>
                <a:gd name="connsiteY4" fmla="*/ 27481 h 187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6459" h="1876855">
                  <a:moveTo>
                    <a:pt x="1786869" y="27481"/>
                  </a:moveTo>
                  <a:cubicBezTo>
                    <a:pt x="2798662" y="-152046"/>
                    <a:pt x="3790945" y="591993"/>
                    <a:pt x="3996459" y="983084"/>
                  </a:cubicBezTo>
                  <a:cubicBezTo>
                    <a:pt x="3250527" y="1528515"/>
                    <a:pt x="3945953" y="976590"/>
                    <a:pt x="2827635" y="1876855"/>
                  </a:cubicBezTo>
                  <a:cubicBezTo>
                    <a:pt x="2641496" y="1702338"/>
                    <a:pt x="1692692" y="390814"/>
                    <a:pt x="0" y="717000"/>
                  </a:cubicBezTo>
                  <a:lnTo>
                    <a:pt x="1786869" y="2748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出自【趣你的PPT】(微信:qunideppt)：最优质的PPT资源库"/>
            <p:cNvSpPr/>
            <p:nvPr/>
          </p:nvSpPr>
          <p:spPr>
            <a:xfrm>
              <a:off x="3128953" y="2459227"/>
              <a:ext cx="2003726" cy="732134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1554633 w 5081687"/>
                <a:gd name="connsiteY0" fmla="*/ 19445 h 2608650"/>
                <a:gd name="connsiteX1" fmla="*/ 5081687 w 5081687"/>
                <a:gd name="connsiteY1" fmla="*/ 1453209 h 2608650"/>
                <a:gd name="connsiteX2" fmla="*/ 3569437 w 5081687"/>
                <a:gd name="connsiteY2" fmla="*/ 2608650 h 2608650"/>
                <a:gd name="connsiteX3" fmla="*/ 0 w 5081687"/>
                <a:gd name="connsiteY3" fmla="*/ 1169682 h 2608650"/>
                <a:gd name="connsiteX4" fmla="*/ 1554633 w 5081687"/>
                <a:gd name="connsiteY4" fmla="*/ 19445 h 2608650"/>
                <a:gd name="connsiteX0" fmla="*/ 1514099 w 5081687"/>
                <a:gd name="connsiteY0" fmla="*/ 19342 h 2615900"/>
                <a:gd name="connsiteX1" fmla="*/ 5081687 w 5081687"/>
                <a:gd name="connsiteY1" fmla="*/ 1460459 h 2615900"/>
                <a:gd name="connsiteX2" fmla="*/ 3569437 w 5081687"/>
                <a:gd name="connsiteY2" fmla="*/ 2615900 h 2615900"/>
                <a:gd name="connsiteX3" fmla="*/ 0 w 5081687"/>
                <a:gd name="connsiteY3" fmla="*/ 1176932 h 2615900"/>
                <a:gd name="connsiteX4" fmla="*/ 1514099 w 5081687"/>
                <a:gd name="connsiteY4" fmla="*/ 19342 h 2615900"/>
                <a:gd name="connsiteX0" fmla="*/ 1514099 w 5081687"/>
                <a:gd name="connsiteY0" fmla="*/ 35912 h 2632470"/>
                <a:gd name="connsiteX1" fmla="*/ 5081687 w 5081687"/>
                <a:gd name="connsiteY1" fmla="*/ 1477029 h 2632470"/>
                <a:gd name="connsiteX2" fmla="*/ 3569437 w 5081687"/>
                <a:gd name="connsiteY2" fmla="*/ 2632470 h 2632470"/>
                <a:gd name="connsiteX3" fmla="*/ 0 w 5081687"/>
                <a:gd name="connsiteY3" fmla="*/ 1193502 h 2632470"/>
                <a:gd name="connsiteX4" fmla="*/ 1514099 w 5081687"/>
                <a:gd name="connsiteY4" fmla="*/ 35912 h 2632470"/>
                <a:gd name="connsiteX0" fmla="*/ 1514099 w 5081687"/>
                <a:gd name="connsiteY0" fmla="*/ 35582 h 2632140"/>
                <a:gd name="connsiteX1" fmla="*/ 5081687 w 5081687"/>
                <a:gd name="connsiteY1" fmla="*/ 1476699 h 2632140"/>
                <a:gd name="connsiteX2" fmla="*/ 3569437 w 5081687"/>
                <a:gd name="connsiteY2" fmla="*/ 2632140 h 2632140"/>
                <a:gd name="connsiteX3" fmla="*/ 0 w 5081687"/>
                <a:gd name="connsiteY3" fmla="*/ 1193172 h 2632140"/>
                <a:gd name="connsiteX4" fmla="*/ 1514099 w 5081687"/>
                <a:gd name="connsiteY4" fmla="*/ 35582 h 2632140"/>
                <a:gd name="connsiteX0" fmla="*/ 1514099 w 5081687"/>
                <a:gd name="connsiteY0" fmla="*/ 30851 h 2627409"/>
                <a:gd name="connsiteX1" fmla="*/ 5081687 w 5081687"/>
                <a:gd name="connsiteY1" fmla="*/ 1471968 h 2627409"/>
                <a:gd name="connsiteX2" fmla="*/ 3569437 w 5081687"/>
                <a:gd name="connsiteY2" fmla="*/ 2627409 h 2627409"/>
                <a:gd name="connsiteX3" fmla="*/ 0 w 5081687"/>
                <a:gd name="connsiteY3" fmla="*/ 1188441 h 2627409"/>
                <a:gd name="connsiteX4" fmla="*/ 1514099 w 5081687"/>
                <a:gd name="connsiteY4" fmla="*/ 30851 h 2627409"/>
                <a:gd name="connsiteX0" fmla="*/ 1514099 w 5081687"/>
                <a:gd name="connsiteY0" fmla="*/ 37481 h 2634039"/>
                <a:gd name="connsiteX1" fmla="*/ 5081687 w 5081687"/>
                <a:gd name="connsiteY1" fmla="*/ 1478598 h 2634039"/>
                <a:gd name="connsiteX2" fmla="*/ 3569437 w 5081687"/>
                <a:gd name="connsiteY2" fmla="*/ 2634039 h 2634039"/>
                <a:gd name="connsiteX3" fmla="*/ 0 w 5081687"/>
                <a:gd name="connsiteY3" fmla="*/ 1195071 h 2634039"/>
                <a:gd name="connsiteX4" fmla="*/ 1514099 w 5081687"/>
                <a:gd name="connsiteY4" fmla="*/ 37481 h 2634039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484281"/>
                <a:gd name="connsiteY0" fmla="*/ 37481 h 1567805"/>
                <a:gd name="connsiteX1" fmla="*/ 5081687 w 5484281"/>
                <a:gd name="connsiteY1" fmla="*/ 1478598 h 1567805"/>
                <a:gd name="connsiteX2" fmla="*/ 5005487 w 5484281"/>
                <a:gd name="connsiteY2" fmla="*/ 1567805 h 1567805"/>
                <a:gd name="connsiteX3" fmla="*/ 0 w 5484281"/>
                <a:gd name="connsiteY3" fmla="*/ 1195071 h 1567805"/>
                <a:gd name="connsiteX4" fmla="*/ 1514099 w 5484281"/>
                <a:gd name="connsiteY4" fmla="*/ 37481 h 1567805"/>
                <a:gd name="connsiteX0" fmla="*/ 225805 w 4195987"/>
                <a:gd name="connsiteY0" fmla="*/ 37481 h 1567805"/>
                <a:gd name="connsiteX1" fmla="*/ 3793393 w 4195987"/>
                <a:gd name="connsiteY1" fmla="*/ 1478598 h 1567805"/>
                <a:gd name="connsiteX2" fmla="*/ 3717193 w 4195987"/>
                <a:gd name="connsiteY2" fmla="*/ 1567805 h 1567805"/>
                <a:gd name="connsiteX3" fmla="*/ 217240 w 4195987"/>
                <a:gd name="connsiteY3" fmla="*/ 158248 h 1567805"/>
                <a:gd name="connsiteX4" fmla="*/ 225805 w 4195987"/>
                <a:gd name="connsiteY4" fmla="*/ 37481 h 1567805"/>
                <a:gd name="connsiteX0" fmla="*/ 8564 w 3978746"/>
                <a:gd name="connsiteY0" fmla="*/ 37481 h 1567805"/>
                <a:gd name="connsiteX1" fmla="*/ 3576152 w 3978746"/>
                <a:gd name="connsiteY1" fmla="*/ 1478598 h 1567805"/>
                <a:gd name="connsiteX2" fmla="*/ 3499952 w 3978746"/>
                <a:gd name="connsiteY2" fmla="*/ 1567805 h 1567805"/>
                <a:gd name="connsiteX3" fmla="*/ -1 w 3978746"/>
                <a:gd name="connsiteY3" fmla="*/ 158248 h 1567805"/>
                <a:gd name="connsiteX4" fmla="*/ 8564 w 3978746"/>
                <a:gd name="connsiteY4" fmla="*/ 37481 h 1567805"/>
                <a:gd name="connsiteX0" fmla="*/ 8565 w 3576153"/>
                <a:gd name="connsiteY0" fmla="*/ 37481 h 1567805"/>
                <a:gd name="connsiteX1" fmla="*/ 3576153 w 3576153"/>
                <a:gd name="connsiteY1" fmla="*/ 1478598 h 1567805"/>
                <a:gd name="connsiteX2" fmla="*/ 3499953 w 3576153"/>
                <a:gd name="connsiteY2" fmla="*/ 1567805 h 1567805"/>
                <a:gd name="connsiteX3" fmla="*/ 0 w 3576153"/>
                <a:gd name="connsiteY3" fmla="*/ 158248 h 1567805"/>
                <a:gd name="connsiteX4" fmla="*/ 8565 w 3576153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95666 w 3567588"/>
                <a:gd name="connsiteY3" fmla="*/ 114128 h 1567805"/>
                <a:gd name="connsiteX4" fmla="*/ 0 w 3567588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8808 w 3567588"/>
                <a:gd name="connsiteY3" fmla="*/ 172955 h 1567805"/>
                <a:gd name="connsiteX4" fmla="*/ 0 w 3567588"/>
                <a:gd name="connsiteY4" fmla="*/ 37481 h 1567805"/>
                <a:gd name="connsiteX0" fmla="*/ 764626 w 3558789"/>
                <a:gd name="connsiteY0" fmla="*/ 277868 h 1428135"/>
                <a:gd name="connsiteX1" fmla="*/ 3558789 w 3558789"/>
                <a:gd name="connsiteY1" fmla="*/ 1338928 h 1428135"/>
                <a:gd name="connsiteX2" fmla="*/ 3482589 w 3558789"/>
                <a:gd name="connsiteY2" fmla="*/ 1428135 h 1428135"/>
                <a:gd name="connsiteX3" fmla="*/ 9 w 3558789"/>
                <a:gd name="connsiteY3" fmla="*/ 33285 h 1428135"/>
                <a:gd name="connsiteX4" fmla="*/ 764626 w 3558789"/>
                <a:gd name="connsiteY4" fmla="*/ 277868 h 1428135"/>
                <a:gd name="connsiteX0" fmla="*/ 324119 w 3558799"/>
                <a:gd name="connsiteY0" fmla="*/ 35613 h 1642802"/>
                <a:gd name="connsiteX1" fmla="*/ 3558799 w 3558799"/>
                <a:gd name="connsiteY1" fmla="*/ 1553595 h 1642802"/>
                <a:gd name="connsiteX2" fmla="*/ 3482599 w 3558799"/>
                <a:gd name="connsiteY2" fmla="*/ 1642802 h 1642802"/>
                <a:gd name="connsiteX3" fmla="*/ 19 w 3558799"/>
                <a:gd name="connsiteY3" fmla="*/ 247952 h 1642802"/>
                <a:gd name="connsiteX4" fmla="*/ 324119 w 3558799"/>
                <a:gd name="connsiteY4" fmla="*/ 35613 h 1642802"/>
                <a:gd name="connsiteX0" fmla="*/ 0 w 3234680"/>
                <a:gd name="connsiteY0" fmla="*/ 35615 h 1642804"/>
                <a:gd name="connsiteX1" fmla="*/ 3234680 w 3234680"/>
                <a:gd name="connsiteY1" fmla="*/ 1553597 h 1642804"/>
                <a:gd name="connsiteX2" fmla="*/ 3158480 w 3234680"/>
                <a:gd name="connsiteY2" fmla="*/ 1642804 h 1642804"/>
                <a:gd name="connsiteX3" fmla="*/ 415698 w 3234680"/>
                <a:gd name="connsiteY3" fmla="*/ 495631 h 1642804"/>
                <a:gd name="connsiteX4" fmla="*/ 0 w 3234680"/>
                <a:gd name="connsiteY4" fmla="*/ 35615 h 1642804"/>
                <a:gd name="connsiteX0" fmla="*/ 364472 w 2819001"/>
                <a:gd name="connsiteY0" fmla="*/ 46348 h 1294832"/>
                <a:gd name="connsiteX1" fmla="*/ 2819001 w 2819001"/>
                <a:gd name="connsiteY1" fmla="*/ 1205625 h 1294832"/>
                <a:gd name="connsiteX2" fmla="*/ 2742801 w 2819001"/>
                <a:gd name="connsiteY2" fmla="*/ 1294832 h 1294832"/>
                <a:gd name="connsiteX3" fmla="*/ 19 w 2819001"/>
                <a:gd name="connsiteY3" fmla="*/ 147659 h 1294832"/>
                <a:gd name="connsiteX4" fmla="*/ 364472 w 2819001"/>
                <a:gd name="connsiteY4" fmla="*/ 46348 h 1294832"/>
                <a:gd name="connsiteX0" fmla="*/ 0 w 2824428"/>
                <a:gd name="connsiteY0" fmla="*/ 46348 h 1294832"/>
                <a:gd name="connsiteX1" fmla="*/ 2824428 w 2824428"/>
                <a:gd name="connsiteY1" fmla="*/ 1205625 h 1294832"/>
                <a:gd name="connsiteX2" fmla="*/ 2748228 w 2824428"/>
                <a:gd name="connsiteY2" fmla="*/ 1294832 h 1294832"/>
                <a:gd name="connsiteX3" fmla="*/ 5446 w 2824428"/>
                <a:gd name="connsiteY3" fmla="*/ 147659 h 1294832"/>
                <a:gd name="connsiteX4" fmla="*/ 0 w 2824428"/>
                <a:gd name="connsiteY4" fmla="*/ 46348 h 1294832"/>
                <a:gd name="connsiteX0" fmla="*/ 25017 w 2849445"/>
                <a:gd name="connsiteY0" fmla="*/ 46348 h 1294832"/>
                <a:gd name="connsiteX1" fmla="*/ 2849445 w 2849445"/>
                <a:gd name="connsiteY1" fmla="*/ 1205625 h 1294832"/>
                <a:gd name="connsiteX2" fmla="*/ 2773245 w 2849445"/>
                <a:gd name="connsiteY2" fmla="*/ 1294832 h 1294832"/>
                <a:gd name="connsiteX3" fmla="*/ 198 w 2849445"/>
                <a:gd name="connsiteY3" fmla="*/ 117768 h 1294832"/>
                <a:gd name="connsiteX4" fmla="*/ 25017 w 2849445"/>
                <a:gd name="connsiteY4" fmla="*/ 46348 h 1294832"/>
                <a:gd name="connsiteX0" fmla="*/ 5168 w 2829596"/>
                <a:gd name="connsiteY0" fmla="*/ 46348 h 1294832"/>
                <a:gd name="connsiteX1" fmla="*/ 2829596 w 2829596"/>
                <a:gd name="connsiteY1" fmla="*/ 1205625 h 1294832"/>
                <a:gd name="connsiteX2" fmla="*/ 2753396 w 2829596"/>
                <a:gd name="connsiteY2" fmla="*/ 1294832 h 1294832"/>
                <a:gd name="connsiteX3" fmla="*/ 524 w 2829596"/>
                <a:gd name="connsiteY3" fmla="*/ 143391 h 1294832"/>
                <a:gd name="connsiteX4" fmla="*/ 5168 w 2829596"/>
                <a:gd name="connsiteY4" fmla="*/ 46348 h 1294832"/>
                <a:gd name="connsiteX0" fmla="*/ 5167 w 2829595"/>
                <a:gd name="connsiteY0" fmla="*/ 46348 h 1294832"/>
                <a:gd name="connsiteX1" fmla="*/ 2829595 w 2829595"/>
                <a:gd name="connsiteY1" fmla="*/ 1205625 h 1294832"/>
                <a:gd name="connsiteX2" fmla="*/ 2753395 w 2829595"/>
                <a:gd name="connsiteY2" fmla="*/ 1294832 h 1294832"/>
                <a:gd name="connsiteX3" fmla="*/ 523 w 2829595"/>
                <a:gd name="connsiteY3" fmla="*/ 143391 h 1294832"/>
                <a:gd name="connsiteX4" fmla="*/ 5167 w 2829595"/>
                <a:gd name="connsiteY4" fmla="*/ 46348 h 1294832"/>
                <a:gd name="connsiteX0" fmla="*/ 5167 w 2829595"/>
                <a:gd name="connsiteY0" fmla="*/ 1768 h 1250252"/>
                <a:gd name="connsiteX1" fmla="*/ 2829595 w 2829595"/>
                <a:gd name="connsiteY1" fmla="*/ 1161045 h 1250252"/>
                <a:gd name="connsiteX2" fmla="*/ 2753395 w 2829595"/>
                <a:gd name="connsiteY2" fmla="*/ 1250252 h 1250252"/>
                <a:gd name="connsiteX3" fmla="*/ 523 w 2829595"/>
                <a:gd name="connsiteY3" fmla="*/ 98811 h 1250252"/>
                <a:gd name="connsiteX4" fmla="*/ 5167 w 2829595"/>
                <a:gd name="connsiteY4" fmla="*/ 1768 h 1250252"/>
                <a:gd name="connsiteX0" fmla="*/ 5167 w 2829595"/>
                <a:gd name="connsiteY0" fmla="*/ 47531 h 1296015"/>
                <a:gd name="connsiteX1" fmla="*/ 2829595 w 2829595"/>
                <a:gd name="connsiteY1" fmla="*/ 1206808 h 1296015"/>
                <a:gd name="connsiteX2" fmla="*/ 2753395 w 2829595"/>
                <a:gd name="connsiteY2" fmla="*/ 1296015 h 1296015"/>
                <a:gd name="connsiteX3" fmla="*/ 523 w 2829595"/>
                <a:gd name="connsiteY3" fmla="*/ 144574 h 1296015"/>
                <a:gd name="connsiteX4" fmla="*/ 5167 w 2829595"/>
                <a:gd name="connsiteY4" fmla="*/ 47531 h 1296015"/>
                <a:gd name="connsiteX0" fmla="*/ 5167 w 2829595"/>
                <a:gd name="connsiteY0" fmla="*/ 44785 h 1293269"/>
                <a:gd name="connsiteX1" fmla="*/ 2829595 w 2829595"/>
                <a:gd name="connsiteY1" fmla="*/ 1204062 h 1293269"/>
                <a:gd name="connsiteX2" fmla="*/ 2753395 w 2829595"/>
                <a:gd name="connsiteY2" fmla="*/ 1293269 h 1293269"/>
                <a:gd name="connsiteX3" fmla="*/ 523 w 2829595"/>
                <a:gd name="connsiteY3" fmla="*/ 141828 h 1293269"/>
                <a:gd name="connsiteX4" fmla="*/ 5167 w 2829595"/>
                <a:gd name="connsiteY4" fmla="*/ 44785 h 1293269"/>
                <a:gd name="connsiteX0" fmla="*/ 5167 w 2829595"/>
                <a:gd name="connsiteY0" fmla="*/ 47369 h 1295853"/>
                <a:gd name="connsiteX1" fmla="*/ 2829595 w 2829595"/>
                <a:gd name="connsiteY1" fmla="*/ 1206646 h 1295853"/>
                <a:gd name="connsiteX2" fmla="*/ 2753395 w 2829595"/>
                <a:gd name="connsiteY2" fmla="*/ 1295853 h 1295853"/>
                <a:gd name="connsiteX3" fmla="*/ 523 w 2829595"/>
                <a:gd name="connsiteY3" fmla="*/ 144412 h 1295853"/>
                <a:gd name="connsiteX4" fmla="*/ 5167 w 2829595"/>
                <a:gd name="connsiteY4" fmla="*/ 47369 h 1295853"/>
                <a:gd name="connsiteX0" fmla="*/ 5167 w 2829595"/>
                <a:gd name="connsiteY0" fmla="*/ 47371 h 1312936"/>
                <a:gd name="connsiteX1" fmla="*/ 2829595 w 2829595"/>
                <a:gd name="connsiteY1" fmla="*/ 1206648 h 1312936"/>
                <a:gd name="connsiteX2" fmla="*/ 2753394 w 2829595"/>
                <a:gd name="connsiteY2" fmla="*/ 1312936 h 1312936"/>
                <a:gd name="connsiteX3" fmla="*/ 523 w 2829595"/>
                <a:gd name="connsiteY3" fmla="*/ 144414 h 1312936"/>
                <a:gd name="connsiteX4" fmla="*/ 5167 w 2829595"/>
                <a:gd name="connsiteY4" fmla="*/ 47371 h 1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9595" h="1312936">
                  <a:moveTo>
                    <a:pt x="5167" y="47371"/>
                  </a:moveTo>
                  <a:cubicBezTo>
                    <a:pt x="1541431" y="-226036"/>
                    <a:pt x="2425334" y="753647"/>
                    <a:pt x="2829595" y="1206648"/>
                  </a:cubicBezTo>
                  <a:lnTo>
                    <a:pt x="2753394" y="1312936"/>
                  </a:lnTo>
                  <a:cubicBezTo>
                    <a:pt x="2629073" y="1243086"/>
                    <a:pt x="2046014" y="19840"/>
                    <a:pt x="523" y="144414"/>
                  </a:cubicBezTo>
                  <a:cubicBezTo>
                    <a:pt x="-2413" y="99256"/>
                    <a:pt x="8103" y="92529"/>
                    <a:pt x="5167" y="47371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出自【趣你的PPT】(微信:qunideppt)：最优质的PPT资源库"/>
            <p:cNvSpPr/>
            <p:nvPr/>
          </p:nvSpPr>
          <p:spPr>
            <a:xfrm>
              <a:off x="5076150" y="2634531"/>
              <a:ext cx="884943" cy="557532"/>
            </a:xfrm>
            <a:custGeom>
              <a:avLst/>
              <a:gdLst>
                <a:gd name="connsiteX0" fmla="*/ 0 w 648072"/>
                <a:gd name="connsiteY0" fmla="*/ 0 h 272033"/>
                <a:gd name="connsiteX1" fmla="*/ 648072 w 648072"/>
                <a:gd name="connsiteY1" fmla="*/ 0 h 272033"/>
                <a:gd name="connsiteX2" fmla="*/ 648072 w 648072"/>
                <a:gd name="connsiteY2" fmla="*/ 272033 h 272033"/>
                <a:gd name="connsiteX3" fmla="*/ 0 w 648072"/>
                <a:gd name="connsiteY3" fmla="*/ 272033 h 272033"/>
                <a:gd name="connsiteX4" fmla="*/ 0 w 648072"/>
                <a:gd name="connsiteY4" fmla="*/ 0 h 272033"/>
                <a:gd name="connsiteX0" fmla="*/ 0 w 1073188"/>
                <a:gd name="connsiteY0" fmla="*/ 641684 h 913717"/>
                <a:gd name="connsiteX1" fmla="*/ 1073188 w 1073188"/>
                <a:gd name="connsiteY1" fmla="*/ 0 h 913717"/>
                <a:gd name="connsiteX2" fmla="*/ 648072 w 1073188"/>
                <a:gd name="connsiteY2" fmla="*/ 913717 h 913717"/>
                <a:gd name="connsiteX3" fmla="*/ 0 w 1073188"/>
                <a:gd name="connsiteY3" fmla="*/ 913717 h 913717"/>
                <a:gd name="connsiteX4" fmla="*/ 0 w 1073188"/>
                <a:gd name="connsiteY4" fmla="*/ 641684 h 913717"/>
                <a:gd name="connsiteX0" fmla="*/ 64169 w 1137357"/>
                <a:gd name="connsiteY0" fmla="*/ 641684 h 913717"/>
                <a:gd name="connsiteX1" fmla="*/ 1137357 w 1137357"/>
                <a:gd name="connsiteY1" fmla="*/ 0 h 913717"/>
                <a:gd name="connsiteX2" fmla="*/ 712241 w 1137357"/>
                <a:gd name="connsiteY2" fmla="*/ 913717 h 913717"/>
                <a:gd name="connsiteX3" fmla="*/ 0 w 1137357"/>
                <a:gd name="connsiteY3" fmla="*/ 705170 h 913717"/>
                <a:gd name="connsiteX4" fmla="*/ 64169 w 1137357"/>
                <a:gd name="connsiteY4" fmla="*/ 641684 h 913717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53135 w 1137357"/>
                <a:gd name="connsiteY2" fmla="*/ 87548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4976"/>
                <a:gd name="connsiteY0" fmla="*/ 641684 h 705170"/>
                <a:gd name="connsiteX1" fmla="*/ 1134976 w 1134976"/>
                <a:gd name="connsiteY1" fmla="*/ 0 h 705170"/>
                <a:gd name="connsiteX2" fmla="*/ 1097251 w 1134976"/>
                <a:gd name="connsiteY2" fmla="*/ 55464 h 705170"/>
                <a:gd name="connsiteX3" fmla="*/ 0 w 1134976"/>
                <a:gd name="connsiteY3" fmla="*/ 705170 h 705170"/>
                <a:gd name="connsiteX4" fmla="*/ 64169 w 1134976"/>
                <a:gd name="connsiteY4" fmla="*/ 641684 h 705170"/>
                <a:gd name="connsiteX0" fmla="*/ 64169 w 1142119"/>
                <a:gd name="connsiteY0" fmla="*/ 648828 h 712314"/>
                <a:gd name="connsiteX1" fmla="*/ 1142119 w 1142119"/>
                <a:gd name="connsiteY1" fmla="*/ 0 h 712314"/>
                <a:gd name="connsiteX2" fmla="*/ 1097251 w 1142119"/>
                <a:gd name="connsiteY2" fmla="*/ 62608 h 712314"/>
                <a:gd name="connsiteX3" fmla="*/ 0 w 1142119"/>
                <a:gd name="connsiteY3" fmla="*/ 712314 h 712314"/>
                <a:gd name="connsiteX4" fmla="*/ 64169 w 1142119"/>
                <a:gd name="connsiteY4" fmla="*/ 648828 h 712314"/>
                <a:gd name="connsiteX0" fmla="*/ 64169 w 1132594"/>
                <a:gd name="connsiteY0" fmla="*/ 644066 h 707552"/>
                <a:gd name="connsiteX1" fmla="*/ 1132594 w 1132594"/>
                <a:gd name="connsiteY1" fmla="*/ 0 h 707552"/>
                <a:gd name="connsiteX2" fmla="*/ 1097251 w 1132594"/>
                <a:gd name="connsiteY2" fmla="*/ 57846 h 707552"/>
                <a:gd name="connsiteX3" fmla="*/ 0 w 1132594"/>
                <a:gd name="connsiteY3" fmla="*/ 707552 h 707552"/>
                <a:gd name="connsiteX4" fmla="*/ 64169 w 1132594"/>
                <a:gd name="connsiteY4" fmla="*/ 644066 h 707552"/>
                <a:gd name="connsiteX0" fmla="*/ 54644 w 1123069"/>
                <a:gd name="connsiteY0" fmla="*/ 644066 h 700408"/>
                <a:gd name="connsiteX1" fmla="*/ 1123069 w 1123069"/>
                <a:gd name="connsiteY1" fmla="*/ 0 h 700408"/>
                <a:gd name="connsiteX2" fmla="*/ 1087726 w 1123069"/>
                <a:gd name="connsiteY2" fmla="*/ 57846 h 700408"/>
                <a:gd name="connsiteX3" fmla="*/ 0 w 1123069"/>
                <a:gd name="connsiteY3" fmla="*/ 700408 h 700408"/>
                <a:gd name="connsiteX4" fmla="*/ 54644 w 1123069"/>
                <a:gd name="connsiteY4" fmla="*/ 644066 h 700408"/>
                <a:gd name="connsiteX0" fmla="*/ 52262 w 1120687"/>
                <a:gd name="connsiteY0" fmla="*/ 644066 h 695645"/>
                <a:gd name="connsiteX1" fmla="*/ 1120687 w 1120687"/>
                <a:gd name="connsiteY1" fmla="*/ 0 h 695645"/>
                <a:gd name="connsiteX2" fmla="*/ 1085344 w 1120687"/>
                <a:gd name="connsiteY2" fmla="*/ 57846 h 695645"/>
                <a:gd name="connsiteX3" fmla="*/ 0 w 1120687"/>
                <a:gd name="connsiteY3" fmla="*/ 695645 h 695645"/>
                <a:gd name="connsiteX4" fmla="*/ 52262 w 1120687"/>
                <a:gd name="connsiteY4" fmla="*/ 644066 h 695645"/>
                <a:gd name="connsiteX0" fmla="*/ 285624 w 1120687"/>
                <a:gd name="connsiteY0" fmla="*/ 494047 h 695645"/>
                <a:gd name="connsiteX1" fmla="*/ 1120687 w 1120687"/>
                <a:gd name="connsiteY1" fmla="*/ 0 h 695645"/>
                <a:gd name="connsiteX2" fmla="*/ 1085344 w 1120687"/>
                <a:gd name="connsiteY2" fmla="*/ 57846 h 695645"/>
                <a:gd name="connsiteX3" fmla="*/ 0 w 1120687"/>
                <a:gd name="connsiteY3" fmla="*/ 695645 h 695645"/>
                <a:gd name="connsiteX4" fmla="*/ 285624 w 1120687"/>
                <a:gd name="connsiteY4" fmla="*/ 494047 h 695645"/>
                <a:gd name="connsiteX0" fmla="*/ 28449 w 863512"/>
                <a:gd name="connsiteY0" fmla="*/ 494047 h 557532"/>
                <a:gd name="connsiteX1" fmla="*/ 863512 w 863512"/>
                <a:gd name="connsiteY1" fmla="*/ 0 h 557532"/>
                <a:gd name="connsiteX2" fmla="*/ 828169 w 863512"/>
                <a:gd name="connsiteY2" fmla="*/ 57846 h 557532"/>
                <a:gd name="connsiteX3" fmla="*/ 0 w 863512"/>
                <a:gd name="connsiteY3" fmla="*/ 557532 h 557532"/>
                <a:gd name="connsiteX4" fmla="*/ 28449 w 863512"/>
                <a:gd name="connsiteY4" fmla="*/ 494047 h 557532"/>
                <a:gd name="connsiteX0" fmla="*/ 61787 w 863512"/>
                <a:gd name="connsiteY0" fmla="*/ 489284 h 557532"/>
                <a:gd name="connsiteX1" fmla="*/ 863512 w 863512"/>
                <a:gd name="connsiteY1" fmla="*/ 0 h 557532"/>
                <a:gd name="connsiteX2" fmla="*/ 828169 w 863512"/>
                <a:gd name="connsiteY2" fmla="*/ 57846 h 557532"/>
                <a:gd name="connsiteX3" fmla="*/ 0 w 863512"/>
                <a:gd name="connsiteY3" fmla="*/ 557532 h 557532"/>
                <a:gd name="connsiteX4" fmla="*/ 61787 w 863512"/>
                <a:gd name="connsiteY4" fmla="*/ 489284 h 557532"/>
                <a:gd name="connsiteX0" fmla="*/ 37974 w 863512"/>
                <a:gd name="connsiteY0" fmla="*/ 501190 h 557532"/>
                <a:gd name="connsiteX1" fmla="*/ 863512 w 863512"/>
                <a:gd name="connsiteY1" fmla="*/ 0 h 557532"/>
                <a:gd name="connsiteX2" fmla="*/ 828169 w 863512"/>
                <a:gd name="connsiteY2" fmla="*/ 57846 h 557532"/>
                <a:gd name="connsiteX3" fmla="*/ 0 w 863512"/>
                <a:gd name="connsiteY3" fmla="*/ 557532 h 557532"/>
                <a:gd name="connsiteX4" fmla="*/ 37974 w 863512"/>
                <a:gd name="connsiteY4" fmla="*/ 501190 h 557532"/>
                <a:gd name="connsiteX0" fmla="*/ 59405 w 884943"/>
                <a:gd name="connsiteY0" fmla="*/ 501190 h 557532"/>
                <a:gd name="connsiteX1" fmla="*/ 884943 w 884943"/>
                <a:gd name="connsiteY1" fmla="*/ 0 h 557532"/>
                <a:gd name="connsiteX2" fmla="*/ 849600 w 884943"/>
                <a:gd name="connsiteY2" fmla="*/ 57846 h 557532"/>
                <a:gd name="connsiteX3" fmla="*/ 0 w 884943"/>
                <a:gd name="connsiteY3" fmla="*/ 557532 h 557532"/>
                <a:gd name="connsiteX4" fmla="*/ 59405 w 884943"/>
                <a:gd name="connsiteY4" fmla="*/ 501190 h 557532"/>
                <a:gd name="connsiteX0" fmla="*/ 52261 w 884943"/>
                <a:gd name="connsiteY0" fmla="*/ 503571 h 557532"/>
                <a:gd name="connsiteX1" fmla="*/ 884943 w 884943"/>
                <a:gd name="connsiteY1" fmla="*/ 0 h 557532"/>
                <a:gd name="connsiteX2" fmla="*/ 849600 w 884943"/>
                <a:gd name="connsiteY2" fmla="*/ 57846 h 557532"/>
                <a:gd name="connsiteX3" fmla="*/ 0 w 884943"/>
                <a:gd name="connsiteY3" fmla="*/ 557532 h 557532"/>
                <a:gd name="connsiteX4" fmla="*/ 52261 w 884943"/>
                <a:gd name="connsiteY4" fmla="*/ 503571 h 557532"/>
                <a:gd name="connsiteX0" fmla="*/ 59404 w 884943"/>
                <a:gd name="connsiteY0" fmla="*/ 498809 h 557532"/>
                <a:gd name="connsiteX1" fmla="*/ 884943 w 884943"/>
                <a:gd name="connsiteY1" fmla="*/ 0 h 557532"/>
                <a:gd name="connsiteX2" fmla="*/ 849600 w 884943"/>
                <a:gd name="connsiteY2" fmla="*/ 57846 h 557532"/>
                <a:gd name="connsiteX3" fmla="*/ 0 w 884943"/>
                <a:gd name="connsiteY3" fmla="*/ 557532 h 557532"/>
                <a:gd name="connsiteX4" fmla="*/ 59404 w 884943"/>
                <a:gd name="connsiteY4" fmla="*/ 498809 h 557532"/>
                <a:gd name="connsiteX0" fmla="*/ 64166 w 884943"/>
                <a:gd name="connsiteY0" fmla="*/ 491665 h 557532"/>
                <a:gd name="connsiteX1" fmla="*/ 884943 w 884943"/>
                <a:gd name="connsiteY1" fmla="*/ 0 h 557532"/>
                <a:gd name="connsiteX2" fmla="*/ 849600 w 884943"/>
                <a:gd name="connsiteY2" fmla="*/ 57846 h 557532"/>
                <a:gd name="connsiteX3" fmla="*/ 0 w 884943"/>
                <a:gd name="connsiteY3" fmla="*/ 557532 h 557532"/>
                <a:gd name="connsiteX4" fmla="*/ 64166 w 884943"/>
                <a:gd name="connsiteY4" fmla="*/ 491665 h 55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943" h="557532">
                  <a:moveTo>
                    <a:pt x="64166" y="491665"/>
                  </a:moveTo>
                  <a:cubicBezTo>
                    <a:pt x="750758" y="53181"/>
                    <a:pt x="523203" y="201863"/>
                    <a:pt x="884943" y="0"/>
                  </a:cubicBezTo>
                  <a:lnTo>
                    <a:pt x="849600" y="57846"/>
                  </a:lnTo>
                  <a:lnTo>
                    <a:pt x="0" y="557532"/>
                  </a:lnTo>
                  <a:lnTo>
                    <a:pt x="64166" y="491665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Group 10出自【趣你的PPT】(微信:qunideppt)：最优质的PPT资源库"/>
          <p:cNvGrpSpPr/>
          <p:nvPr/>
        </p:nvGrpSpPr>
        <p:grpSpPr>
          <a:xfrm>
            <a:off x="7908338" y="2916705"/>
            <a:ext cx="1965379" cy="1002945"/>
            <a:chOff x="5189233" y="2624152"/>
            <a:chExt cx="2557418" cy="1305065"/>
          </a:xfrm>
          <a:solidFill>
            <a:srgbClr val="C00000"/>
          </a:solidFill>
          <a:effectLst>
            <a:outerShdw blurRad="317500" dist="495300" dir="6600000" algn="tl" rotWithShape="0">
              <a:srgbClr val="FFFFFF">
                <a:lumMod val="75000"/>
                <a:lumOff val="25000"/>
                <a:alpha val="30000"/>
              </a:srgbClr>
            </a:outerShdw>
          </a:effectLst>
        </p:grpSpPr>
        <p:sp>
          <p:nvSpPr>
            <p:cNvPr id="12" name="出自【趣你的PPT】(微信:qunideppt)：最优质的PPT资源库"/>
            <p:cNvSpPr/>
            <p:nvPr/>
          </p:nvSpPr>
          <p:spPr>
            <a:xfrm rot="9730928">
              <a:off x="5315634" y="2624152"/>
              <a:ext cx="2308366" cy="1305065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4078881"/>
                <a:gd name="connsiteY0" fmla="*/ 28611 h 2096044"/>
                <a:gd name="connsiteX1" fmla="*/ 4078881 w 4078881"/>
                <a:gd name="connsiteY1" fmla="*/ 1019103 h 2096044"/>
                <a:gd name="connsiteX2" fmla="*/ 2827635 w 4078881"/>
                <a:gd name="connsiteY2" fmla="*/ 2096044 h 2096044"/>
                <a:gd name="connsiteX3" fmla="*/ 0 w 4078881"/>
                <a:gd name="connsiteY3" fmla="*/ 936189 h 2096044"/>
                <a:gd name="connsiteX4" fmla="*/ 2336353 w 4078881"/>
                <a:gd name="connsiteY4" fmla="*/ 28611 h 2096044"/>
                <a:gd name="connsiteX0" fmla="*/ 2336353 w 3996459"/>
                <a:gd name="connsiteY0" fmla="*/ 23959 h 2091392"/>
                <a:gd name="connsiteX1" fmla="*/ 3996459 w 3996459"/>
                <a:gd name="connsiteY1" fmla="*/ 1197621 h 2091392"/>
                <a:gd name="connsiteX2" fmla="*/ 2827635 w 3996459"/>
                <a:gd name="connsiteY2" fmla="*/ 2091392 h 2091392"/>
                <a:gd name="connsiteX3" fmla="*/ 0 w 3996459"/>
                <a:gd name="connsiteY3" fmla="*/ 931537 h 2091392"/>
                <a:gd name="connsiteX4" fmla="*/ 2336353 w 3996459"/>
                <a:gd name="connsiteY4" fmla="*/ 23959 h 2091392"/>
                <a:gd name="connsiteX0" fmla="*/ 2336353 w 3996459"/>
                <a:gd name="connsiteY0" fmla="*/ 0 h 2067433"/>
                <a:gd name="connsiteX1" fmla="*/ 3996459 w 3996459"/>
                <a:gd name="connsiteY1" fmla="*/ 1173662 h 2067433"/>
                <a:gd name="connsiteX2" fmla="*/ 2827635 w 3996459"/>
                <a:gd name="connsiteY2" fmla="*/ 2067433 h 2067433"/>
                <a:gd name="connsiteX3" fmla="*/ 0 w 3996459"/>
                <a:gd name="connsiteY3" fmla="*/ 907578 h 2067433"/>
                <a:gd name="connsiteX4" fmla="*/ 2336353 w 3996459"/>
                <a:gd name="connsiteY4" fmla="*/ 0 h 2067433"/>
                <a:gd name="connsiteX0" fmla="*/ 2336353 w 3996459"/>
                <a:gd name="connsiteY0" fmla="*/ 0 h 2067433"/>
                <a:gd name="connsiteX1" fmla="*/ 3996459 w 3996459"/>
                <a:gd name="connsiteY1" fmla="*/ 1173662 h 2067433"/>
                <a:gd name="connsiteX2" fmla="*/ 2827635 w 3996459"/>
                <a:gd name="connsiteY2" fmla="*/ 2067433 h 2067433"/>
                <a:gd name="connsiteX3" fmla="*/ 0 w 3996459"/>
                <a:gd name="connsiteY3" fmla="*/ 907578 h 2067433"/>
                <a:gd name="connsiteX4" fmla="*/ 2336353 w 3996459"/>
                <a:gd name="connsiteY4" fmla="*/ 0 h 2067433"/>
                <a:gd name="connsiteX0" fmla="*/ 2315747 w 3996459"/>
                <a:gd name="connsiteY0" fmla="*/ 0 h 1474316"/>
                <a:gd name="connsiteX1" fmla="*/ 3996459 w 3996459"/>
                <a:gd name="connsiteY1" fmla="*/ 580545 h 1474316"/>
                <a:gd name="connsiteX2" fmla="*/ 2827635 w 3996459"/>
                <a:gd name="connsiteY2" fmla="*/ 1474316 h 1474316"/>
                <a:gd name="connsiteX3" fmla="*/ 0 w 3996459"/>
                <a:gd name="connsiteY3" fmla="*/ 314461 h 1474316"/>
                <a:gd name="connsiteX4" fmla="*/ 2315747 w 3996459"/>
                <a:gd name="connsiteY4" fmla="*/ 0 h 1474316"/>
                <a:gd name="connsiteX0" fmla="*/ 1786869 w 3996459"/>
                <a:gd name="connsiteY0" fmla="*/ 0 h 1849374"/>
                <a:gd name="connsiteX1" fmla="*/ 3996459 w 3996459"/>
                <a:gd name="connsiteY1" fmla="*/ 955603 h 1849374"/>
                <a:gd name="connsiteX2" fmla="*/ 2827635 w 3996459"/>
                <a:gd name="connsiteY2" fmla="*/ 1849374 h 1849374"/>
                <a:gd name="connsiteX3" fmla="*/ 0 w 3996459"/>
                <a:gd name="connsiteY3" fmla="*/ 689519 h 1849374"/>
                <a:gd name="connsiteX4" fmla="*/ 1786869 w 3996459"/>
                <a:gd name="connsiteY4" fmla="*/ 0 h 1849374"/>
                <a:gd name="connsiteX0" fmla="*/ 1786869 w 3996459"/>
                <a:gd name="connsiteY0" fmla="*/ 27481 h 1876855"/>
                <a:gd name="connsiteX1" fmla="*/ 3996459 w 3996459"/>
                <a:gd name="connsiteY1" fmla="*/ 983084 h 1876855"/>
                <a:gd name="connsiteX2" fmla="*/ 2827635 w 3996459"/>
                <a:gd name="connsiteY2" fmla="*/ 1876855 h 1876855"/>
                <a:gd name="connsiteX3" fmla="*/ 0 w 3996459"/>
                <a:gd name="connsiteY3" fmla="*/ 717000 h 1876855"/>
                <a:gd name="connsiteX4" fmla="*/ 1786869 w 3996459"/>
                <a:gd name="connsiteY4" fmla="*/ 27481 h 1876855"/>
                <a:gd name="connsiteX0" fmla="*/ 1786869 w 4143152"/>
                <a:gd name="connsiteY0" fmla="*/ 18497 h 1867871"/>
                <a:gd name="connsiteX1" fmla="*/ 4143152 w 4143152"/>
                <a:gd name="connsiteY1" fmla="*/ 1407030 h 1867871"/>
                <a:gd name="connsiteX2" fmla="*/ 2827635 w 4143152"/>
                <a:gd name="connsiteY2" fmla="*/ 1867871 h 1867871"/>
                <a:gd name="connsiteX3" fmla="*/ 0 w 4143152"/>
                <a:gd name="connsiteY3" fmla="*/ 708016 h 1867871"/>
                <a:gd name="connsiteX4" fmla="*/ 1786869 w 4143152"/>
                <a:gd name="connsiteY4" fmla="*/ 18497 h 1867871"/>
                <a:gd name="connsiteX0" fmla="*/ 1786869 w 4143152"/>
                <a:gd name="connsiteY0" fmla="*/ 18495 h 1867869"/>
                <a:gd name="connsiteX1" fmla="*/ 4143152 w 4143152"/>
                <a:gd name="connsiteY1" fmla="*/ 1407028 h 1867869"/>
                <a:gd name="connsiteX2" fmla="*/ 2827635 w 4143152"/>
                <a:gd name="connsiteY2" fmla="*/ 1867869 h 1867869"/>
                <a:gd name="connsiteX3" fmla="*/ 0 w 4143152"/>
                <a:gd name="connsiteY3" fmla="*/ 708014 h 1867869"/>
                <a:gd name="connsiteX4" fmla="*/ 1786869 w 4143152"/>
                <a:gd name="connsiteY4" fmla="*/ 18495 h 1867869"/>
                <a:gd name="connsiteX0" fmla="*/ 1786869 w 4143152"/>
                <a:gd name="connsiteY0" fmla="*/ 18495 h 1867869"/>
                <a:gd name="connsiteX1" fmla="*/ 4143152 w 4143152"/>
                <a:gd name="connsiteY1" fmla="*/ 1407028 h 1867869"/>
                <a:gd name="connsiteX2" fmla="*/ 2827635 w 4143152"/>
                <a:gd name="connsiteY2" fmla="*/ 1867869 h 1867869"/>
                <a:gd name="connsiteX3" fmla="*/ 0 w 4143152"/>
                <a:gd name="connsiteY3" fmla="*/ 708014 h 1867869"/>
                <a:gd name="connsiteX4" fmla="*/ 1786869 w 4143152"/>
                <a:gd name="connsiteY4" fmla="*/ 18495 h 1867869"/>
                <a:gd name="connsiteX0" fmla="*/ 1692373 w 4143152"/>
                <a:gd name="connsiteY0" fmla="*/ 13465 h 2353839"/>
                <a:gd name="connsiteX1" fmla="*/ 4143152 w 4143152"/>
                <a:gd name="connsiteY1" fmla="*/ 1892998 h 2353839"/>
                <a:gd name="connsiteX2" fmla="*/ 2827635 w 4143152"/>
                <a:gd name="connsiteY2" fmla="*/ 2353839 h 2353839"/>
                <a:gd name="connsiteX3" fmla="*/ 0 w 4143152"/>
                <a:gd name="connsiteY3" fmla="*/ 1193984 h 2353839"/>
                <a:gd name="connsiteX4" fmla="*/ 1692373 w 4143152"/>
                <a:gd name="connsiteY4" fmla="*/ 13465 h 2353839"/>
                <a:gd name="connsiteX0" fmla="*/ 1692373 w 4143152"/>
                <a:gd name="connsiteY0" fmla="*/ 1 h 2340375"/>
                <a:gd name="connsiteX1" fmla="*/ 4143152 w 4143152"/>
                <a:gd name="connsiteY1" fmla="*/ 1879534 h 2340375"/>
                <a:gd name="connsiteX2" fmla="*/ 2827635 w 4143152"/>
                <a:gd name="connsiteY2" fmla="*/ 2340375 h 2340375"/>
                <a:gd name="connsiteX3" fmla="*/ 0 w 4143152"/>
                <a:gd name="connsiteY3" fmla="*/ 1180520 h 2340375"/>
                <a:gd name="connsiteX4" fmla="*/ 1692373 w 4143152"/>
                <a:gd name="connsiteY4" fmla="*/ 1 h 2340375"/>
                <a:gd name="connsiteX0" fmla="*/ 503707 w 2954486"/>
                <a:gd name="connsiteY0" fmla="*/ -1 h 2340373"/>
                <a:gd name="connsiteX1" fmla="*/ 2954486 w 2954486"/>
                <a:gd name="connsiteY1" fmla="*/ 1879532 h 2340373"/>
                <a:gd name="connsiteX2" fmla="*/ 1638969 w 2954486"/>
                <a:gd name="connsiteY2" fmla="*/ 2340373 h 2340373"/>
                <a:gd name="connsiteX3" fmla="*/ 0 w 2954486"/>
                <a:gd name="connsiteY3" fmla="*/ 657631 h 2340373"/>
                <a:gd name="connsiteX4" fmla="*/ 503707 w 2954486"/>
                <a:gd name="connsiteY4" fmla="*/ -1 h 2340373"/>
                <a:gd name="connsiteX0" fmla="*/ 816503 w 3267282"/>
                <a:gd name="connsiteY0" fmla="*/ 1 h 2340375"/>
                <a:gd name="connsiteX1" fmla="*/ 3267282 w 3267282"/>
                <a:gd name="connsiteY1" fmla="*/ 1879534 h 2340375"/>
                <a:gd name="connsiteX2" fmla="*/ 1951765 w 3267282"/>
                <a:gd name="connsiteY2" fmla="*/ 2340375 h 2340375"/>
                <a:gd name="connsiteX3" fmla="*/ 0 w 3267282"/>
                <a:gd name="connsiteY3" fmla="*/ 831587 h 2340375"/>
                <a:gd name="connsiteX4" fmla="*/ 816503 w 3267282"/>
                <a:gd name="connsiteY4" fmla="*/ 1 h 2340375"/>
                <a:gd name="connsiteX0" fmla="*/ 816503 w 3267282"/>
                <a:gd name="connsiteY0" fmla="*/ -1 h 2340373"/>
                <a:gd name="connsiteX1" fmla="*/ 3267282 w 3267282"/>
                <a:gd name="connsiteY1" fmla="*/ 1879532 h 2340373"/>
                <a:gd name="connsiteX2" fmla="*/ 1951765 w 3267282"/>
                <a:gd name="connsiteY2" fmla="*/ 2340373 h 2340373"/>
                <a:gd name="connsiteX3" fmla="*/ 0 w 3267282"/>
                <a:gd name="connsiteY3" fmla="*/ 831585 h 2340373"/>
                <a:gd name="connsiteX4" fmla="*/ 816503 w 3267282"/>
                <a:gd name="connsiteY4" fmla="*/ -1 h 2340373"/>
                <a:gd name="connsiteX0" fmla="*/ 816503 w 3259796"/>
                <a:gd name="connsiteY0" fmla="*/ 1 h 2340375"/>
                <a:gd name="connsiteX1" fmla="*/ 3259796 w 3259796"/>
                <a:gd name="connsiteY1" fmla="*/ 1884411 h 2340375"/>
                <a:gd name="connsiteX2" fmla="*/ 1951765 w 3259796"/>
                <a:gd name="connsiteY2" fmla="*/ 2340375 h 2340375"/>
                <a:gd name="connsiteX3" fmla="*/ 0 w 3259796"/>
                <a:gd name="connsiteY3" fmla="*/ 831587 h 2340375"/>
                <a:gd name="connsiteX4" fmla="*/ 816503 w 3259796"/>
                <a:gd name="connsiteY4" fmla="*/ 1 h 234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9796" h="2340375">
                  <a:moveTo>
                    <a:pt x="816503" y="1"/>
                  </a:moveTo>
                  <a:cubicBezTo>
                    <a:pt x="2445400" y="246969"/>
                    <a:pt x="3054282" y="1493320"/>
                    <a:pt x="3259796" y="1884411"/>
                  </a:cubicBezTo>
                  <a:lnTo>
                    <a:pt x="1951765" y="2340375"/>
                  </a:lnTo>
                  <a:cubicBezTo>
                    <a:pt x="1765626" y="2165858"/>
                    <a:pt x="1435744" y="1051391"/>
                    <a:pt x="0" y="831587"/>
                  </a:cubicBezTo>
                  <a:lnTo>
                    <a:pt x="816503" y="1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出自【趣你的PPT】(微信:qunideppt)：最优质的PPT资源库"/>
            <p:cNvSpPr/>
            <p:nvPr/>
          </p:nvSpPr>
          <p:spPr>
            <a:xfrm rot="10800000">
              <a:off x="5189233" y="3252849"/>
              <a:ext cx="2042929" cy="596486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1554633 w 5081687"/>
                <a:gd name="connsiteY0" fmla="*/ 19445 h 2608650"/>
                <a:gd name="connsiteX1" fmla="*/ 5081687 w 5081687"/>
                <a:gd name="connsiteY1" fmla="*/ 1453209 h 2608650"/>
                <a:gd name="connsiteX2" fmla="*/ 3569437 w 5081687"/>
                <a:gd name="connsiteY2" fmla="*/ 2608650 h 2608650"/>
                <a:gd name="connsiteX3" fmla="*/ 0 w 5081687"/>
                <a:gd name="connsiteY3" fmla="*/ 1169682 h 2608650"/>
                <a:gd name="connsiteX4" fmla="*/ 1554633 w 5081687"/>
                <a:gd name="connsiteY4" fmla="*/ 19445 h 2608650"/>
                <a:gd name="connsiteX0" fmla="*/ 1514099 w 5081687"/>
                <a:gd name="connsiteY0" fmla="*/ 19342 h 2615900"/>
                <a:gd name="connsiteX1" fmla="*/ 5081687 w 5081687"/>
                <a:gd name="connsiteY1" fmla="*/ 1460459 h 2615900"/>
                <a:gd name="connsiteX2" fmla="*/ 3569437 w 5081687"/>
                <a:gd name="connsiteY2" fmla="*/ 2615900 h 2615900"/>
                <a:gd name="connsiteX3" fmla="*/ 0 w 5081687"/>
                <a:gd name="connsiteY3" fmla="*/ 1176932 h 2615900"/>
                <a:gd name="connsiteX4" fmla="*/ 1514099 w 5081687"/>
                <a:gd name="connsiteY4" fmla="*/ 19342 h 2615900"/>
                <a:gd name="connsiteX0" fmla="*/ 1514099 w 5081687"/>
                <a:gd name="connsiteY0" fmla="*/ 35912 h 2632470"/>
                <a:gd name="connsiteX1" fmla="*/ 5081687 w 5081687"/>
                <a:gd name="connsiteY1" fmla="*/ 1477029 h 2632470"/>
                <a:gd name="connsiteX2" fmla="*/ 3569437 w 5081687"/>
                <a:gd name="connsiteY2" fmla="*/ 2632470 h 2632470"/>
                <a:gd name="connsiteX3" fmla="*/ 0 w 5081687"/>
                <a:gd name="connsiteY3" fmla="*/ 1193502 h 2632470"/>
                <a:gd name="connsiteX4" fmla="*/ 1514099 w 5081687"/>
                <a:gd name="connsiteY4" fmla="*/ 35912 h 2632470"/>
                <a:gd name="connsiteX0" fmla="*/ 1514099 w 5081687"/>
                <a:gd name="connsiteY0" fmla="*/ 35582 h 2632140"/>
                <a:gd name="connsiteX1" fmla="*/ 5081687 w 5081687"/>
                <a:gd name="connsiteY1" fmla="*/ 1476699 h 2632140"/>
                <a:gd name="connsiteX2" fmla="*/ 3569437 w 5081687"/>
                <a:gd name="connsiteY2" fmla="*/ 2632140 h 2632140"/>
                <a:gd name="connsiteX3" fmla="*/ 0 w 5081687"/>
                <a:gd name="connsiteY3" fmla="*/ 1193172 h 2632140"/>
                <a:gd name="connsiteX4" fmla="*/ 1514099 w 5081687"/>
                <a:gd name="connsiteY4" fmla="*/ 35582 h 2632140"/>
                <a:gd name="connsiteX0" fmla="*/ 1514099 w 5081687"/>
                <a:gd name="connsiteY0" fmla="*/ 30851 h 2627409"/>
                <a:gd name="connsiteX1" fmla="*/ 5081687 w 5081687"/>
                <a:gd name="connsiteY1" fmla="*/ 1471968 h 2627409"/>
                <a:gd name="connsiteX2" fmla="*/ 3569437 w 5081687"/>
                <a:gd name="connsiteY2" fmla="*/ 2627409 h 2627409"/>
                <a:gd name="connsiteX3" fmla="*/ 0 w 5081687"/>
                <a:gd name="connsiteY3" fmla="*/ 1188441 h 2627409"/>
                <a:gd name="connsiteX4" fmla="*/ 1514099 w 5081687"/>
                <a:gd name="connsiteY4" fmla="*/ 30851 h 2627409"/>
                <a:gd name="connsiteX0" fmla="*/ 1514099 w 5081687"/>
                <a:gd name="connsiteY0" fmla="*/ 37481 h 2634039"/>
                <a:gd name="connsiteX1" fmla="*/ 5081687 w 5081687"/>
                <a:gd name="connsiteY1" fmla="*/ 1478598 h 2634039"/>
                <a:gd name="connsiteX2" fmla="*/ 3569437 w 5081687"/>
                <a:gd name="connsiteY2" fmla="*/ 2634039 h 2634039"/>
                <a:gd name="connsiteX3" fmla="*/ 0 w 5081687"/>
                <a:gd name="connsiteY3" fmla="*/ 1195071 h 2634039"/>
                <a:gd name="connsiteX4" fmla="*/ 1514099 w 5081687"/>
                <a:gd name="connsiteY4" fmla="*/ 37481 h 2634039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484281"/>
                <a:gd name="connsiteY0" fmla="*/ 37481 h 1567805"/>
                <a:gd name="connsiteX1" fmla="*/ 5081687 w 5484281"/>
                <a:gd name="connsiteY1" fmla="*/ 1478598 h 1567805"/>
                <a:gd name="connsiteX2" fmla="*/ 5005487 w 5484281"/>
                <a:gd name="connsiteY2" fmla="*/ 1567805 h 1567805"/>
                <a:gd name="connsiteX3" fmla="*/ 0 w 5484281"/>
                <a:gd name="connsiteY3" fmla="*/ 1195071 h 1567805"/>
                <a:gd name="connsiteX4" fmla="*/ 1514099 w 5484281"/>
                <a:gd name="connsiteY4" fmla="*/ 37481 h 1567805"/>
                <a:gd name="connsiteX0" fmla="*/ 225805 w 4195987"/>
                <a:gd name="connsiteY0" fmla="*/ 37481 h 1567805"/>
                <a:gd name="connsiteX1" fmla="*/ 3793393 w 4195987"/>
                <a:gd name="connsiteY1" fmla="*/ 1478598 h 1567805"/>
                <a:gd name="connsiteX2" fmla="*/ 3717193 w 4195987"/>
                <a:gd name="connsiteY2" fmla="*/ 1567805 h 1567805"/>
                <a:gd name="connsiteX3" fmla="*/ 217240 w 4195987"/>
                <a:gd name="connsiteY3" fmla="*/ 158248 h 1567805"/>
                <a:gd name="connsiteX4" fmla="*/ 225805 w 4195987"/>
                <a:gd name="connsiteY4" fmla="*/ 37481 h 1567805"/>
                <a:gd name="connsiteX0" fmla="*/ 8564 w 3978746"/>
                <a:gd name="connsiteY0" fmla="*/ 37481 h 1567805"/>
                <a:gd name="connsiteX1" fmla="*/ 3576152 w 3978746"/>
                <a:gd name="connsiteY1" fmla="*/ 1478598 h 1567805"/>
                <a:gd name="connsiteX2" fmla="*/ 3499952 w 3978746"/>
                <a:gd name="connsiteY2" fmla="*/ 1567805 h 1567805"/>
                <a:gd name="connsiteX3" fmla="*/ -1 w 3978746"/>
                <a:gd name="connsiteY3" fmla="*/ 158248 h 1567805"/>
                <a:gd name="connsiteX4" fmla="*/ 8564 w 3978746"/>
                <a:gd name="connsiteY4" fmla="*/ 37481 h 1567805"/>
                <a:gd name="connsiteX0" fmla="*/ 8565 w 3576153"/>
                <a:gd name="connsiteY0" fmla="*/ 37481 h 1567805"/>
                <a:gd name="connsiteX1" fmla="*/ 3576153 w 3576153"/>
                <a:gd name="connsiteY1" fmla="*/ 1478598 h 1567805"/>
                <a:gd name="connsiteX2" fmla="*/ 3499953 w 3576153"/>
                <a:gd name="connsiteY2" fmla="*/ 1567805 h 1567805"/>
                <a:gd name="connsiteX3" fmla="*/ 0 w 3576153"/>
                <a:gd name="connsiteY3" fmla="*/ 158248 h 1567805"/>
                <a:gd name="connsiteX4" fmla="*/ 8565 w 3576153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95666 w 3567588"/>
                <a:gd name="connsiteY3" fmla="*/ 114128 h 1567805"/>
                <a:gd name="connsiteX4" fmla="*/ 0 w 3567588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8808 w 3567588"/>
                <a:gd name="connsiteY3" fmla="*/ 172955 h 1567805"/>
                <a:gd name="connsiteX4" fmla="*/ 0 w 3567588"/>
                <a:gd name="connsiteY4" fmla="*/ 37481 h 1567805"/>
                <a:gd name="connsiteX0" fmla="*/ 31545 w 3599133"/>
                <a:gd name="connsiteY0" fmla="*/ 37481 h 1567805"/>
                <a:gd name="connsiteX1" fmla="*/ 3599133 w 3599133"/>
                <a:gd name="connsiteY1" fmla="*/ 1478598 h 1567805"/>
                <a:gd name="connsiteX2" fmla="*/ 3522933 w 3599133"/>
                <a:gd name="connsiteY2" fmla="*/ 1567805 h 1567805"/>
                <a:gd name="connsiteX3" fmla="*/ 0 w 3599133"/>
                <a:gd name="connsiteY3" fmla="*/ 518849 h 1567805"/>
                <a:gd name="connsiteX4" fmla="*/ 31545 w 3599133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0 w 3634842"/>
                <a:gd name="connsiteY0" fmla="*/ 47711 h 1262033"/>
                <a:gd name="connsiteX1" fmla="*/ 3634842 w 3634842"/>
                <a:gd name="connsiteY1" fmla="*/ 1172826 h 1262033"/>
                <a:gd name="connsiteX2" fmla="*/ 3558642 w 3634842"/>
                <a:gd name="connsiteY2" fmla="*/ 1262033 h 1262033"/>
                <a:gd name="connsiteX3" fmla="*/ 45798 w 3634842"/>
                <a:gd name="connsiteY3" fmla="*/ 217347 h 1262033"/>
                <a:gd name="connsiteX4" fmla="*/ 0 w 3634842"/>
                <a:gd name="connsiteY4" fmla="*/ 47711 h 1262033"/>
                <a:gd name="connsiteX0" fmla="*/ 0 w 3634842"/>
                <a:gd name="connsiteY0" fmla="*/ 131073 h 1345395"/>
                <a:gd name="connsiteX1" fmla="*/ 3634842 w 3634842"/>
                <a:gd name="connsiteY1" fmla="*/ 1256188 h 1345395"/>
                <a:gd name="connsiteX2" fmla="*/ 3558642 w 3634842"/>
                <a:gd name="connsiteY2" fmla="*/ 1345395 h 1345395"/>
                <a:gd name="connsiteX3" fmla="*/ 45798 w 3634842"/>
                <a:gd name="connsiteY3" fmla="*/ 300709 h 1345395"/>
                <a:gd name="connsiteX4" fmla="*/ 0 w 3634842"/>
                <a:gd name="connsiteY4" fmla="*/ 131073 h 1345395"/>
                <a:gd name="connsiteX0" fmla="*/ 0 w 3634842"/>
                <a:gd name="connsiteY0" fmla="*/ 131073 h 1345395"/>
                <a:gd name="connsiteX1" fmla="*/ 3634842 w 3634842"/>
                <a:gd name="connsiteY1" fmla="*/ 1256188 h 1345395"/>
                <a:gd name="connsiteX2" fmla="*/ 3558642 w 3634842"/>
                <a:gd name="connsiteY2" fmla="*/ 1345395 h 1345395"/>
                <a:gd name="connsiteX3" fmla="*/ 42160 w 3634842"/>
                <a:gd name="connsiteY3" fmla="*/ 309947 h 1345395"/>
                <a:gd name="connsiteX4" fmla="*/ 0 w 3634842"/>
                <a:gd name="connsiteY4" fmla="*/ 131073 h 1345395"/>
                <a:gd name="connsiteX0" fmla="*/ 0 w 3634842"/>
                <a:gd name="connsiteY0" fmla="*/ 132118 h 1333629"/>
                <a:gd name="connsiteX1" fmla="*/ 3634842 w 3634842"/>
                <a:gd name="connsiteY1" fmla="*/ 1244422 h 1333629"/>
                <a:gd name="connsiteX2" fmla="*/ 3558642 w 3634842"/>
                <a:gd name="connsiteY2" fmla="*/ 1333629 h 1333629"/>
                <a:gd name="connsiteX3" fmla="*/ 42160 w 3634842"/>
                <a:gd name="connsiteY3" fmla="*/ 298181 h 1333629"/>
                <a:gd name="connsiteX4" fmla="*/ 0 w 3634842"/>
                <a:gd name="connsiteY4" fmla="*/ 132118 h 1333629"/>
                <a:gd name="connsiteX0" fmla="*/ 0 w 3628116"/>
                <a:gd name="connsiteY0" fmla="*/ 130386 h 1353250"/>
                <a:gd name="connsiteX1" fmla="*/ 3628116 w 3628116"/>
                <a:gd name="connsiteY1" fmla="*/ 1264043 h 1353250"/>
                <a:gd name="connsiteX2" fmla="*/ 3551916 w 3628116"/>
                <a:gd name="connsiteY2" fmla="*/ 1353250 h 1353250"/>
                <a:gd name="connsiteX3" fmla="*/ 35434 w 3628116"/>
                <a:gd name="connsiteY3" fmla="*/ 317802 h 1353250"/>
                <a:gd name="connsiteX4" fmla="*/ 0 w 3628116"/>
                <a:gd name="connsiteY4" fmla="*/ 130386 h 1353250"/>
                <a:gd name="connsiteX0" fmla="*/ 0 w 3621391"/>
                <a:gd name="connsiteY0" fmla="*/ 131420 h 1341473"/>
                <a:gd name="connsiteX1" fmla="*/ 3621391 w 3621391"/>
                <a:gd name="connsiteY1" fmla="*/ 1252266 h 1341473"/>
                <a:gd name="connsiteX2" fmla="*/ 3545191 w 3621391"/>
                <a:gd name="connsiteY2" fmla="*/ 1341473 h 1341473"/>
                <a:gd name="connsiteX3" fmla="*/ 28709 w 3621391"/>
                <a:gd name="connsiteY3" fmla="*/ 306025 h 1341473"/>
                <a:gd name="connsiteX4" fmla="*/ 0 w 3621391"/>
                <a:gd name="connsiteY4" fmla="*/ 131420 h 1341473"/>
                <a:gd name="connsiteX0" fmla="*/ 0 w 3621391"/>
                <a:gd name="connsiteY0" fmla="*/ 131420 h 1341473"/>
                <a:gd name="connsiteX1" fmla="*/ 3621391 w 3621391"/>
                <a:gd name="connsiteY1" fmla="*/ 1252266 h 1341473"/>
                <a:gd name="connsiteX2" fmla="*/ 3545191 w 3621391"/>
                <a:gd name="connsiteY2" fmla="*/ 1341473 h 1341473"/>
                <a:gd name="connsiteX3" fmla="*/ 35435 w 3621391"/>
                <a:gd name="connsiteY3" fmla="*/ 310295 h 1341473"/>
                <a:gd name="connsiteX4" fmla="*/ 0 w 3621391"/>
                <a:gd name="connsiteY4" fmla="*/ 131420 h 1341473"/>
                <a:gd name="connsiteX0" fmla="*/ 0 w 3628116"/>
                <a:gd name="connsiteY0" fmla="*/ 131420 h 1341473"/>
                <a:gd name="connsiteX1" fmla="*/ 3628116 w 3628116"/>
                <a:gd name="connsiteY1" fmla="*/ 1252266 h 1341473"/>
                <a:gd name="connsiteX2" fmla="*/ 3551916 w 3628116"/>
                <a:gd name="connsiteY2" fmla="*/ 1341473 h 1341473"/>
                <a:gd name="connsiteX3" fmla="*/ 42160 w 3628116"/>
                <a:gd name="connsiteY3" fmla="*/ 310295 h 1341473"/>
                <a:gd name="connsiteX4" fmla="*/ 0 w 3628116"/>
                <a:gd name="connsiteY4" fmla="*/ 131420 h 1341473"/>
                <a:gd name="connsiteX0" fmla="*/ 0 w 3628116"/>
                <a:gd name="connsiteY0" fmla="*/ 131420 h 1341473"/>
                <a:gd name="connsiteX1" fmla="*/ 3628116 w 3628116"/>
                <a:gd name="connsiteY1" fmla="*/ 1252266 h 1341473"/>
                <a:gd name="connsiteX2" fmla="*/ 3551916 w 3628116"/>
                <a:gd name="connsiteY2" fmla="*/ 1341473 h 1341473"/>
                <a:gd name="connsiteX3" fmla="*/ 52249 w 3628116"/>
                <a:gd name="connsiteY3" fmla="*/ 318837 h 1341473"/>
                <a:gd name="connsiteX4" fmla="*/ 0 w 3628116"/>
                <a:gd name="connsiteY4" fmla="*/ 131420 h 1341473"/>
                <a:gd name="connsiteX0" fmla="*/ 0 w 3628116"/>
                <a:gd name="connsiteY0" fmla="*/ 132118 h 1333629"/>
                <a:gd name="connsiteX1" fmla="*/ 3628116 w 3628116"/>
                <a:gd name="connsiteY1" fmla="*/ 1244422 h 1333629"/>
                <a:gd name="connsiteX2" fmla="*/ 3551916 w 3628116"/>
                <a:gd name="connsiteY2" fmla="*/ 1333629 h 1333629"/>
                <a:gd name="connsiteX3" fmla="*/ 52249 w 3628116"/>
                <a:gd name="connsiteY3" fmla="*/ 310993 h 1333629"/>
                <a:gd name="connsiteX4" fmla="*/ 0 w 3628116"/>
                <a:gd name="connsiteY4" fmla="*/ 132118 h 1333629"/>
                <a:gd name="connsiteX0" fmla="*/ 0 w 3628116"/>
                <a:gd name="connsiteY0" fmla="*/ 132118 h 1333629"/>
                <a:gd name="connsiteX1" fmla="*/ 3628116 w 3628116"/>
                <a:gd name="connsiteY1" fmla="*/ 1244422 h 1333629"/>
                <a:gd name="connsiteX2" fmla="*/ 3551916 w 3628116"/>
                <a:gd name="connsiteY2" fmla="*/ 1333629 h 1333629"/>
                <a:gd name="connsiteX3" fmla="*/ 52249 w 3628116"/>
                <a:gd name="connsiteY3" fmla="*/ 310993 h 1333629"/>
                <a:gd name="connsiteX4" fmla="*/ 0 w 3628116"/>
                <a:gd name="connsiteY4" fmla="*/ 132118 h 1333629"/>
                <a:gd name="connsiteX0" fmla="*/ 0 w 3628116"/>
                <a:gd name="connsiteY0" fmla="*/ 132118 h 1333629"/>
                <a:gd name="connsiteX1" fmla="*/ 3628116 w 3628116"/>
                <a:gd name="connsiteY1" fmla="*/ 1244422 h 1333629"/>
                <a:gd name="connsiteX2" fmla="*/ 3551916 w 3628116"/>
                <a:gd name="connsiteY2" fmla="*/ 1333629 h 1333629"/>
                <a:gd name="connsiteX3" fmla="*/ 48886 w 3628116"/>
                <a:gd name="connsiteY3" fmla="*/ 315263 h 1333629"/>
                <a:gd name="connsiteX4" fmla="*/ 0 w 3628116"/>
                <a:gd name="connsiteY4" fmla="*/ 132118 h 1333629"/>
                <a:gd name="connsiteX0" fmla="*/ 0 w 3624754"/>
                <a:gd name="connsiteY0" fmla="*/ 132823 h 1325794"/>
                <a:gd name="connsiteX1" fmla="*/ 3624754 w 3624754"/>
                <a:gd name="connsiteY1" fmla="*/ 1236587 h 1325794"/>
                <a:gd name="connsiteX2" fmla="*/ 3548554 w 3624754"/>
                <a:gd name="connsiteY2" fmla="*/ 1325794 h 1325794"/>
                <a:gd name="connsiteX3" fmla="*/ 45524 w 3624754"/>
                <a:gd name="connsiteY3" fmla="*/ 307428 h 1325794"/>
                <a:gd name="connsiteX4" fmla="*/ 0 w 3624754"/>
                <a:gd name="connsiteY4" fmla="*/ 132823 h 1325794"/>
                <a:gd name="connsiteX0" fmla="*/ 0 w 3631479"/>
                <a:gd name="connsiteY0" fmla="*/ 132823 h 1325794"/>
                <a:gd name="connsiteX1" fmla="*/ 3631479 w 3631479"/>
                <a:gd name="connsiteY1" fmla="*/ 1236587 h 1325794"/>
                <a:gd name="connsiteX2" fmla="*/ 3555279 w 3631479"/>
                <a:gd name="connsiteY2" fmla="*/ 1325794 h 1325794"/>
                <a:gd name="connsiteX3" fmla="*/ 52249 w 3631479"/>
                <a:gd name="connsiteY3" fmla="*/ 307428 h 1325794"/>
                <a:gd name="connsiteX4" fmla="*/ 0 w 3631479"/>
                <a:gd name="connsiteY4" fmla="*/ 132823 h 1325794"/>
                <a:gd name="connsiteX0" fmla="*/ 38545 w 3579230"/>
                <a:gd name="connsiteY0" fmla="*/ 124506 h 1424234"/>
                <a:gd name="connsiteX1" fmla="*/ 3579230 w 3579230"/>
                <a:gd name="connsiteY1" fmla="*/ 1335027 h 1424234"/>
                <a:gd name="connsiteX2" fmla="*/ 3503030 w 3579230"/>
                <a:gd name="connsiteY2" fmla="*/ 1424234 h 1424234"/>
                <a:gd name="connsiteX3" fmla="*/ 0 w 3579230"/>
                <a:gd name="connsiteY3" fmla="*/ 405868 h 1424234"/>
                <a:gd name="connsiteX4" fmla="*/ 38545 w 3579230"/>
                <a:gd name="connsiteY4" fmla="*/ 124506 h 1424234"/>
                <a:gd name="connsiteX0" fmla="*/ 0 w 3621390"/>
                <a:gd name="connsiteY0" fmla="*/ 132470 h 1329711"/>
                <a:gd name="connsiteX1" fmla="*/ 3621390 w 3621390"/>
                <a:gd name="connsiteY1" fmla="*/ 1240504 h 1329711"/>
                <a:gd name="connsiteX2" fmla="*/ 3545190 w 3621390"/>
                <a:gd name="connsiteY2" fmla="*/ 1329711 h 1329711"/>
                <a:gd name="connsiteX3" fmla="*/ 42160 w 3621390"/>
                <a:gd name="connsiteY3" fmla="*/ 311345 h 1329711"/>
                <a:gd name="connsiteX4" fmla="*/ 0 w 3621390"/>
                <a:gd name="connsiteY4" fmla="*/ 132470 h 1329711"/>
                <a:gd name="connsiteX0" fmla="*/ 0 w 3628115"/>
                <a:gd name="connsiteY0" fmla="*/ 132116 h 1333629"/>
                <a:gd name="connsiteX1" fmla="*/ 3628115 w 3628115"/>
                <a:gd name="connsiteY1" fmla="*/ 1244422 h 1333629"/>
                <a:gd name="connsiteX2" fmla="*/ 3551915 w 3628115"/>
                <a:gd name="connsiteY2" fmla="*/ 1333629 h 1333629"/>
                <a:gd name="connsiteX3" fmla="*/ 48885 w 3628115"/>
                <a:gd name="connsiteY3" fmla="*/ 315263 h 1333629"/>
                <a:gd name="connsiteX4" fmla="*/ 0 w 3628115"/>
                <a:gd name="connsiteY4" fmla="*/ 132116 h 1333629"/>
                <a:gd name="connsiteX0" fmla="*/ 0 w 3628115"/>
                <a:gd name="connsiteY0" fmla="*/ 132118 h 1342171"/>
                <a:gd name="connsiteX1" fmla="*/ 3628115 w 3628115"/>
                <a:gd name="connsiteY1" fmla="*/ 1244424 h 1342171"/>
                <a:gd name="connsiteX2" fmla="*/ 3548554 w 3628115"/>
                <a:gd name="connsiteY2" fmla="*/ 1342171 h 1342171"/>
                <a:gd name="connsiteX3" fmla="*/ 48885 w 3628115"/>
                <a:gd name="connsiteY3" fmla="*/ 315265 h 1342171"/>
                <a:gd name="connsiteX4" fmla="*/ 0 w 3628115"/>
                <a:gd name="connsiteY4" fmla="*/ 132118 h 1342171"/>
                <a:gd name="connsiteX0" fmla="*/ 0 w 3594487"/>
                <a:gd name="connsiteY0" fmla="*/ 138732 h 1271920"/>
                <a:gd name="connsiteX1" fmla="*/ 3594487 w 3594487"/>
                <a:gd name="connsiteY1" fmla="*/ 1174173 h 1271920"/>
                <a:gd name="connsiteX2" fmla="*/ 3514926 w 3594487"/>
                <a:gd name="connsiteY2" fmla="*/ 1271920 h 1271920"/>
                <a:gd name="connsiteX3" fmla="*/ 15257 w 3594487"/>
                <a:gd name="connsiteY3" fmla="*/ 245014 h 1271920"/>
                <a:gd name="connsiteX4" fmla="*/ 0 w 3594487"/>
                <a:gd name="connsiteY4" fmla="*/ 138732 h 1271920"/>
                <a:gd name="connsiteX0" fmla="*/ 0 w 3594487"/>
                <a:gd name="connsiteY0" fmla="*/ 138732 h 1174172"/>
                <a:gd name="connsiteX1" fmla="*/ 3594487 w 3594487"/>
                <a:gd name="connsiteY1" fmla="*/ 1174173 h 1174172"/>
                <a:gd name="connsiteX2" fmla="*/ 2795304 w 3594487"/>
                <a:gd name="connsiteY2" fmla="*/ 1084027 h 1174172"/>
                <a:gd name="connsiteX3" fmla="*/ 15257 w 3594487"/>
                <a:gd name="connsiteY3" fmla="*/ 245014 h 1174172"/>
                <a:gd name="connsiteX4" fmla="*/ 0 w 3594487"/>
                <a:gd name="connsiteY4" fmla="*/ 138732 h 1174172"/>
                <a:gd name="connsiteX0" fmla="*/ 0 w 2834513"/>
                <a:gd name="connsiteY0" fmla="*/ 152209 h 1097503"/>
                <a:gd name="connsiteX1" fmla="*/ 2834513 w 2834513"/>
                <a:gd name="connsiteY1" fmla="*/ 1051001 h 1097503"/>
                <a:gd name="connsiteX2" fmla="*/ 2795304 w 2834513"/>
                <a:gd name="connsiteY2" fmla="*/ 1097504 h 1097503"/>
                <a:gd name="connsiteX3" fmla="*/ 15257 w 2834513"/>
                <a:gd name="connsiteY3" fmla="*/ 258491 h 1097503"/>
                <a:gd name="connsiteX4" fmla="*/ 0 w 2834513"/>
                <a:gd name="connsiteY4" fmla="*/ 152209 h 1097503"/>
                <a:gd name="connsiteX0" fmla="*/ 0 w 2884954"/>
                <a:gd name="connsiteY0" fmla="*/ 155019 h 1100315"/>
                <a:gd name="connsiteX1" fmla="*/ 2884954 w 2884954"/>
                <a:gd name="connsiteY1" fmla="*/ 1028188 h 1100315"/>
                <a:gd name="connsiteX2" fmla="*/ 2795304 w 2884954"/>
                <a:gd name="connsiteY2" fmla="*/ 1100314 h 1100315"/>
                <a:gd name="connsiteX3" fmla="*/ 15257 w 2884954"/>
                <a:gd name="connsiteY3" fmla="*/ 261301 h 1100315"/>
                <a:gd name="connsiteX4" fmla="*/ 0 w 2884954"/>
                <a:gd name="connsiteY4" fmla="*/ 155019 h 1100315"/>
                <a:gd name="connsiteX0" fmla="*/ 0 w 2884954"/>
                <a:gd name="connsiteY0" fmla="*/ 155021 h 1100315"/>
                <a:gd name="connsiteX1" fmla="*/ 2884954 w 2884954"/>
                <a:gd name="connsiteY1" fmla="*/ 1028190 h 1100315"/>
                <a:gd name="connsiteX2" fmla="*/ 2795304 w 2884954"/>
                <a:gd name="connsiteY2" fmla="*/ 1100316 h 1100315"/>
                <a:gd name="connsiteX3" fmla="*/ 15257 w 2884954"/>
                <a:gd name="connsiteY3" fmla="*/ 261303 h 1100315"/>
                <a:gd name="connsiteX4" fmla="*/ 0 w 2884954"/>
                <a:gd name="connsiteY4" fmla="*/ 155021 h 1100315"/>
                <a:gd name="connsiteX0" fmla="*/ 0 w 2884954"/>
                <a:gd name="connsiteY0" fmla="*/ 155021 h 1100317"/>
                <a:gd name="connsiteX1" fmla="*/ 2884954 w 2884954"/>
                <a:gd name="connsiteY1" fmla="*/ 1028190 h 1100317"/>
                <a:gd name="connsiteX2" fmla="*/ 2795304 w 2884954"/>
                <a:gd name="connsiteY2" fmla="*/ 1100316 h 1100317"/>
                <a:gd name="connsiteX3" fmla="*/ 15257 w 2884954"/>
                <a:gd name="connsiteY3" fmla="*/ 261303 h 1100317"/>
                <a:gd name="connsiteX4" fmla="*/ 0 w 2884954"/>
                <a:gd name="connsiteY4" fmla="*/ 155021 h 1100317"/>
                <a:gd name="connsiteX0" fmla="*/ 0 w 2884954"/>
                <a:gd name="connsiteY0" fmla="*/ 149495 h 1146034"/>
                <a:gd name="connsiteX1" fmla="*/ 2884954 w 2884954"/>
                <a:gd name="connsiteY1" fmla="*/ 1073908 h 1146034"/>
                <a:gd name="connsiteX2" fmla="*/ 2795304 w 2884954"/>
                <a:gd name="connsiteY2" fmla="*/ 1146034 h 1146034"/>
                <a:gd name="connsiteX3" fmla="*/ 15257 w 2884954"/>
                <a:gd name="connsiteY3" fmla="*/ 307021 h 1146034"/>
                <a:gd name="connsiteX4" fmla="*/ 0 w 2884954"/>
                <a:gd name="connsiteY4" fmla="*/ 149495 h 1146034"/>
                <a:gd name="connsiteX0" fmla="*/ 0 w 2884954"/>
                <a:gd name="connsiteY0" fmla="*/ 73142 h 1069681"/>
                <a:gd name="connsiteX1" fmla="*/ 2884954 w 2884954"/>
                <a:gd name="connsiteY1" fmla="*/ 997555 h 1069681"/>
                <a:gd name="connsiteX2" fmla="*/ 2795304 w 2884954"/>
                <a:gd name="connsiteY2" fmla="*/ 1069681 h 1069681"/>
                <a:gd name="connsiteX3" fmla="*/ 15257 w 2884954"/>
                <a:gd name="connsiteY3" fmla="*/ 230668 h 1069681"/>
                <a:gd name="connsiteX4" fmla="*/ 0 w 2884954"/>
                <a:gd name="connsiteY4" fmla="*/ 73142 h 1069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4954" h="1069681">
                  <a:moveTo>
                    <a:pt x="0" y="73142"/>
                  </a:moveTo>
                  <a:cubicBezTo>
                    <a:pt x="1627056" y="-242967"/>
                    <a:pt x="2494144" y="540284"/>
                    <a:pt x="2884954" y="997555"/>
                  </a:cubicBezTo>
                  <a:lnTo>
                    <a:pt x="2795304" y="1069681"/>
                  </a:lnTo>
                  <a:cubicBezTo>
                    <a:pt x="2327987" y="641127"/>
                    <a:pt x="1657221" y="-115964"/>
                    <a:pt x="15257" y="230668"/>
                  </a:cubicBezTo>
                  <a:cubicBezTo>
                    <a:pt x="-1038" y="169619"/>
                    <a:pt x="16295" y="134191"/>
                    <a:pt x="0" y="73142"/>
                  </a:cubicBezTo>
                  <a:close/>
                </a:path>
              </a:pathLst>
            </a:custGeom>
            <a:grpFill/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出自【趣你的PPT】(微信:qunideppt)：最优质的PPT资源库"/>
            <p:cNvSpPr/>
            <p:nvPr/>
          </p:nvSpPr>
          <p:spPr>
            <a:xfrm rot="20263630">
              <a:off x="7106687" y="3203875"/>
              <a:ext cx="639964" cy="503052"/>
            </a:xfrm>
            <a:custGeom>
              <a:avLst/>
              <a:gdLst>
                <a:gd name="connsiteX0" fmla="*/ 0 w 648072"/>
                <a:gd name="connsiteY0" fmla="*/ 0 h 272033"/>
                <a:gd name="connsiteX1" fmla="*/ 648072 w 648072"/>
                <a:gd name="connsiteY1" fmla="*/ 0 h 272033"/>
                <a:gd name="connsiteX2" fmla="*/ 648072 w 648072"/>
                <a:gd name="connsiteY2" fmla="*/ 272033 h 272033"/>
                <a:gd name="connsiteX3" fmla="*/ 0 w 648072"/>
                <a:gd name="connsiteY3" fmla="*/ 272033 h 272033"/>
                <a:gd name="connsiteX4" fmla="*/ 0 w 648072"/>
                <a:gd name="connsiteY4" fmla="*/ 0 h 272033"/>
                <a:gd name="connsiteX0" fmla="*/ 0 w 1073188"/>
                <a:gd name="connsiteY0" fmla="*/ 641684 h 913717"/>
                <a:gd name="connsiteX1" fmla="*/ 1073188 w 1073188"/>
                <a:gd name="connsiteY1" fmla="*/ 0 h 913717"/>
                <a:gd name="connsiteX2" fmla="*/ 648072 w 1073188"/>
                <a:gd name="connsiteY2" fmla="*/ 913717 h 913717"/>
                <a:gd name="connsiteX3" fmla="*/ 0 w 1073188"/>
                <a:gd name="connsiteY3" fmla="*/ 913717 h 913717"/>
                <a:gd name="connsiteX4" fmla="*/ 0 w 1073188"/>
                <a:gd name="connsiteY4" fmla="*/ 641684 h 913717"/>
                <a:gd name="connsiteX0" fmla="*/ 64169 w 1137357"/>
                <a:gd name="connsiteY0" fmla="*/ 641684 h 913717"/>
                <a:gd name="connsiteX1" fmla="*/ 1137357 w 1137357"/>
                <a:gd name="connsiteY1" fmla="*/ 0 h 913717"/>
                <a:gd name="connsiteX2" fmla="*/ 712241 w 1137357"/>
                <a:gd name="connsiteY2" fmla="*/ 913717 h 913717"/>
                <a:gd name="connsiteX3" fmla="*/ 0 w 1137357"/>
                <a:gd name="connsiteY3" fmla="*/ 705170 h 913717"/>
                <a:gd name="connsiteX4" fmla="*/ 64169 w 1137357"/>
                <a:gd name="connsiteY4" fmla="*/ 641684 h 913717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53135 w 1137357"/>
                <a:gd name="connsiteY2" fmla="*/ 87548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4976"/>
                <a:gd name="connsiteY0" fmla="*/ 641684 h 705170"/>
                <a:gd name="connsiteX1" fmla="*/ 1134976 w 1134976"/>
                <a:gd name="connsiteY1" fmla="*/ 0 h 705170"/>
                <a:gd name="connsiteX2" fmla="*/ 1097251 w 1134976"/>
                <a:gd name="connsiteY2" fmla="*/ 55464 h 705170"/>
                <a:gd name="connsiteX3" fmla="*/ 0 w 1134976"/>
                <a:gd name="connsiteY3" fmla="*/ 705170 h 705170"/>
                <a:gd name="connsiteX4" fmla="*/ 64169 w 1134976"/>
                <a:gd name="connsiteY4" fmla="*/ 641684 h 705170"/>
                <a:gd name="connsiteX0" fmla="*/ 64169 w 1142119"/>
                <a:gd name="connsiteY0" fmla="*/ 648828 h 712314"/>
                <a:gd name="connsiteX1" fmla="*/ 1142119 w 1142119"/>
                <a:gd name="connsiteY1" fmla="*/ 0 h 712314"/>
                <a:gd name="connsiteX2" fmla="*/ 1097251 w 1142119"/>
                <a:gd name="connsiteY2" fmla="*/ 62608 h 712314"/>
                <a:gd name="connsiteX3" fmla="*/ 0 w 1142119"/>
                <a:gd name="connsiteY3" fmla="*/ 712314 h 712314"/>
                <a:gd name="connsiteX4" fmla="*/ 64169 w 1142119"/>
                <a:gd name="connsiteY4" fmla="*/ 648828 h 712314"/>
                <a:gd name="connsiteX0" fmla="*/ 64169 w 1132594"/>
                <a:gd name="connsiteY0" fmla="*/ 644066 h 707552"/>
                <a:gd name="connsiteX1" fmla="*/ 1132594 w 1132594"/>
                <a:gd name="connsiteY1" fmla="*/ 0 h 707552"/>
                <a:gd name="connsiteX2" fmla="*/ 1097251 w 1132594"/>
                <a:gd name="connsiteY2" fmla="*/ 57846 h 707552"/>
                <a:gd name="connsiteX3" fmla="*/ 0 w 1132594"/>
                <a:gd name="connsiteY3" fmla="*/ 707552 h 707552"/>
                <a:gd name="connsiteX4" fmla="*/ 64169 w 1132594"/>
                <a:gd name="connsiteY4" fmla="*/ 644066 h 707552"/>
                <a:gd name="connsiteX0" fmla="*/ 54644 w 1123069"/>
                <a:gd name="connsiteY0" fmla="*/ 644066 h 700408"/>
                <a:gd name="connsiteX1" fmla="*/ 1123069 w 1123069"/>
                <a:gd name="connsiteY1" fmla="*/ 0 h 700408"/>
                <a:gd name="connsiteX2" fmla="*/ 1087726 w 1123069"/>
                <a:gd name="connsiteY2" fmla="*/ 57846 h 700408"/>
                <a:gd name="connsiteX3" fmla="*/ 0 w 1123069"/>
                <a:gd name="connsiteY3" fmla="*/ 700408 h 700408"/>
                <a:gd name="connsiteX4" fmla="*/ 54644 w 1123069"/>
                <a:gd name="connsiteY4" fmla="*/ 644066 h 700408"/>
                <a:gd name="connsiteX0" fmla="*/ 52262 w 1120687"/>
                <a:gd name="connsiteY0" fmla="*/ 644066 h 695645"/>
                <a:gd name="connsiteX1" fmla="*/ 1120687 w 1120687"/>
                <a:gd name="connsiteY1" fmla="*/ 0 h 695645"/>
                <a:gd name="connsiteX2" fmla="*/ 1085344 w 1120687"/>
                <a:gd name="connsiteY2" fmla="*/ 57846 h 695645"/>
                <a:gd name="connsiteX3" fmla="*/ 0 w 1120687"/>
                <a:gd name="connsiteY3" fmla="*/ 695645 h 695645"/>
                <a:gd name="connsiteX4" fmla="*/ 52262 w 1120687"/>
                <a:gd name="connsiteY4" fmla="*/ 644066 h 695645"/>
                <a:gd name="connsiteX0" fmla="*/ 52262 w 1120687"/>
                <a:gd name="connsiteY0" fmla="*/ 644066 h 695645"/>
                <a:gd name="connsiteX1" fmla="*/ 1120687 w 1120687"/>
                <a:gd name="connsiteY1" fmla="*/ 0 h 695645"/>
                <a:gd name="connsiteX2" fmla="*/ 1114300 w 1120687"/>
                <a:gd name="connsiteY2" fmla="*/ 69706 h 695645"/>
                <a:gd name="connsiteX3" fmla="*/ 0 w 1120687"/>
                <a:gd name="connsiteY3" fmla="*/ 695645 h 695645"/>
                <a:gd name="connsiteX4" fmla="*/ 52262 w 1120687"/>
                <a:gd name="connsiteY4" fmla="*/ 644066 h 695645"/>
                <a:gd name="connsiteX0" fmla="*/ 0 w 1068425"/>
                <a:gd name="connsiteY0" fmla="*/ 644066 h 644066"/>
                <a:gd name="connsiteX1" fmla="*/ 1068425 w 1068425"/>
                <a:gd name="connsiteY1" fmla="*/ 0 h 644066"/>
                <a:gd name="connsiteX2" fmla="*/ 1062038 w 1068425"/>
                <a:gd name="connsiteY2" fmla="*/ 69706 h 644066"/>
                <a:gd name="connsiteX3" fmla="*/ 273073 w 1068425"/>
                <a:gd name="connsiteY3" fmla="*/ 626009 h 644066"/>
                <a:gd name="connsiteX4" fmla="*/ 0 w 1068425"/>
                <a:gd name="connsiteY4" fmla="*/ 644066 h 644066"/>
                <a:gd name="connsiteX0" fmla="*/ 74972 w 795352"/>
                <a:gd name="connsiteY0" fmla="*/ 482288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74972 w 795352"/>
                <a:gd name="connsiteY4" fmla="*/ 482288 h 626009"/>
                <a:gd name="connsiteX0" fmla="*/ 5474 w 795352"/>
                <a:gd name="connsiteY0" fmla="*/ 532723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5474 w 795352"/>
                <a:gd name="connsiteY4" fmla="*/ 532723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0 w 786948"/>
                <a:gd name="connsiteY0" fmla="*/ 525572 h 710086"/>
                <a:gd name="connsiteX1" fmla="*/ 786948 w 786948"/>
                <a:gd name="connsiteY1" fmla="*/ 0 h 710086"/>
                <a:gd name="connsiteX2" fmla="*/ 780561 w 786948"/>
                <a:gd name="connsiteY2" fmla="*/ 69706 h 710086"/>
                <a:gd name="connsiteX3" fmla="*/ 52371 w 786948"/>
                <a:gd name="connsiteY3" fmla="*/ 710086 h 710086"/>
                <a:gd name="connsiteX4" fmla="*/ 0 w 786948"/>
                <a:gd name="connsiteY4" fmla="*/ 525572 h 710086"/>
                <a:gd name="connsiteX0" fmla="*/ 10209 w 797157"/>
                <a:gd name="connsiteY0" fmla="*/ 525572 h 630417"/>
                <a:gd name="connsiteX1" fmla="*/ 797157 w 797157"/>
                <a:gd name="connsiteY1" fmla="*/ 0 h 630417"/>
                <a:gd name="connsiteX2" fmla="*/ 790770 w 797157"/>
                <a:gd name="connsiteY2" fmla="*/ 69706 h 630417"/>
                <a:gd name="connsiteX3" fmla="*/ 0 w 797157"/>
                <a:gd name="connsiteY3" fmla="*/ 630417 h 630417"/>
                <a:gd name="connsiteX4" fmla="*/ 10209 w 797157"/>
                <a:gd name="connsiteY4" fmla="*/ 525572 h 630417"/>
                <a:gd name="connsiteX0" fmla="*/ 0 w 786948"/>
                <a:gd name="connsiteY0" fmla="*/ 525572 h 643052"/>
                <a:gd name="connsiteX1" fmla="*/ 786948 w 786948"/>
                <a:gd name="connsiteY1" fmla="*/ 0 h 643052"/>
                <a:gd name="connsiteX2" fmla="*/ 780561 w 786948"/>
                <a:gd name="connsiteY2" fmla="*/ 69706 h 643052"/>
                <a:gd name="connsiteX3" fmla="*/ 20641 w 786948"/>
                <a:gd name="connsiteY3" fmla="*/ 643052 h 643052"/>
                <a:gd name="connsiteX4" fmla="*/ 0 w 786948"/>
                <a:gd name="connsiteY4" fmla="*/ 525572 h 643052"/>
                <a:gd name="connsiteX0" fmla="*/ 8908 w 795856"/>
                <a:gd name="connsiteY0" fmla="*/ 525572 h 633522"/>
                <a:gd name="connsiteX1" fmla="*/ 795856 w 795856"/>
                <a:gd name="connsiteY1" fmla="*/ 0 h 633522"/>
                <a:gd name="connsiteX2" fmla="*/ 789469 w 795856"/>
                <a:gd name="connsiteY2" fmla="*/ 69706 h 633522"/>
                <a:gd name="connsiteX3" fmla="*/ 0 w 795856"/>
                <a:gd name="connsiteY3" fmla="*/ 633522 h 633522"/>
                <a:gd name="connsiteX4" fmla="*/ 8908 w 795856"/>
                <a:gd name="connsiteY4" fmla="*/ 525572 h 633522"/>
                <a:gd name="connsiteX0" fmla="*/ 12414 w 799362"/>
                <a:gd name="connsiteY0" fmla="*/ 525572 h 629513"/>
                <a:gd name="connsiteX1" fmla="*/ 799362 w 799362"/>
                <a:gd name="connsiteY1" fmla="*/ 0 h 629513"/>
                <a:gd name="connsiteX2" fmla="*/ 792975 w 799362"/>
                <a:gd name="connsiteY2" fmla="*/ 69706 h 629513"/>
                <a:gd name="connsiteX3" fmla="*/ 0 w 799362"/>
                <a:gd name="connsiteY3" fmla="*/ 629513 h 629513"/>
                <a:gd name="connsiteX4" fmla="*/ 12414 w 799362"/>
                <a:gd name="connsiteY4" fmla="*/ 525572 h 629513"/>
                <a:gd name="connsiteX0" fmla="*/ 12414 w 792975"/>
                <a:gd name="connsiteY0" fmla="*/ 520766 h 624707"/>
                <a:gd name="connsiteX1" fmla="*/ 792248 w 792975"/>
                <a:gd name="connsiteY1" fmla="*/ 0 h 624707"/>
                <a:gd name="connsiteX2" fmla="*/ 792975 w 792975"/>
                <a:gd name="connsiteY2" fmla="*/ 64900 h 624707"/>
                <a:gd name="connsiteX3" fmla="*/ 0 w 792975"/>
                <a:gd name="connsiteY3" fmla="*/ 624707 h 624707"/>
                <a:gd name="connsiteX4" fmla="*/ 12414 w 792975"/>
                <a:gd name="connsiteY4" fmla="*/ 520766 h 624707"/>
                <a:gd name="connsiteX0" fmla="*/ 15121 w 792975"/>
                <a:gd name="connsiteY0" fmla="*/ 514156 h 624707"/>
                <a:gd name="connsiteX1" fmla="*/ 792248 w 792975"/>
                <a:gd name="connsiteY1" fmla="*/ 0 h 624707"/>
                <a:gd name="connsiteX2" fmla="*/ 792975 w 792975"/>
                <a:gd name="connsiteY2" fmla="*/ 64900 h 624707"/>
                <a:gd name="connsiteX3" fmla="*/ 0 w 792975"/>
                <a:gd name="connsiteY3" fmla="*/ 624707 h 624707"/>
                <a:gd name="connsiteX4" fmla="*/ 15121 w 792975"/>
                <a:gd name="connsiteY4" fmla="*/ 514156 h 624707"/>
                <a:gd name="connsiteX0" fmla="*/ 0 w 777854"/>
                <a:gd name="connsiteY0" fmla="*/ 514156 h 637342"/>
                <a:gd name="connsiteX1" fmla="*/ 777127 w 777854"/>
                <a:gd name="connsiteY1" fmla="*/ 0 h 637342"/>
                <a:gd name="connsiteX2" fmla="*/ 777854 w 777854"/>
                <a:gd name="connsiteY2" fmla="*/ 64900 h 637342"/>
                <a:gd name="connsiteX3" fmla="*/ 15729 w 777854"/>
                <a:gd name="connsiteY3" fmla="*/ 637342 h 637342"/>
                <a:gd name="connsiteX4" fmla="*/ 0 w 777854"/>
                <a:gd name="connsiteY4" fmla="*/ 514156 h 637342"/>
                <a:gd name="connsiteX0" fmla="*/ 12917 w 790771"/>
                <a:gd name="connsiteY0" fmla="*/ 514156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12917 w 790771"/>
                <a:gd name="connsiteY4" fmla="*/ 514156 h 625609"/>
                <a:gd name="connsiteX0" fmla="*/ 117013 w 790771"/>
                <a:gd name="connsiteY0" fmla="*/ 492460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117013 w 790771"/>
                <a:gd name="connsiteY4" fmla="*/ 492460 h 625609"/>
                <a:gd name="connsiteX0" fmla="*/ 10608 w 790771"/>
                <a:gd name="connsiteY0" fmla="*/ 526077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10608 w 790771"/>
                <a:gd name="connsiteY4" fmla="*/ 526077 h 625609"/>
                <a:gd name="connsiteX0" fmla="*/ 5803 w 790771"/>
                <a:gd name="connsiteY0" fmla="*/ 518962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5803 w 790771"/>
                <a:gd name="connsiteY4" fmla="*/ 518962 h 625609"/>
                <a:gd name="connsiteX0" fmla="*/ 8511 w 790771"/>
                <a:gd name="connsiteY0" fmla="*/ 512351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8511 w 790771"/>
                <a:gd name="connsiteY4" fmla="*/ 512351 h 625609"/>
                <a:gd name="connsiteX0" fmla="*/ 8910 w 791170"/>
                <a:gd name="connsiteY0" fmla="*/ 512351 h 620300"/>
                <a:gd name="connsiteX1" fmla="*/ 790443 w 791170"/>
                <a:gd name="connsiteY1" fmla="*/ 0 h 620300"/>
                <a:gd name="connsiteX2" fmla="*/ 791170 w 791170"/>
                <a:gd name="connsiteY2" fmla="*/ 64900 h 620300"/>
                <a:gd name="connsiteX3" fmla="*/ 0 w 791170"/>
                <a:gd name="connsiteY3" fmla="*/ 620300 h 620300"/>
                <a:gd name="connsiteX4" fmla="*/ 8910 w 791170"/>
                <a:gd name="connsiteY4" fmla="*/ 512351 h 620300"/>
                <a:gd name="connsiteX0" fmla="*/ 151206 w 791170"/>
                <a:gd name="connsiteY0" fmla="*/ 416237 h 620300"/>
                <a:gd name="connsiteX1" fmla="*/ 790443 w 791170"/>
                <a:gd name="connsiteY1" fmla="*/ 0 h 620300"/>
                <a:gd name="connsiteX2" fmla="*/ 791170 w 791170"/>
                <a:gd name="connsiteY2" fmla="*/ 64900 h 620300"/>
                <a:gd name="connsiteX3" fmla="*/ 0 w 791170"/>
                <a:gd name="connsiteY3" fmla="*/ 620300 h 620300"/>
                <a:gd name="connsiteX4" fmla="*/ 151206 w 791170"/>
                <a:gd name="connsiteY4" fmla="*/ 416237 h 620300"/>
                <a:gd name="connsiteX0" fmla="*/ 0 w 639964"/>
                <a:gd name="connsiteY0" fmla="*/ 416237 h 505866"/>
                <a:gd name="connsiteX1" fmla="*/ 639237 w 639964"/>
                <a:gd name="connsiteY1" fmla="*/ 0 h 505866"/>
                <a:gd name="connsiteX2" fmla="*/ 639964 w 639964"/>
                <a:gd name="connsiteY2" fmla="*/ 64900 h 505866"/>
                <a:gd name="connsiteX3" fmla="*/ 21752 w 639964"/>
                <a:gd name="connsiteY3" fmla="*/ 505866 h 505866"/>
                <a:gd name="connsiteX4" fmla="*/ 0 w 639964"/>
                <a:gd name="connsiteY4" fmla="*/ 416237 h 505866"/>
                <a:gd name="connsiteX0" fmla="*/ 0 w 639964"/>
                <a:gd name="connsiteY0" fmla="*/ 416237 h 507460"/>
                <a:gd name="connsiteX1" fmla="*/ 639237 w 639964"/>
                <a:gd name="connsiteY1" fmla="*/ 0 h 507460"/>
                <a:gd name="connsiteX2" fmla="*/ 639964 w 639964"/>
                <a:gd name="connsiteY2" fmla="*/ 64900 h 507460"/>
                <a:gd name="connsiteX3" fmla="*/ 514 w 639964"/>
                <a:gd name="connsiteY3" fmla="*/ 507460 h 507460"/>
                <a:gd name="connsiteX4" fmla="*/ 0 w 639964"/>
                <a:gd name="connsiteY4" fmla="*/ 416237 h 507460"/>
                <a:gd name="connsiteX0" fmla="*/ 3898 w 643862"/>
                <a:gd name="connsiteY0" fmla="*/ 416237 h 505655"/>
                <a:gd name="connsiteX1" fmla="*/ 643135 w 643862"/>
                <a:gd name="connsiteY1" fmla="*/ 0 h 505655"/>
                <a:gd name="connsiteX2" fmla="*/ 643862 w 643862"/>
                <a:gd name="connsiteY2" fmla="*/ 64900 h 505655"/>
                <a:gd name="connsiteX3" fmla="*/ 5 w 643862"/>
                <a:gd name="connsiteY3" fmla="*/ 505655 h 505655"/>
                <a:gd name="connsiteX4" fmla="*/ 3898 w 643862"/>
                <a:gd name="connsiteY4" fmla="*/ 416237 h 505655"/>
                <a:gd name="connsiteX0" fmla="*/ 0 w 639964"/>
                <a:gd name="connsiteY0" fmla="*/ 416237 h 524608"/>
                <a:gd name="connsiteX1" fmla="*/ 639237 w 639964"/>
                <a:gd name="connsiteY1" fmla="*/ 0 h 524608"/>
                <a:gd name="connsiteX2" fmla="*/ 639964 w 639964"/>
                <a:gd name="connsiteY2" fmla="*/ 64900 h 524608"/>
                <a:gd name="connsiteX3" fmla="*/ 42382 w 639964"/>
                <a:gd name="connsiteY3" fmla="*/ 524608 h 524608"/>
                <a:gd name="connsiteX4" fmla="*/ 0 w 639964"/>
                <a:gd name="connsiteY4" fmla="*/ 416237 h 524608"/>
                <a:gd name="connsiteX0" fmla="*/ 0 w 639964"/>
                <a:gd name="connsiteY0" fmla="*/ 416237 h 503052"/>
                <a:gd name="connsiteX1" fmla="*/ 639237 w 639964"/>
                <a:gd name="connsiteY1" fmla="*/ 0 h 503052"/>
                <a:gd name="connsiteX2" fmla="*/ 639964 w 639964"/>
                <a:gd name="connsiteY2" fmla="*/ 64900 h 503052"/>
                <a:gd name="connsiteX3" fmla="*/ 2319 w 639964"/>
                <a:gd name="connsiteY3" fmla="*/ 503052 h 503052"/>
                <a:gd name="connsiteX4" fmla="*/ 0 w 639964"/>
                <a:gd name="connsiteY4" fmla="*/ 416237 h 5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9964" h="503052">
                  <a:moveTo>
                    <a:pt x="0" y="416237"/>
                  </a:moveTo>
                  <a:lnTo>
                    <a:pt x="639237" y="0"/>
                  </a:lnTo>
                  <a:cubicBezTo>
                    <a:pt x="639479" y="21633"/>
                    <a:pt x="639722" y="43267"/>
                    <a:pt x="639964" y="64900"/>
                  </a:cubicBezTo>
                  <a:lnTo>
                    <a:pt x="2319" y="503052"/>
                  </a:lnTo>
                  <a:cubicBezTo>
                    <a:pt x="2148" y="472644"/>
                    <a:pt x="171" y="446645"/>
                    <a:pt x="0" y="416237"/>
                  </a:cubicBezTo>
                  <a:close/>
                </a:path>
              </a:pathLst>
            </a:custGeom>
            <a:grpFill/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" name="Group 15出自【趣你的PPT】(微信:qunideppt)：最优质的PPT资源库"/>
          <p:cNvGrpSpPr/>
          <p:nvPr/>
        </p:nvGrpSpPr>
        <p:grpSpPr>
          <a:xfrm>
            <a:off x="5054264" y="2830087"/>
            <a:ext cx="2765456" cy="1058098"/>
            <a:chOff x="1475414" y="2511442"/>
            <a:chExt cx="3598505" cy="1376834"/>
          </a:xfrm>
          <a:solidFill>
            <a:srgbClr val="C00000"/>
          </a:solidFill>
          <a:effectLst>
            <a:outerShdw blurRad="317500" dist="495300" dir="6600000" algn="tl" rotWithShape="0">
              <a:srgbClr val="FFFFFF">
                <a:lumMod val="75000"/>
                <a:lumOff val="25000"/>
                <a:alpha val="30000"/>
              </a:srgbClr>
            </a:outerShdw>
          </a:effectLst>
        </p:grpSpPr>
        <p:sp>
          <p:nvSpPr>
            <p:cNvPr id="17" name="出自【趣你的PPT】(微信:qunideppt)：最优质的PPT资源库"/>
            <p:cNvSpPr/>
            <p:nvPr/>
          </p:nvSpPr>
          <p:spPr>
            <a:xfrm>
              <a:off x="1475414" y="2511442"/>
              <a:ext cx="3598505" cy="1324707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2336353 w 5081687"/>
                <a:gd name="connsiteY0" fmla="*/ 29053 h 2375599"/>
                <a:gd name="connsiteX1" fmla="*/ 5081687 w 5081687"/>
                <a:gd name="connsiteY1" fmla="*/ 1220158 h 2375599"/>
                <a:gd name="connsiteX2" fmla="*/ 3569437 w 5081687"/>
                <a:gd name="connsiteY2" fmla="*/ 2375599 h 2375599"/>
                <a:gd name="connsiteX3" fmla="*/ 0 w 5081687"/>
                <a:gd name="connsiteY3" fmla="*/ 936631 h 2375599"/>
                <a:gd name="connsiteX4" fmla="*/ 2336353 w 5081687"/>
                <a:gd name="connsiteY4" fmla="*/ 29053 h 237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1687" h="2375599">
                  <a:moveTo>
                    <a:pt x="2336353" y="29053"/>
                  </a:moveTo>
                  <a:cubicBezTo>
                    <a:pt x="3705309" y="-159197"/>
                    <a:pt x="4700222" y="605628"/>
                    <a:pt x="5081687" y="1220158"/>
                  </a:cubicBezTo>
                  <a:cubicBezTo>
                    <a:pt x="4335755" y="1765589"/>
                    <a:pt x="4687755" y="1475334"/>
                    <a:pt x="3569437" y="2375599"/>
                  </a:cubicBezTo>
                  <a:cubicBezTo>
                    <a:pt x="3445116" y="2305749"/>
                    <a:pt x="2324596" y="654056"/>
                    <a:pt x="0" y="936631"/>
                  </a:cubicBezTo>
                  <a:lnTo>
                    <a:pt x="2336353" y="29053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出自【趣你的PPT】(微信:qunideppt)：最优质的PPT资源库"/>
            <p:cNvSpPr/>
            <p:nvPr/>
          </p:nvSpPr>
          <p:spPr>
            <a:xfrm>
              <a:off x="1478894" y="3014020"/>
              <a:ext cx="2526324" cy="874256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1554633 w 5081687"/>
                <a:gd name="connsiteY0" fmla="*/ 19445 h 2608650"/>
                <a:gd name="connsiteX1" fmla="*/ 5081687 w 5081687"/>
                <a:gd name="connsiteY1" fmla="*/ 1453209 h 2608650"/>
                <a:gd name="connsiteX2" fmla="*/ 3569437 w 5081687"/>
                <a:gd name="connsiteY2" fmla="*/ 2608650 h 2608650"/>
                <a:gd name="connsiteX3" fmla="*/ 0 w 5081687"/>
                <a:gd name="connsiteY3" fmla="*/ 1169682 h 2608650"/>
                <a:gd name="connsiteX4" fmla="*/ 1554633 w 5081687"/>
                <a:gd name="connsiteY4" fmla="*/ 19445 h 2608650"/>
                <a:gd name="connsiteX0" fmla="*/ 1514099 w 5081687"/>
                <a:gd name="connsiteY0" fmla="*/ 19342 h 2615900"/>
                <a:gd name="connsiteX1" fmla="*/ 5081687 w 5081687"/>
                <a:gd name="connsiteY1" fmla="*/ 1460459 h 2615900"/>
                <a:gd name="connsiteX2" fmla="*/ 3569437 w 5081687"/>
                <a:gd name="connsiteY2" fmla="*/ 2615900 h 2615900"/>
                <a:gd name="connsiteX3" fmla="*/ 0 w 5081687"/>
                <a:gd name="connsiteY3" fmla="*/ 1176932 h 2615900"/>
                <a:gd name="connsiteX4" fmla="*/ 1514099 w 5081687"/>
                <a:gd name="connsiteY4" fmla="*/ 19342 h 2615900"/>
                <a:gd name="connsiteX0" fmla="*/ 1514099 w 5081687"/>
                <a:gd name="connsiteY0" fmla="*/ 35912 h 2632470"/>
                <a:gd name="connsiteX1" fmla="*/ 5081687 w 5081687"/>
                <a:gd name="connsiteY1" fmla="*/ 1477029 h 2632470"/>
                <a:gd name="connsiteX2" fmla="*/ 3569437 w 5081687"/>
                <a:gd name="connsiteY2" fmla="*/ 2632470 h 2632470"/>
                <a:gd name="connsiteX3" fmla="*/ 0 w 5081687"/>
                <a:gd name="connsiteY3" fmla="*/ 1193502 h 2632470"/>
                <a:gd name="connsiteX4" fmla="*/ 1514099 w 5081687"/>
                <a:gd name="connsiteY4" fmla="*/ 35912 h 2632470"/>
                <a:gd name="connsiteX0" fmla="*/ 1514099 w 5081687"/>
                <a:gd name="connsiteY0" fmla="*/ 35582 h 2632140"/>
                <a:gd name="connsiteX1" fmla="*/ 5081687 w 5081687"/>
                <a:gd name="connsiteY1" fmla="*/ 1476699 h 2632140"/>
                <a:gd name="connsiteX2" fmla="*/ 3569437 w 5081687"/>
                <a:gd name="connsiteY2" fmla="*/ 2632140 h 2632140"/>
                <a:gd name="connsiteX3" fmla="*/ 0 w 5081687"/>
                <a:gd name="connsiteY3" fmla="*/ 1193172 h 2632140"/>
                <a:gd name="connsiteX4" fmla="*/ 1514099 w 5081687"/>
                <a:gd name="connsiteY4" fmla="*/ 35582 h 2632140"/>
                <a:gd name="connsiteX0" fmla="*/ 1514099 w 5081687"/>
                <a:gd name="connsiteY0" fmla="*/ 30851 h 2627409"/>
                <a:gd name="connsiteX1" fmla="*/ 5081687 w 5081687"/>
                <a:gd name="connsiteY1" fmla="*/ 1471968 h 2627409"/>
                <a:gd name="connsiteX2" fmla="*/ 3569437 w 5081687"/>
                <a:gd name="connsiteY2" fmla="*/ 2627409 h 2627409"/>
                <a:gd name="connsiteX3" fmla="*/ 0 w 5081687"/>
                <a:gd name="connsiteY3" fmla="*/ 1188441 h 2627409"/>
                <a:gd name="connsiteX4" fmla="*/ 1514099 w 5081687"/>
                <a:gd name="connsiteY4" fmla="*/ 30851 h 2627409"/>
                <a:gd name="connsiteX0" fmla="*/ 1514099 w 5081687"/>
                <a:gd name="connsiteY0" fmla="*/ 37481 h 2634039"/>
                <a:gd name="connsiteX1" fmla="*/ 5081687 w 5081687"/>
                <a:gd name="connsiteY1" fmla="*/ 1478598 h 2634039"/>
                <a:gd name="connsiteX2" fmla="*/ 3569437 w 5081687"/>
                <a:gd name="connsiteY2" fmla="*/ 2634039 h 2634039"/>
                <a:gd name="connsiteX3" fmla="*/ 0 w 5081687"/>
                <a:gd name="connsiteY3" fmla="*/ 1195071 h 2634039"/>
                <a:gd name="connsiteX4" fmla="*/ 1514099 w 5081687"/>
                <a:gd name="connsiteY4" fmla="*/ 37481 h 2634039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484281"/>
                <a:gd name="connsiteY0" fmla="*/ 37481 h 1567805"/>
                <a:gd name="connsiteX1" fmla="*/ 5081687 w 5484281"/>
                <a:gd name="connsiteY1" fmla="*/ 1478598 h 1567805"/>
                <a:gd name="connsiteX2" fmla="*/ 5005487 w 5484281"/>
                <a:gd name="connsiteY2" fmla="*/ 1567805 h 1567805"/>
                <a:gd name="connsiteX3" fmla="*/ 0 w 5484281"/>
                <a:gd name="connsiteY3" fmla="*/ 1195071 h 1567805"/>
                <a:gd name="connsiteX4" fmla="*/ 1514099 w 5484281"/>
                <a:gd name="connsiteY4" fmla="*/ 37481 h 1567805"/>
                <a:gd name="connsiteX0" fmla="*/ 225805 w 4195987"/>
                <a:gd name="connsiteY0" fmla="*/ 37481 h 1567805"/>
                <a:gd name="connsiteX1" fmla="*/ 3793393 w 4195987"/>
                <a:gd name="connsiteY1" fmla="*/ 1478598 h 1567805"/>
                <a:gd name="connsiteX2" fmla="*/ 3717193 w 4195987"/>
                <a:gd name="connsiteY2" fmla="*/ 1567805 h 1567805"/>
                <a:gd name="connsiteX3" fmla="*/ 217240 w 4195987"/>
                <a:gd name="connsiteY3" fmla="*/ 158248 h 1567805"/>
                <a:gd name="connsiteX4" fmla="*/ 225805 w 4195987"/>
                <a:gd name="connsiteY4" fmla="*/ 37481 h 1567805"/>
                <a:gd name="connsiteX0" fmla="*/ 8564 w 3978746"/>
                <a:gd name="connsiteY0" fmla="*/ 37481 h 1567805"/>
                <a:gd name="connsiteX1" fmla="*/ 3576152 w 3978746"/>
                <a:gd name="connsiteY1" fmla="*/ 1478598 h 1567805"/>
                <a:gd name="connsiteX2" fmla="*/ 3499952 w 3978746"/>
                <a:gd name="connsiteY2" fmla="*/ 1567805 h 1567805"/>
                <a:gd name="connsiteX3" fmla="*/ -1 w 3978746"/>
                <a:gd name="connsiteY3" fmla="*/ 158248 h 1567805"/>
                <a:gd name="connsiteX4" fmla="*/ 8564 w 3978746"/>
                <a:gd name="connsiteY4" fmla="*/ 37481 h 1567805"/>
                <a:gd name="connsiteX0" fmla="*/ 8565 w 3576153"/>
                <a:gd name="connsiteY0" fmla="*/ 37481 h 1567805"/>
                <a:gd name="connsiteX1" fmla="*/ 3576153 w 3576153"/>
                <a:gd name="connsiteY1" fmla="*/ 1478598 h 1567805"/>
                <a:gd name="connsiteX2" fmla="*/ 3499953 w 3576153"/>
                <a:gd name="connsiteY2" fmla="*/ 1567805 h 1567805"/>
                <a:gd name="connsiteX3" fmla="*/ 0 w 3576153"/>
                <a:gd name="connsiteY3" fmla="*/ 158248 h 1567805"/>
                <a:gd name="connsiteX4" fmla="*/ 8565 w 3576153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95666 w 3567588"/>
                <a:gd name="connsiteY3" fmla="*/ 114128 h 1567805"/>
                <a:gd name="connsiteX4" fmla="*/ 0 w 3567588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8808 w 3567588"/>
                <a:gd name="connsiteY3" fmla="*/ 172955 h 1567805"/>
                <a:gd name="connsiteX4" fmla="*/ 0 w 3567588"/>
                <a:gd name="connsiteY4" fmla="*/ 37481 h 1567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7588" h="1567805">
                  <a:moveTo>
                    <a:pt x="0" y="37481"/>
                  </a:moveTo>
                  <a:cubicBezTo>
                    <a:pt x="1936426" y="-231655"/>
                    <a:pt x="3176778" y="1021327"/>
                    <a:pt x="3567588" y="1478598"/>
                  </a:cubicBezTo>
                  <a:lnTo>
                    <a:pt x="3491388" y="1567805"/>
                  </a:lnTo>
                  <a:cubicBezTo>
                    <a:pt x="3367067" y="1497955"/>
                    <a:pt x="2333404" y="-109620"/>
                    <a:pt x="8808" y="172955"/>
                  </a:cubicBezTo>
                  <a:lnTo>
                    <a:pt x="0" y="37481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出自【趣你的PPT】(微信:qunideppt)：最优质的PPT资源库"/>
            <p:cNvSpPr/>
            <p:nvPr/>
          </p:nvSpPr>
          <p:spPr>
            <a:xfrm>
              <a:off x="3952955" y="3192082"/>
              <a:ext cx="1120686" cy="695645"/>
            </a:xfrm>
            <a:custGeom>
              <a:avLst/>
              <a:gdLst>
                <a:gd name="connsiteX0" fmla="*/ 0 w 648072"/>
                <a:gd name="connsiteY0" fmla="*/ 0 h 272033"/>
                <a:gd name="connsiteX1" fmla="*/ 648072 w 648072"/>
                <a:gd name="connsiteY1" fmla="*/ 0 h 272033"/>
                <a:gd name="connsiteX2" fmla="*/ 648072 w 648072"/>
                <a:gd name="connsiteY2" fmla="*/ 272033 h 272033"/>
                <a:gd name="connsiteX3" fmla="*/ 0 w 648072"/>
                <a:gd name="connsiteY3" fmla="*/ 272033 h 272033"/>
                <a:gd name="connsiteX4" fmla="*/ 0 w 648072"/>
                <a:gd name="connsiteY4" fmla="*/ 0 h 272033"/>
                <a:gd name="connsiteX0" fmla="*/ 0 w 1073188"/>
                <a:gd name="connsiteY0" fmla="*/ 641684 h 913717"/>
                <a:gd name="connsiteX1" fmla="*/ 1073188 w 1073188"/>
                <a:gd name="connsiteY1" fmla="*/ 0 h 913717"/>
                <a:gd name="connsiteX2" fmla="*/ 648072 w 1073188"/>
                <a:gd name="connsiteY2" fmla="*/ 913717 h 913717"/>
                <a:gd name="connsiteX3" fmla="*/ 0 w 1073188"/>
                <a:gd name="connsiteY3" fmla="*/ 913717 h 913717"/>
                <a:gd name="connsiteX4" fmla="*/ 0 w 1073188"/>
                <a:gd name="connsiteY4" fmla="*/ 641684 h 913717"/>
                <a:gd name="connsiteX0" fmla="*/ 64169 w 1137357"/>
                <a:gd name="connsiteY0" fmla="*/ 641684 h 913717"/>
                <a:gd name="connsiteX1" fmla="*/ 1137357 w 1137357"/>
                <a:gd name="connsiteY1" fmla="*/ 0 h 913717"/>
                <a:gd name="connsiteX2" fmla="*/ 712241 w 1137357"/>
                <a:gd name="connsiteY2" fmla="*/ 913717 h 913717"/>
                <a:gd name="connsiteX3" fmla="*/ 0 w 1137357"/>
                <a:gd name="connsiteY3" fmla="*/ 705170 h 913717"/>
                <a:gd name="connsiteX4" fmla="*/ 64169 w 1137357"/>
                <a:gd name="connsiteY4" fmla="*/ 641684 h 913717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53135 w 1137357"/>
                <a:gd name="connsiteY2" fmla="*/ 87548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4976"/>
                <a:gd name="connsiteY0" fmla="*/ 641684 h 705170"/>
                <a:gd name="connsiteX1" fmla="*/ 1134976 w 1134976"/>
                <a:gd name="connsiteY1" fmla="*/ 0 h 705170"/>
                <a:gd name="connsiteX2" fmla="*/ 1097251 w 1134976"/>
                <a:gd name="connsiteY2" fmla="*/ 55464 h 705170"/>
                <a:gd name="connsiteX3" fmla="*/ 0 w 1134976"/>
                <a:gd name="connsiteY3" fmla="*/ 705170 h 705170"/>
                <a:gd name="connsiteX4" fmla="*/ 64169 w 1134976"/>
                <a:gd name="connsiteY4" fmla="*/ 641684 h 705170"/>
                <a:gd name="connsiteX0" fmla="*/ 64169 w 1142119"/>
                <a:gd name="connsiteY0" fmla="*/ 648828 h 712314"/>
                <a:gd name="connsiteX1" fmla="*/ 1142119 w 1142119"/>
                <a:gd name="connsiteY1" fmla="*/ 0 h 712314"/>
                <a:gd name="connsiteX2" fmla="*/ 1097251 w 1142119"/>
                <a:gd name="connsiteY2" fmla="*/ 62608 h 712314"/>
                <a:gd name="connsiteX3" fmla="*/ 0 w 1142119"/>
                <a:gd name="connsiteY3" fmla="*/ 712314 h 712314"/>
                <a:gd name="connsiteX4" fmla="*/ 64169 w 1142119"/>
                <a:gd name="connsiteY4" fmla="*/ 648828 h 712314"/>
                <a:gd name="connsiteX0" fmla="*/ 64169 w 1132594"/>
                <a:gd name="connsiteY0" fmla="*/ 644066 h 707552"/>
                <a:gd name="connsiteX1" fmla="*/ 1132594 w 1132594"/>
                <a:gd name="connsiteY1" fmla="*/ 0 h 707552"/>
                <a:gd name="connsiteX2" fmla="*/ 1097251 w 1132594"/>
                <a:gd name="connsiteY2" fmla="*/ 57846 h 707552"/>
                <a:gd name="connsiteX3" fmla="*/ 0 w 1132594"/>
                <a:gd name="connsiteY3" fmla="*/ 707552 h 707552"/>
                <a:gd name="connsiteX4" fmla="*/ 64169 w 1132594"/>
                <a:gd name="connsiteY4" fmla="*/ 644066 h 707552"/>
                <a:gd name="connsiteX0" fmla="*/ 54644 w 1123069"/>
                <a:gd name="connsiteY0" fmla="*/ 644066 h 700408"/>
                <a:gd name="connsiteX1" fmla="*/ 1123069 w 1123069"/>
                <a:gd name="connsiteY1" fmla="*/ 0 h 700408"/>
                <a:gd name="connsiteX2" fmla="*/ 1087726 w 1123069"/>
                <a:gd name="connsiteY2" fmla="*/ 57846 h 700408"/>
                <a:gd name="connsiteX3" fmla="*/ 0 w 1123069"/>
                <a:gd name="connsiteY3" fmla="*/ 700408 h 700408"/>
                <a:gd name="connsiteX4" fmla="*/ 54644 w 1123069"/>
                <a:gd name="connsiteY4" fmla="*/ 644066 h 700408"/>
                <a:gd name="connsiteX0" fmla="*/ 52262 w 1120687"/>
                <a:gd name="connsiteY0" fmla="*/ 644066 h 695645"/>
                <a:gd name="connsiteX1" fmla="*/ 1120687 w 1120687"/>
                <a:gd name="connsiteY1" fmla="*/ 0 h 695645"/>
                <a:gd name="connsiteX2" fmla="*/ 1085344 w 1120687"/>
                <a:gd name="connsiteY2" fmla="*/ 57846 h 695645"/>
                <a:gd name="connsiteX3" fmla="*/ 0 w 1120687"/>
                <a:gd name="connsiteY3" fmla="*/ 695645 h 695645"/>
                <a:gd name="connsiteX4" fmla="*/ 52262 w 1120687"/>
                <a:gd name="connsiteY4" fmla="*/ 644066 h 695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687" h="695645">
                  <a:moveTo>
                    <a:pt x="52262" y="644066"/>
                  </a:moveTo>
                  <a:cubicBezTo>
                    <a:pt x="738854" y="205582"/>
                    <a:pt x="758947" y="201863"/>
                    <a:pt x="1120687" y="0"/>
                  </a:cubicBezTo>
                  <a:lnTo>
                    <a:pt x="1085344" y="57846"/>
                  </a:lnTo>
                  <a:lnTo>
                    <a:pt x="0" y="695645"/>
                  </a:lnTo>
                  <a:lnTo>
                    <a:pt x="52262" y="644066"/>
                  </a:lnTo>
                  <a:close/>
                </a:path>
              </a:pathLst>
            </a:custGeom>
            <a:grpFill/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" name="Group 19出自【趣你的PPT】(微信:qunideppt)：最优质的PPT资源库"/>
          <p:cNvGrpSpPr/>
          <p:nvPr/>
        </p:nvGrpSpPr>
        <p:grpSpPr>
          <a:xfrm>
            <a:off x="7078177" y="3334091"/>
            <a:ext cx="2465028" cy="1293810"/>
            <a:chOff x="4108998" y="3167269"/>
            <a:chExt cx="3207578" cy="1683549"/>
          </a:xfrm>
          <a:effectLst>
            <a:outerShdw blurRad="317500" dist="495300" dir="6600000" algn="tl" rotWithShape="0">
              <a:srgbClr val="FFFFFF">
                <a:lumMod val="75000"/>
                <a:lumOff val="25000"/>
                <a:alpha val="30000"/>
              </a:srgbClr>
            </a:outerShdw>
          </a:effectLst>
        </p:grpSpPr>
        <p:sp>
          <p:nvSpPr>
            <p:cNvPr id="21" name="出自【趣你的PPT】(微信:qunideppt)：最优质的PPT资源库"/>
            <p:cNvSpPr/>
            <p:nvPr/>
          </p:nvSpPr>
          <p:spPr>
            <a:xfrm rot="9730928">
              <a:off x="4237770" y="3167269"/>
              <a:ext cx="2930436" cy="1683549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5081687"/>
                <a:gd name="connsiteY0" fmla="*/ 23593 h 2091026"/>
                <a:gd name="connsiteX1" fmla="*/ 5081687 w 5081687"/>
                <a:gd name="connsiteY1" fmla="*/ 1214698 h 2091026"/>
                <a:gd name="connsiteX2" fmla="*/ 2827635 w 5081687"/>
                <a:gd name="connsiteY2" fmla="*/ 2091026 h 2091026"/>
                <a:gd name="connsiteX3" fmla="*/ 0 w 5081687"/>
                <a:gd name="connsiteY3" fmla="*/ 931171 h 2091026"/>
                <a:gd name="connsiteX4" fmla="*/ 2336353 w 5081687"/>
                <a:gd name="connsiteY4" fmla="*/ 23593 h 2091026"/>
                <a:gd name="connsiteX0" fmla="*/ 2336353 w 4078881"/>
                <a:gd name="connsiteY0" fmla="*/ 28611 h 2096044"/>
                <a:gd name="connsiteX1" fmla="*/ 4078881 w 4078881"/>
                <a:gd name="connsiteY1" fmla="*/ 1019103 h 2096044"/>
                <a:gd name="connsiteX2" fmla="*/ 2827635 w 4078881"/>
                <a:gd name="connsiteY2" fmla="*/ 2096044 h 2096044"/>
                <a:gd name="connsiteX3" fmla="*/ 0 w 4078881"/>
                <a:gd name="connsiteY3" fmla="*/ 936189 h 2096044"/>
                <a:gd name="connsiteX4" fmla="*/ 2336353 w 4078881"/>
                <a:gd name="connsiteY4" fmla="*/ 28611 h 2096044"/>
                <a:gd name="connsiteX0" fmla="*/ 2336353 w 3996459"/>
                <a:gd name="connsiteY0" fmla="*/ 23959 h 2091392"/>
                <a:gd name="connsiteX1" fmla="*/ 3996459 w 3996459"/>
                <a:gd name="connsiteY1" fmla="*/ 1197621 h 2091392"/>
                <a:gd name="connsiteX2" fmla="*/ 2827635 w 3996459"/>
                <a:gd name="connsiteY2" fmla="*/ 2091392 h 2091392"/>
                <a:gd name="connsiteX3" fmla="*/ 0 w 3996459"/>
                <a:gd name="connsiteY3" fmla="*/ 931537 h 2091392"/>
                <a:gd name="connsiteX4" fmla="*/ 2336353 w 3996459"/>
                <a:gd name="connsiteY4" fmla="*/ 23959 h 2091392"/>
                <a:gd name="connsiteX0" fmla="*/ 2336353 w 3996459"/>
                <a:gd name="connsiteY0" fmla="*/ 0 h 2067433"/>
                <a:gd name="connsiteX1" fmla="*/ 3996459 w 3996459"/>
                <a:gd name="connsiteY1" fmla="*/ 1173662 h 2067433"/>
                <a:gd name="connsiteX2" fmla="*/ 2827635 w 3996459"/>
                <a:gd name="connsiteY2" fmla="*/ 2067433 h 2067433"/>
                <a:gd name="connsiteX3" fmla="*/ 0 w 3996459"/>
                <a:gd name="connsiteY3" fmla="*/ 907578 h 2067433"/>
                <a:gd name="connsiteX4" fmla="*/ 2336353 w 3996459"/>
                <a:gd name="connsiteY4" fmla="*/ 0 h 2067433"/>
                <a:gd name="connsiteX0" fmla="*/ 2336353 w 3996459"/>
                <a:gd name="connsiteY0" fmla="*/ 0 h 2067433"/>
                <a:gd name="connsiteX1" fmla="*/ 3996459 w 3996459"/>
                <a:gd name="connsiteY1" fmla="*/ 1173662 h 2067433"/>
                <a:gd name="connsiteX2" fmla="*/ 2827635 w 3996459"/>
                <a:gd name="connsiteY2" fmla="*/ 2067433 h 2067433"/>
                <a:gd name="connsiteX3" fmla="*/ 0 w 3996459"/>
                <a:gd name="connsiteY3" fmla="*/ 907578 h 2067433"/>
                <a:gd name="connsiteX4" fmla="*/ 2336353 w 3996459"/>
                <a:gd name="connsiteY4" fmla="*/ 0 h 2067433"/>
                <a:gd name="connsiteX0" fmla="*/ 2315747 w 3996459"/>
                <a:gd name="connsiteY0" fmla="*/ 0 h 1474316"/>
                <a:gd name="connsiteX1" fmla="*/ 3996459 w 3996459"/>
                <a:gd name="connsiteY1" fmla="*/ 580545 h 1474316"/>
                <a:gd name="connsiteX2" fmla="*/ 2827635 w 3996459"/>
                <a:gd name="connsiteY2" fmla="*/ 1474316 h 1474316"/>
                <a:gd name="connsiteX3" fmla="*/ 0 w 3996459"/>
                <a:gd name="connsiteY3" fmla="*/ 314461 h 1474316"/>
                <a:gd name="connsiteX4" fmla="*/ 2315747 w 3996459"/>
                <a:gd name="connsiteY4" fmla="*/ 0 h 1474316"/>
                <a:gd name="connsiteX0" fmla="*/ 1786869 w 3996459"/>
                <a:gd name="connsiteY0" fmla="*/ 0 h 1849374"/>
                <a:gd name="connsiteX1" fmla="*/ 3996459 w 3996459"/>
                <a:gd name="connsiteY1" fmla="*/ 955603 h 1849374"/>
                <a:gd name="connsiteX2" fmla="*/ 2827635 w 3996459"/>
                <a:gd name="connsiteY2" fmla="*/ 1849374 h 1849374"/>
                <a:gd name="connsiteX3" fmla="*/ 0 w 3996459"/>
                <a:gd name="connsiteY3" fmla="*/ 689519 h 1849374"/>
                <a:gd name="connsiteX4" fmla="*/ 1786869 w 3996459"/>
                <a:gd name="connsiteY4" fmla="*/ 0 h 1849374"/>
                <a:gd name="connsiteX0" fmla="*/ 1786869 w 3996459"/>
                <a:gd name="connsiteY0" fmla="*/ 27481 h 1876855"/>
                <a:gd name="connsiteX1" fmla="*/ 3996459 w 3996459"/>
                <a:gd name="connsiteY1" fmla="*/ 983084 h 1876855"/>
                <a:gd name="connsiteX2" fmla="*/ 2827635 w 3996459"/>
                <a:gd name="connsiteY2" fmla="*/ 1876855 h 1876855"/>
                <a:gd name="connsiteX3" fmla="*/ 0 w 3996459"/>
                <a:gd name="connsiteY3" fmla="*/ 717000 h 1876855"/>
                <a:gd name="connsiteX4" fmla="*/ 1786869 w 3996459"/>
                <a:gd name="connsiteY4" fmla="*/ 27481 h 1876855"/>
                <a:gd name="connsiteX0" fmla="*/ 1786869 w 4143152"/>
                <a:gd name="connsiteY0" fmla="*/ 18497 h 1867871"/>
                <a:gd name="connsiteX1" fmla="*/ 4143152 w 4143152"/>
                <a:gd name="connsiteY1" fmla="*/ 1407030 h 1867871"/>
                <a:gd name="connsiteX2" fmla="*/ 2827635 w 4143152"/>
                <a:gd name="connsiteY2" fmla="*/ 1867871 h 1867871"/>
                <a:gd name="connsiteX3" fmla="*/ 0 w 4143152"/>
                <a:gd name="connsiteY3" fmla="*/ 708016 h 1867871"/>
                <a:gd name="connsiteX4" fmla="*/ 1786869 w 4143152"/>
                <a:gd name="connsiteY4" fmla="*/ 18497 h 1867871"/>
                <a:gd name="connsiteX0" fmla="*/ 1786869 w 4143152"/>
                <a:gd name="connsiteY0" fmla="*/ 18495 h 1867869"/>
                <a:gd name="connsiteX1" fmla="*/ 4143152 w 4143152"/>
                <a:gd name="connsiteY1" fmla="*/ 1407028 h 1867869"/>
                <a:gd name="connsiteX2" fmla="*/ 2827635 w 4143152"/>
                <a:gd name="connsiteY2" fmla="*/ 1867869 h 1867869"/>
                <a:gd name="connsiteX3" fmla="*/ 0 w 4143152"/>
                <a:gd name="connsiteY3" fmla="*/ 708014 h 1867869"/>
                <a:gd name="connsiteX4" fmla="*/ 1786869 w 4143152"/>
                <a:gd name="connsiteY4" fmla="*/ 18495 h 1867869"/>
                <a:gd name="connsiteX0" fmla="*/ 1786869 w 4143152"/>
                <a:gd name="connsiteY0" fmla="*/ 18495 h 1867869"/>
                <a:gd name="connsiteX1" fmla="*/ 4143152 w 4143152"/>
                <a:gd name="connsiteY1" fmla="*/ 1407028 h 1867869"/>
                <a:gd name="connsiteX2" fmla="*/ 2827635 w 4143152"/>
                <a:gd name="connsiteY2" fmla="*/ 1867869 h 1867869"/>
                <a:gd name="connsiteX3" fmla="*/ 0 w 4143152"/>
                <a:gd name="connsiteY3" fmla="*/ 708014 h 1867869"/>
                <a:gd name="connsiteX4" fmla="*/ 1786869 w 4143152"/>
                <a:gd name="connsiteY4" fmla="*/ 18495 h 1867869"/>
                <a:gd name="connsiteX0" fmla="*/ 1692373 w 4143152"/>
                <a:gd name="connsiteY0" fmla="*/ 13465 h 2353839"/>
                <a:gd name="connsiteX1" fmla="*/ 4143152 w 4143152"/>
                <a:gd name="connsiteY1" fmla="*/ 1892998 h 2353839"/>
                <a:gd name="connsiteX2" fmla="*/ 2827635 w 4143152"/>
                <a:gd name="connsiteY2" fmla="*/ 2353839 h 2353839"/>
                <a:gd name="connsiteX3" fmla="*/ 0 w 4143152"/>
                <a:gd name="connsiteY3" fmla="*/ 1193984 h 2353839"/>
                <a:gd name="connsiteX4" fmla="*/ 1692373 w 4143152"/>
                <a:gd name="connsiteY4" fmla="*/ 13465 h 2353839"/>
                <a:gd name="connsiteX0" fmla="*/ 1692373 w 4143152"/>
                <a:gd name="connsiteY0" fmla="*/ 1 h 2340375"/>
                <a:gd name="connsiteX1" fmla="*/ 4143152 w 4143152"/>
                <a:gd name="connsiteY1" fmla="*/ 1879534 h 2340375"/>
                <a:gd name="connsiteX2" fmla="*/ 2827635 w 4143152"/>
                <a:gd name="connsiteY2" fmla="*/ 2340375 h 2340375"/>
                <a:gd name="connsiteX3" fmla="*/ 0 w 4143152"/>
                <a:gd name="connsiteY3" fmla="*/ 1180520 h 2340375"/>
                <a:gd name="connsiteX4" fmla="*/ 1692373 w 4143152"/>
                <a:gd name="connsiteY4" fmla="*/ 1 h 2340375"/>
                <a:gd name="connsiteX0" fmla="*/ 503707 w 2954486"/>
                <a:gd name="connsiteY0" fmla="*/ -1 h 2340373"/>
                <a:gd name="connsiteX1" fmla="*/ 2954486 w 2954486"/>
                <a:gd name="connsiteY1" fmla="*/ 1879532 h 2340373"/>
                <a:gd name="connsiteX2" fmla="*/ 1638969 w 2954486"/>
                <a:gd name="connsiteY2" fmla="*/ 2340373 h 2340373"/>
                <a:gd name="connsiteX3" fmla="*/ 0 w 2954486"/>
                <a:gd name="connsiteY3" fmla="*/ 657631 h 2340373"/>
                <a:gd name="connsiteX4" fmla="*/ 503707 w 2954486"/>
                <a:gd name="connsiteY4" fmla="*/ -1 h 2340373"/>
                <a:gd name="connsiteX0" fmla="*/ 816503 w 3267282"/>
                <a:gd name="connsiteY0" fmla="*/ 1 h 2340375"/>
                <a:gd name="connsiteX1" fmla="*/ 3267282 w 3267282"/>
                <a:gd name="connsiteY1" fmla="*/ 1879534 h 2340375"/>
                <a:gd name="connsiteX2" fmla="*/ 1951765 w 3267282"/>
                <a:gd name="connsiteY2" fmla="*/ 2340375 h 2340375"/>
                <a:gd name="connsiteX3" fmla="*/ 0 w 3267282"/>
                <a:gd name="connsiteY3" fmla="*/ 831587 h 2340375"/>
                <a:gd name="connsiteX4" fmla="*/ 816503 w 3267282"/>
                <a:gd name="connsiteY4" fmla="*/ 1 h 2340375"/>
                <a:gd name="connsiteX0" fmla="*/ 816503 w 3267282"/>
                <a:gd name="connsiteY0" fmla="*/ -1 h 2340373"/>
                <a:gd name="connsiteX1" fmla="*/ 3267282 w 3267282"/>
                <a:gd name="connsiteY1" fmla="*/ 1879532 h 2340373"/>
                <a:gd name="connsiteX2" fmla="*/ 1951765 w 3267282"/>
                <a:gd name="connsiteY2" fmla="*/ 2340373 h 2340373"/>
                <a:gd name="connsiteX3" fmla="*/ 0 w 3267282"/>
                <a:gd name="connsiteY3" fmla="*/ 831585 h 2340373"/>
                <a:gd name="connsiteX4" fmla="*/ 816503 w 3267282"/>
                <a:gd name="connsiteY4" fmla="*/ -1 h 2340373"/>
                <a:gd name="connsiteX0" fmla="*/ 816503 w 3617162"/>
                <a:gd name="connsiteY0" fmla="*/ 1 h 2340375"/>
                <a:gd name="connsiteX1" fmla="*/ 3617161 w 3617162"/>
                <a:gd name="connsiteY1" fmla="*/ 1676527 h 2340375"/>
                <a:gd name="connsiteX2" fmla="*/ 1951765 w 3617162"/>
                <a:gd name="connsiteY2" fmla="*/ 2340375 h 2340375"/>
                <a:gd name="connsiteX3" fmla="*/ 0 w 3617162"/>
                <a:gd name="connsiteY3" fmla="*/ 831587 h 2340375"/>
                <a:gd name="connsiteX4" fmla="*/ 816503 w 3617162"/>
                <a:gd name="connsiteY4" fmla="*/ 1 h 2340375"/>
                <a:gd name="connsiteX0" fmla="*/ 522212 w 3617161"/>
                <a:gd name="connsiteY0" fmla="*/ 0 h 3019111"/>
                <a:gd name="connsiteX1" fmla="*/ 3617161 w 3617161"/>
                <a:gd name="connsiteY1" fmla="*/ 2355263 h 3019111"/>
                <a:gd name="connsiteX2" fmla="*/ 1951765 w 3617161"/>
                <a:gd name="connsiteY2" fmla="*/ 3019111 h 3019111"/>
                <a:gd name="connsiteX3" fmla="*/ 0 w 3617161"/>
                <a:gd name="connsiteY3" fmla="*/ 1510323 h 3019111"/>
                <a:gd name="connsiteX4" fmla="*/ 522212 w 3617161"/>
                <a:gd name="connsiteY4" fmla="*/ 0 h 3019111"/>
                <a:gd name="connsiteX0" fmla="*/ 522212 w 3617161"/>
                <a:gd name="connsiteY0" fmla="*/ 0 h 3019111"/>
                <a:gd name="connsiteX1" fmla="*/ 3617161 w 3617161"/>
                <a:gd name="connsiteY1" fmla="*/ 2355263 h 3019111"/>
                <a:gd name="connsiteX2" fmla="*/ 1951765 w 3617161"/>
                <a:gd name="connsiteY2" fmla="*/ 3019111 h 3019111"/>
                <a:gd name="connsiteX3" fmla="*/ 0 w 3617161"/>
                <a:gd name="connsiteY3" fmla="*/ 1510323 h 3019111"/>
                <a:gd name="connsiteX4" fmla="*/ 522212 w 3617161"/>
                <a:gd name="connsiteY4" fmla="*/ 0 h 3019111"/>
                <a:gd name="connsiteX0" fmla="*/ 1043316 w 4138265"/>
                <a:gd name="connsiteY0" fmla="*/ 0 h 3019111"/>
                <a:gd name="connsiteX1" fmla="*/ 4138265 w 4138265"/>
                <a:gd name="connsiteY1" fmla="*/ 2355263 h 3019111"/>
                <a:gd name="connsiteX2" fmla="*/ 2472869 w 4138265"/>
                <a:gd name="connsiteY2" fmla="*/ 3019111 h 3019111"/>
                <a:gd name="connsiteX3" fmla="*/ 1 w 4138265"/>
                <a:gd name="connsiteY3" fmla="*/ 1044925 h 3019111"/>
                <a:gd name="connsiteX4" fmla="*/ 1043316 w 4138265"/>
                <a:gd name="connsiteY4" fmla="*/ 0 h 3019111"/>
                <a:gd name="connsiteX0" fmla="*/ 1043315 w 4138264"/>
                <a:gd name="connsiteY0" fmla="*/ 0 h 3019111"/>
                <a:gd name="connsiteX1" fmla="*/ 4138264 w 4138264"/>
                <a:gd name="connsiteY1" fmla="*/ 2355263 h 3019111"/>
                <a:gd name="connsiteX2" fmla="*/ 2472868 w 4138264"/>
                <a:gd name="connsiteY2" fmla="*/ 3019111 h 3019111"/>
                <a:gd name="connsiteX3" fmla="*/ 0 w 4138264"/>
                <a:gd name="connsiteY3" fmla="*/ 1044925 h 3019111"/>
                <a:gd name="connsiteX4" fmla="*/ 1043315 w 4138264"/>
                <a:gd name="connsiteY4" fmla="*/ 0 h 3019111"/>
                <a:gd name="connsiteX0" fmla="*/ 1043315 w 4138264"/>
                <a:gd name="connsiteY0" fmla="*/ 0 h 3019111"/>
                <a:gd name="connsiteX1" fmla="*/ 4138264 w 4138264"/>
                <a:gd name="connsiteY1" fmla="*/ 2355263 h 3019111"/>
                <a:gd name="connsiteX2" fmla="*/ 2472868 w 4138264"/>
                <a:gd name="connsiteY2" fmla="*/ 3019111 h 3019111"/>
                <a:gd name="connsiteX3" fmla="*/ 0 w 4138264"/>
                <a:gd name="connsiteY3" fmla="*/ 1044925 h 3019111"/>
                <a:gd name="connsiteX4" fmla="*/ 1043315 w 4138264"/>
                <a:gd name="connsiteY4" fmla="*/ 0 h 301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264" h="3019111">
                  <a:moveTo>
                    <a:pt x="1043315" y="0"/>
                  </a:moveTo>
                  <a:cubicBezTo>
                    <a:pt x="3000907" y="148370"/>
                    <a:pt x="3932750" y="1964172"/>
                    <a:pt x="4138264" y="2355263"/>
                  </a:cubicBezTo>
                  <a:lnTo>
                    <a:pt x="2472868" y="3019111"/>
                  </a:lnTo>
                  <a:cubicBezTo>
                    <a:pt x="2286729" y="2844594"/>
                    <a:pt x="1844961" y="1365252"/>
                    <a:pt x="0" y="1044925"/>
                  </a:cubicBezTo>
                  <a:lnTo>
                    <a:pt x="1043315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出自【趣你的PPT】(微信:qunideppt)：最优质的PPT资源库"/>
            <p:cNvSpPr/>
            <p:nvPr/>
          </p:nvSpPr>
          <p:spPr>
            <a:xfrm rot="10800000">
              <a:off x="4108998" y="4005064"/>
              <a:ext cx="2569185" cy="748435"/>
            </a:xfrm>
            <a:custGeom>
              <a:avLst/>
              <a:gdLst>
                <a:gd name="connsiteX0" fmla="*/ 0 w 2592288"/>
                <a:gd name="connsiteY0" fmla="*/ 0 h 2324074"/>
                <a:gd name="connsiteX1" fmla="*/ 2592288 w 2592288"/>
                <a:gd name="connsiteY1" fmla="*/ 0 h 2324074"/>
                <a:gd name="connsiteX2" fmla="*/ 2592288 w 2592288"/>
                <a:gd name="connsiteY2" fmla="*/ 2324074 h 2324074"/>
                <a:gd name="connsiteX3" fmla="*/ 0 w 2592288"/>
                <a:gd name="connsiteY3" fmla="*/ 2324074 h 2324074"/>
                <a:gd name="connsiteX4" fmla="*/ 0 w 2592288"/>
                <a:gd name="connsiteY4" fmla="*/ 0 h 2324074"/>
                <a:gd name="connsiteX0" fmla="*/ 0 w 2839938"/>
                <a:gd name="connsiteY0" fmla="*/ 0 h 2324074"/>
                <a:gd name="connsiteX1" fmla="*/ 2839938 w 2839938"/>
                <a:gd name="connsiteY1" fmla="*/ 933450 h 2324074"/>
                <a:gd name="connsiteX2" fmla="*/ 2592288 w 2839938"/>
                <a:gd name="connsiteY2" fmla="*/ 2324074 h 2324074"/>
                <a:gd name="connsiteX3" fmla="*/ 0 w 2839938"/>
                <a:gd name="connsiteY3" fmla="*/ 2324074 h 2324074"/>
                <a:gd name="connsiteX4" fmla="*/ 0 w 2839938"/>
                <a:gd name="connsiteY4" fmla="*/ 0 h 2324074"/>
                <a:gd name="connsiteX0" fmla="*/ 0 w 2839938"/>
                <a:gd name="connsiteY0" fmla="*/ 42323 h 2366397"/>
                <a:gd name="connsiteX1" fmla="*/ 2839938 w 2839938"/>
                <a:gd name="connsiteY1" fmla="*/ 975773 h 2366397"/>
                <a:gd name="connsiteX2" fmla="*/ 2592288 w 2839938"/>
                <a:gd name="connsiteY2" fmla="*/ 2366397 h 2366397"/>
                <a:gd name="connsiteX3" fmla="*/ 0 w 2839938"/>
                <a:gd name="connsiteY3" fmla="*/ 2366397 h 2366397"/>
                <a:gd name="connsiteX4" fmla="*/ 0 w 2839938"/>
                <a:gd name="connsiteY4" fmla="*/ 42323 h 2366397"/>
                <a:gd name="connsiteX0" fmla="*/ 428625 w 2839938"/>
                <a:gd name="connsiteY0" fmla="*/ 62127 h 2071876"/>
                <a:gd name="connsiteX1" fmla="*/ 2839938 w 2839938"/>
                <a:gd name="connsiteY1" fmla="*/ 681252 h 2071876"/>
                <a:gd name="connsiteX2" fmla="*/ 2592288 w 2839938"/>
                <a:gd name="connsiteY2" fmla="*/ 2071876 h 2071876"/>
                <a:gd name="connsiteX3" fmla="*/ 0 w 2839938"/>
                <a:gd name="connsiteY3" fmla="*/ 2071876 h 2071876"/>
                <a:gd name="connsiteX4" fmla="*/ 428625 w 2839938"/>
                <a:gd name="connsiteY4" fmla="*/ 62127 h 2071876"/>
                <a:gd name="connsiteX0" fmla="*/ 9525 w 2839938"/>
                <a:gd name="connsiteY0" fmla="*/ 44044 h 2330018"/>
                <a:gd name="connsiteX1" fmla="*/ 2839938 w 2839938"/>
                <a:gd name="connsiteY1" fmla="*/ 939394 h 2330018"/>
                <a:gd name="connsiteX2" fmla="*/ 2592288 w 2839938"/>
                <a:gd name="connsiteY2" fmla="*/ 2330018 h 2330018"/>
                <a:gd name="connsiteX3" fmla="*/ 0 w 2839938"/>
                <a:gd name="connsiteY3" fmla="*/ 2330018 h 2330018"/>
                <a:gd name="connsiteX4" fmla="*/ 9525 w 2839938"/>
                <a:gd name="connsiteY4" fmla="*/ 44044 h 2330018"/>
                <a:gd name="connsiteX0" fmla="*/ 9525 w 2858988"/>
                <a:gd name="connsiteY0" fmla="*/ 45907 h 2331881"/>
                <a:gd name="connsiteX1" fmla="*/ 2858988 w 2858988"/>
                <a:gd name="connsiteY1" fmla="*/ 903157 h 2331881"/>
                <a:gd name="connsiteX2" fmla="*/ 2592288 w 2858988"/>
                <a:gd name="connsiteY2" fmla="*/ 2331881 h 2331881"/>
                <a:gd name="connsiteX3" fmla="*/ 0 w 2858988"/>
                <a:gd name="connsiteY3" fmla="*/ 2331881 h 2331881"/>
                <a:gd name="connsiteX4" fmla="*/ 9525 w 2858988"/>
                <a:gd name="connsiteY4" fmla="*/ 45907 h 2331881"/>
                <a:gd name="connsiteX0" fmla="*/ 19050 w 2858988"/>
                <a:gd name="connsiteY0" fmla="*/ 46397 h 2322846"/>
                <a:gd name="connsiteX1" fmla="*/ 2858988 w 2858988"/>
                <a:gd name="connsiteY1" fmla="*/ 894122 h 2322846"/>
                <a:gd name="connsiteX2" fmla="*/ 2592288 w 2858988"/>
                <a:gd name="connsiteY2" fmla="*/ 2322846 h 2322846"/>
                <a:gd name="connsiteX3" fmla="*/ 0 w 2858988"/>
                <a:gd name="connsiteY3" fmla="*/ 2322846 h 2322846"/>
                <a:gd name="connsiteX4" fmla="*/ 19050 w 2858988"/>
                <a:gd name="connsiteY4" fmla="*/ 46397 h 2322846"/>
                <a:gd name="connsiteX0" fmla="*/ 19050 w 2858988"/>
                <a:gd name="connsiteY0" fmla="*/ 148072 h 2424521"/>
                <a:gd name="connsiteX1" fmla="*/ 1399381 w 2858988"/>
                <a:gd name="connsiteY1" fmla="*/ 306920 h 2424521"/>
                <a:gd name="connsiteX2" fmla="*/ 2858988 w 2858988"/>
                <a:gd name="connsiteY2" fmla="*/ 995797 h 2424521"/>
                <a:gd name="connsiteX3" fmla="*/ 2592288 w 2858988"/>
                <a:gd name="connsiteY3" fmla="*/ 2424521 h 2424521"/>
                <a:gd name="connsiteX4" fmla="*/ 0 w 2858988"/>
                <a:gd name="connsiteY4" fmla="*/ 2424521 h 2424521"/>
                <a:gd name="connsiteX5" fmla="*/ 19050 w 2858988"/>
                <a:gd name="connsiteY5" fmla="*/ 148072 h 2424521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19050 w 2864810"/>
                <a:gd name="connsiteY0" fmla="*/ 164433 h 2440882"/>
                <a:gd name="connsiteX1" fmla="*/ 1523206 w 2864810"/>
                <a:gd name="connsiteY1" fmla="*/ 256606 h 2440882"/>
                <a:gd name="connsiteX2" fmla="*/ 2858988 w 2864810"/>
                <a:gd name="connsiteY2" fmla="*/ 1012158 h 2440882"/>
                <a:gd name="connsiteX3" fmla="*/ 2592288 w 2864810"/>
                <a:gd name="connsiteY3" fmla="*/ 2440882 h 2440882"/>
                <a:gd name="connsiteX4" fmla="*/ 0 w 2864810"/>
                <a:gd name="connsiteY4" fmla="*/ 2440882 h 2440882"/>
                <a:gd name="connsiteX5" fmla="*/ 19050 w 2864810"/>
                <a:gd name="connsiteY5" fmla="*/ 164433 h 2440882"/>
                <a:gd name="connsiteX0" fmla="*/ 19050 w 3017480"/>
                <a:gd name="connsiteY0" fmla="*/ 164433 h 2440882"/>
                <a:gd name="connsiteX1" fmla="*/ 1523206 w 3017480"/>
                <a:gd name="connsiteY1" fmla="*/ 256606 h 2440882"/>
                <a:gd name="connsiteX2" fmla="*/ 2858988 w 3017480"/>
                <a:gd name="connsiteY2" fmla="*/ 1012158 h 2440882"/>
                <a:gd name="connsiteX3" fmla="*/ 2592288 w 3017480"/>
                <a:gd name="connsiteY3" fmla="*/ 2440882 h 2440882"/>
                <a:gd name="connsiteX4" fmla="*/ 0 w 3017480"/>
                <a:gd name="connsiteY4" fmla="*/ 2440882 h 2440882"/>
                <a:gd name="connsiteX5" fmla="*/ 19050 w 3017480"/>
                <a:gd name="connsiteY5" fmla="*/ 164433 h 2440882"/>
                <a:gd name="connsiteX0" fmla="*/ 19050 w 3103703"/>
                <a:gd name="connsiteY0" fmla="*/ 164433 h 2440882"/>
                <a:gd name="connsiteX1" fmla="*/ 1523206 w 3103703"/>
                <a:gd name="connsiteY1" fmla="*/ 256606 h 2440882"/>
                <a:gd name="connsiteX2" fmla="*/ 2858988 w 3103703"/>
                <a:gd name="connsiteY2" fmla="*/ 1012158 h 2440882"/>
                <a:gd name="connsiteX3" fmla="*/ 2592288 w 3103703"/>
                <a:gd name="connsiteY3" fmla="*/ 2440882 h 2440882"/>
                <a:gd name="connsiteX4" fmla="*/ 0 w 3103703"/>
                <a:gd name="connsiteY4" fmla="*/ 2440882 h 2440882"/>
                <a:gd name="connsiteX5" fmla="*/ 19050 w 3103703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3005325"/>
                <a:gd name="connsiteY0" fmla="*/ 164433 h 2440882"/>
                <a:gd name="connsiteX1" fmla="*/ 1523206 w 3005325"/>
                <a:gd name="connsiteY1" fmla="*/ 256606 h 2440882"/>
                <a:gd name="connsiteX2" fmla="*/ 2858988 w 3005325"/>
                <a:gd name="connsiteY2" fmla="*/ 1012158 h 2440882"/>
                <a:gd name="connsiteX3" fmla="*/ 2592288 w 3005325"/>
                <a:gd name="connsiteY3" fmla="*/ 2440882 h 2440882"/>
                <a:gd name="connsiteX4" fmla="*/ 0 w 3005325"/>
                <a:gd name="connsiteY4" fmla="*/ 2440882 h 2440882"/>
                <a:gd name="connsiteX5" fmla="*/ 19050 w 3005325"/>
                <a:gd name="connsiteY5" fmla="*/ 164433 h 2440882"/>
                <a:gd name="connsiteX0" fmla="*/ 19050 w 2858988"/>
                <a:gd name="connsiteY0" fmla="*/ 164433 h 2440882"/>
                <a:gd name="connsiteX1" fmla="*/ 1523206 w 2858988"/>
                <a:gd name="connsiteY1" fmla="*/ 256606 h 2440882"/>
                <a:gd name="connsiteX2" fmla="*/ 2858988 w 2858988"/>
                <a:gd name="connsiteY2" fmla="*/ 1012158 h 2440882"/>
                <a:gd name="connsiteX3" fmla="*/ 2592288 w 2858988"/>
                <a:gd name="connsiteY3" fmla="*/ 2440882 h 2440882"/>
                <a:gd name="connsiteX4" fmla="*/ 0 w 2858988"/>
                <a:gd name="connsiteY4" fmla="*/ 2440882 h 2440882"/>
                <a:gd name="connsiteX5" fmla="*/ 19050 w 2858988"/>
                <a:gd name="connsiteY5" fmla="*/ 164433 h 2440882"/>
                <a:gd name="connsiteX0" fmla="*/ 742950 w 2858988"/>
                <a:gd name="connsiteY0" fmla="*/ 117391 h 2631965"/>
                <a:gd name="connsiteX1" fmla="*/ 1523206 w 2858988"/>
                <a:gd name="connsiteY1" fmla="*/ 447689 h 2631965"/>
                <a:gd name="connsiteX2" fmla="*/ 2858988 w 2858988"/>
                <a:gd name="connsiteY2" fmla="*/ 1203241 h 2631965"/>
                <a:gd name="connsiteX3" fmla="*/ 2592288 w 2858988"/>
                <a:gd name="connsiteY3" fmla="*/ 2631965 h 2631965"/>
                <a:gd name="connsiteX4" fmla="*/ 0 w 2858988"/>
                <a:gd name="connsiteY4" fmla="*/ 2631965 h 2631965"/>
                <a:gd name="connsiteX5" fmla="*/ 742950 w 2858988"/>
                <a:gd name="connsiteY5" fmla="*/ 117391 h 2631965"/>
                <a:gd name="connsiteX0" fmla="*/ 38100 w 2858988"/>
                <a:gd name="connsiteY0" fmla="*/ 154701 h 2469250"/>
                <a:gd name="connsiteX1" fmla="*/ 1523206 w 2858988"/>
                <a:gd name="connsiteY1" fmla="*/ 284974 h 2469250"/>
                <a:gd name="connsiteX2" fmla="*/ 2858988 w 2858988"/>
                <a:gd name="connsiteY2" fmla="*/ 1040526 h 2469250"/>
                <a:gd name="connsiteX3" fmla="*/ 2592288 w 2858988"/>
                <a:gd name="connsiteY3" fmla="*/ 2469250 h 2469250"/>
                <a:gd name="connsiteX4" fmla="*/ 0 w 2858988"/>
                <a:gd name="connsiteY4" fmla="*/ 2469250 h 2469250"/>
                <a:gd name="connsiteX5" fmla="*/ 38100 w 2858988"/>
                <a:gd name="connsiteY5" fmla="*/ 154701 h 2469250"/>
                <a:gd name="connsiteX0" fmla="*/ 38100 w 2858988"/>
                <a:gd name="connsiteY0" fmla="*/ 19976 h 2334525"/>
                <a:gd name="connsiteX1" fmla="*/ 1523206 w 2858988"/>
                <a:gd name="connsiteY1" fmla="*/ 150249 h 2334525"/>
                <a:gd name="connsiteX2" fmla="*/ 2858988 w 2858988"/>
                <a:gd name="connsiteY2" fmla="*/ 905801 h 2334525"/>
                <a:gd name="connsiteX3" fmla="*/ 2592288 w 2858988"/>
                <a:gd name="connsiteY3" fmla="*/ 2334525 h 2334525"/>
                <a:gd name="connsiteX4" fmla="*/ 0 w 2858988"/>
                <a:gd name="connsiteY4" fmla="*/ 2334525 h 2334525"/>
                <a:gd name="connsiteX5" fmla="*/ 38100 w 2858988"/>
                <a:gd name="connsiteY5" fmla="*/ 19976 h 2334525"/>
                <a:gd name="connsiteX0" fmla="*/ 38100 w 2858988"/>
                <a:gd name="connsiteY0" fmla="*/ 0 h 2314549"/>
                <a:gd name="connsiteX1" fmla="*/ 1523206 w 2858988"/>
                <a:gd name="connsiteY1" fmla="*/ 130273 h 2314549"/>
                <a:gd name="connsiteX2" fmla="*/ 2858988 w 2858988"/>
                <a:gd name="connsiteY2" fmla="*/ 885825 h 2314549"/>
                <a:gd name="connsiteX3" fmla="*/ 2592288 w 2858988"/>
                <a:gd name="connsiteY3" fmla="*/ 2314549 h 2314549"/>
                <a:gd name="connsiteX4" fmla="*/ 0 w 2858988"/>
                <a:gd name="connsiteY4" fmla="*/ 2314549 h 2314549"/>
                <a:gd name="connsiteX5" fmla="*/ 38100 w 2858988"/>
                <a:gd name="connsiteY5" fmla="*/ 0 h 2314549"/>
                <a:gd name="connsiteX0" fmla="*/ 38100 w 2858988"/>
                <a:gd name="connsiteY0" fmla="*/ 19975 h 2334524"/>
                <a:gd name="connsiteX1" fmla="*/ 1523206 w 2858988"/>
                <a:gd name="connsiteY1" fmla="*/ 150248 h 2334524"/>
                <a:gd name="connsiteX2" fmla="*/ 2858988 w 2858988"/>
                <a:gd name="connsiteY2" fmla="*/ 905800 h 2334524"/>
                <a:gd name="connsiteX3" fmla="*/ 2592288 w 2858988"/>
                <a:gd name="connsiteY3" fmla="*/ 2334524 h 2334524"/>
                <a:gd name="connsiteX4" fmla="*/ 0 w 2858988"/>
                <a:gd name="connsiteY4" fmla="*/ 2334524 h 2334524"/>
                <a:gd name="connsiteX5" fmla="*/ 38100 w 2858988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334524"/>
                <a:gd name="connsiteX1" fmla="*/ 3532981 w 4868763"/>
                <a:gd name="connsiteY1" fmla="*/ 150248 h 2334524"/>
                <a:gd name="connsiteX2" fmla="*/ 4868763 w 4868763"/>
                <a:gd name="connsiteY2" fmla="*/ 905800 h 2334524"/>
                <a:gd name="connsiteX3" fmla="*/ 4602063 w 4868763"/>
                <a:gd name="connsiteY3" fmla="*/ 2334524 h 2334524"/>
                <a:gd name="connsiteX4" fmla="*/ 0 w 4868763"/>
                <a:gd name="connsiteY4" fmla="*/ 1267724 h 2334524"/>
                <a:gd name="connsiteX5" fmla="*/ 2047875 w 4868763"/>
                <a:gd name="connsiteY5" fmla="*/ 19975 h 2334524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401199"/>
                <a:gd name="connsiteX1" fmla="*/ 3532981 w 4868763"/>
                <a:gd name="connsiteY1" fmla="*/ 150248 h 2401199"/>
                <a:gd name="connsiteX2" fmla="*/ 4868763 w 4868763"/>
                <a:gd name="connsiteY2" fmla="*/ 905800 h 2401199"/>
                <a:gd name="connsiteX3" fmla="*/ 3582888 w 4868763"/>
                <a:gd name="connsiteY3" fmla="*/ 2401199 h 2401199"/>
                <a:gd name="connsiteX4" fmla="*/ 0 w 4868763"/>
                <a:gd name="connsiteY4" fmla="*/ 1267724 h 2401199"/>
                <a:gd name="connsiteX5" fmla="*/ 2047875 w 4868763"/>
                <a:gd name="connsiteY5" fmla="*/ 19975 h 2401199"/>
                <a:gd name="connsiteX0" fmla="*/ 2047875 w 4868763"/>
                <a:gd name="connsiteY0" fmla="*/ 19975 h 2105924"/>
                <a:gd name="connsiteX1" fmla="*/ 3532981 w 4868763"/>
                <a:gd name="connsiteY1" fmla="*/ 150248 h 2105924"/>
                <a:gd name="connsiteX2" fmla="*/ 4868763 w 4868763"/>
                <a:gd name="connsiteY2" fmla="*/ 905800 h 2105924"/>
                <a:gd name="connsiteX3" fmla="*/ 3868638 w 4868763"/>
                <a:gd name="connsiteY3" fmla="*/ 2105924 h 2105924"/>
                <a:gd name="connsiteX4" fmla="*/ 0 w 4868763"/>
                <a:gd name="connsiteY4" fmla="*/ 1267724 h 2105924"/>
                <a:gd name="connsiteX5" fmla="*/ 2047875 w 4868763"/>
                <a:gd name="connsiteY5" fmla="*/ 19975 h 2105924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382149"/>
                <a:gd name="connsiteX1" fmla="*/ 3532981 w 4868763"/>
                <a:gd name="connsiteY1" fmla="*/ 150248 h 2382149"/>
                <a:gd name="connsiteX2" fmla="*/ 4868763 w 4868763"/>
                <a:gd name="connsiteY2" fmla="*/ 905800 h 2382149"/>
                <a:gd name="connsiteX3" fmla="*/ 3582888 w 4868763"/>
                <a:gd name="connsiteY3" fmla="*/ 2382149 h 2382149"/>
                <a:gd name="connsiteX4" fmla="*/ 0 w 4868763"/>
                <a:gd name="connsiteY4" fmla="*/ 1267724 h 2382149"/>
                <a:gd name="connsiteX5" fmla="*/ 2047875 w 4868763"/>
                <a:gd name="connsiteY5" fmla="*/ 19975 h 2382149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623241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4868763"/>
                <a:gd name="connsiteY0" fmla="*/ 19975 h 2706692"/>
                <a:gd name="connsiteX1" fmla="*/ 3532981 w 4868763"/>
                <a:gd name="connsiteY1" fmla="*/ 150248 h 2706692"/>
                <a:gd name="connsiteX2" fmla="*/ 4868763 w 4868763"/>
                <a:gd name="connsiteY2" fmla="*/ 905800 h 2706692"/>
                <a:gd name="connsiteX3" fmla="*/ 3569437 w 4868763"/>
                <a:gd name="connsiteY3" fmla="*/ 2706692 h 2706692"/>
                <a:gd name="connsiteX4" fmla="*/ 0 w 4868763"/>
                <a:gd name="connsiteY4" fmla="*/ 1267724 h 2706692"/>
                <a:gd name="connsiteX5" fmla="*/ 2047875 w 4868763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47875 w 5081687"/>
                <a:gd name="connsiteY0" fmla="*/ 19975 h 2706692"/>
                <a:gd name="connsiteX1" fmla="*/ 3532981 w 5081687"/>
                <a:gd name="connsiteY1" fmla="*/ 150248 h 2706692"/>
                <a:gd name="connsiteX2" fmla="*/ 5081687 w 5081687"/>
                <a:gd name="connsiteY2" fmla="*/ 1551251 h 2706692"/>
                <a:gd name="connsiteX3" fmla="*/ 3569437 w 5081687"/>
                <a:gd name="connsiteY3" fmla="*/ 2706692 h 2706692"/>
                <a:gd name="connsiteX4" fmla="*/ 0 w 5081687"/>
                <a:gd name="connsiteY4" fmla="*/ 1267724 h 2706692"/>
                <a:gd name="connsiteX5" fmla="*/ 2047875 w 5081687"/>
                <a:gd name="connsiteY5" fmla="*/ 19975 h 2706692"/>
                <a:gd name="connsiteX0" fmla="*/ 2034138 w 5081687"/>
                <a:gd name="connsiteY0" fmla="*/ 485769 h 2579369"/>
                <a:gd name="connsiteX1" fmla="*/ 3532981 w 5081687"/>
                <a:gd name="connsiteY1" fmla="*/ 22925 h 2579369"/>
                <a:gd name="connsiteX2" fmla="*/ 5081687 w 5081687"/>
                <a:gd name="connsiteY2" fmla="*/ 1423928 h 2579369"/>
                <a:gd name="connsiteX3" fmla="*/ 3569437 w 5081687"/>
                <a:gd name="connsiteY3" fmla="*/ 2579369 h 2579369"/>
                <a:gd name="connsiteX4" fmla="*/ 0 w 5081687"/>
                <a:gd name="connsiteY4" fmla="*/ 1140401 h 2579369"/>
                <a:gd name="connsiteX5" fmla="*/ 2034138 w 5081687"/>
                <a:gd name="connsiteY5" fmla="*/ 485769 h 2579369"/>
                <a:gd name="connsiteX0" fmla="*/ 2336353 w 5081687"/>
                <a:gd name="connsiteY0" fmla="*/ 247117 h 2593663"/>
                <a:gd name="connsiteX1" fmla="*/ 3532981 w 5081687"/>
                <a:gd name="connsiteY1" fmla="*/ 37219 h 2593663"/>
                <a:gd name="connsiteX2" fmla="*/ 5081687 w 5081687"/>
                <a:gd name="connsiteY2" fmla="*/ 1438222 h 2593663"/>
                <a:gd name="connsiteX3" fmla="*/ 3569437 w 5081687"/>
                <a:gd name="connsiteY3" fmla="*/ 2593663 h 2593663"/>
                <a:gd name="connsiteX4" fmla="*/ 0 w 5081687"/>
                <a:gd name="connsiteY4" fmla="*/ 1154695 h 2593663"/>
                <a:gd name="connsiteX5" fmla="*/ 2336353 w 5081687"/>
                <a:gd name="connsiteY5" fmla="*/ 247117 h 2593663"/>
                <a:gd name="connsiteX0" fmla="*/ 2336353 w 5081687"/>
                <a:gd name="connsiteY0" fmla="*/ 266018 h 2612564"/>
                <a:gd name="connsiteX1" fmla="*/ 3532981 w 5081687"/>
                <a:gd name="connsiteY1" fmla="*/ 56120 h 2612564"/>
                <a:gd name="connsiteX2" fmla="*/ 5081687 w 5081687"/>
                <a:gd name="connsiteY2" fmla="*/ 1457123 h 2612564"/>
                <a:gd name="connsiteX3" fmla="*/ 3569437 w 5081687"/>
                <a:gd name="connsiteY3" fmla="*/ 2612564 h 2612564"/>
                <a:gd name="connsiteX4" fmla="*/ 0 w 5081687"/>
                <a:gd name="connsiteY4" fmla="*/ 1173596 h 2612564"/>
                <a:gd name="connsiteX5" fmla="*/ 2336353 w 5081687"/>
                <a:gd name="connsiteY5" fmla="*/ 266018 h 2612564"/>
                <a:gd name="connsiteX0" fmla="*/ 2336353 w 5081687"/>
                <a:gd name="connsiteY0" fmla="*/ 27292 h 2373838"/>
                <a:gd name="connsiteX1" fmla="*/ 3498637 w 5081687"/>
                <a:gd name="connsiteY1" fmla="*/ 977461 h 2373838"/>
                <a:gd name="connsiteX2" fmla="*/ 5081687 w 5081687"/>
                <a:gd name="connsiteY2" fmla="*/ 1218397 h 2373838"/>
                <a:gd name="connsiteX3" fmla="*/ 3569437 w 5081687"/>
                <a:gd name="connsiteY3" fmla="*/ 2373838 h 2373838"/>
                <a:gd name="connsiteX4" fmla="*/ 0 w 5081687"/>
                <a:gd name="connsiteY4" fmla="*/ 934870 h 2373838"/>
                <a:gd name="connsiteX5" fmla="*/ 2336353 w 5081687"/>
                <a:gd name="connsiteY5" fmla="*/ 27292 h 2373838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61756 h 2408302"/>
                <a:gd name="connsiteX1" fmla="*/ 3979436 w 5081687"/>
                <a:gd name="connsiteY1" fmla="*/ 357750 h 2408302"/>
                <a:gd name="connsiteX2" fmla="*/ 5081687 w 5081687"/>
                <a:gd name="connsiteY2" fmla="*/ 1252861 h 2408302"/>
                <a:gd name="connsiteX3" fmla="*/ 3569437 w 5081687"/>
                <a:gd name="connsiteY3" fmla="*/ 2408302 h 2408302"/>
                <a:gd name="connsiteX4" fmla="*/ 0 w 5081687"/>
                <a:gd name="connsiteY4" fmla="*/ 969334 h 2408302"/>
                <a:gd name="connsiteX5" fmla="*/ 2336353 w 5081687"/>
                <a:gd name="connsiteY5" fmla="*/ 61756 h 2408302"/>
                <a:gd name="connsiteX0" fmla="*/ 2336353 w 5081687"/>
                <a:gd name="connsiteY0" fmla="*/ 0 h 2346546"/>
                <a:gd name="connsiteX1" fmla="*/ 3979436 w 5081687"/>
                <a:gd name="connsiteY1" fmla="*/ 295994 h 2346546"/>
                <a:gd name="connsiteX2" fmla="*/ 5081687 w 5081687"/>
                <a:gd name="connsiteY2" fmla="*/ 1191105 h 2346546"/>
                <a:gd name="connsiteX3" fmla="*/ 3569437 w 5081687"/>
                <a:gd name="connsiteY3" fmla="*/ 2346546 h 2346546"/>
                <a:gd name="connsiteX4" fmla="*/ 0 w 5081687"/>
                <a:gd name="connsiteY4" fmla="*/ 907578 h 2346546"/>
                <a:gd name="connsiteX5" fmla="*/ 2336353 w 5081687"/>
                <a:gd name="connsiteY5" fmla="*/ 0 h 2346546"/>
                <a:gd name="connsiteX0" fmla="*/ 2336353 w 5081687"/>
                <a:gd name="connsiteY0" fmla="*/ 14470 h 2361016"/>
                <a:gd name="connsiteX1" fmla="*/ 3979436 w 5081687"/>
                <a:gd name="connsiteY1" fmla="*/ 310464 h 2361016"/>
                <a:gd name="connsiteX2" fmla="*/ 5081687 w 5081687"/>
                <a:gd name="connsiteY2" fmla="*/ 1205575 h 2361016"/>
                <a:gd name="connsiteX3" fmla="*/ 3569437 w 5081687"/>
                <a:gd name="connsiteY3" fmla="*/ 2361016 h 2361016"/>
                <a:gd name="connsiteX4" fmla="*/ 0 w 5081687"/>
                <a:gd name="connsiteY4" fmla="*/ 922048 h 2361016"/>
                <a:gd name="connsiteX5" fmla="*/ 2336353 w 5081687"/>
                <a:gd name="connsiteY5" fmla="*/ 14470 h 2361016"/>
                <a:gd name="connsiteX0" fmla="*/ 2336353 w 5081687"/>
                <a:gd name="connsiteY0" fmla="*/ 17346 h 2363892"/>
                <a:gd name="connsiteX1" fmla="*/ 3979436 w 5081687"/>
                <a:gd name="connsiteY1" fmla="*/ 313340 h 2363892"/>
                <a:gd name="connsiteX2" fmla="*/ 5081687 w 5081687"/>
                <a:gd name="connsiteY2" fmla="*/ 1208451 h 2363892"/>
                <a:gd name="connsiteX3" fmla="*/ 3569437 w 5081687"/>
                <a:gd name="connsiteY3" fmla="*/ 2363892 h 2363892"/>
                <a:gd name="connsiteX4" fmla="*/ 0 w 5081687"/>
                <a:gd name="connsiteY4" fmla="*/ 924924 h 2363892"/>
                <a:gd name="connsiteX5" fmla="*/ 2336353 w 5081687"/>
                <a:gd name="connsiteY5" fmla="*/ 17346 h 2363892"/>
                <a:gd name="connsiteX0" fmla="*/ 2336353 w 5081687"/>
                <a:gd name="connsiteY0" fmla="*/ 6134 h 2352680"/>
                <a:gd name="connsiteX1" fmla="*/ 3979436 w 5081687"/>
                <a:gd name="connsiteY1" fmla="*/ 302128 h 2352680"/>
                <a:gd name="connsiteX2" fmla="*/ 5081687 w 5081687"/>
                <a:gd name="connsiteY2" fmla="*/ 1197239 h 2352680"/>
                <a:gd name="connsiteX3" fmla="*/ 3569437 w 5081687"/>
                <a:gd name="connsiteY3" fmla="*/ 2352680 h 2352680"/>
                <a:gd name="connsiteX4" fmla="*/ 0 w 5081687"/>
                <a:gd name="connsiteY4" fmla="*/ 913712 h 2352680"/>
                <a:gd name="connsiteX5" fmla="*/ 2336353 w 5081687"/>
                <a:gd name="connsiteY5" fmla="*/ 6134 h 2352680"/>
                <a:gd name="connsiteX0" fmla="*/ 2336353 w 5081687"/>
                <a:gd name="connsiteY0" fmla="*/ 9893 h 2356439"/>
                <a:gd name="connsiteX1" fmla="*/ 3979436 w 5081687"/>
                <a:gd name="connsiteY1" fmla="*/ 305887 h 2356439"/>
                <a:gd name="connsiteX2" fmla="*/ 5081687 w 5081687"/>
                <a:gd name="connsiteY2" fmla="*/ 1200998 h 2356439"/>
                <a:gd name="connsiteX3" fmla="*/ 3569437 w 5081687"/>
                <a:gd name="connsiteY3" fmla="*/ 2356439 h 2356439"/>
                <a:gd name="connsiteX4" fmla="*/ 0 w 5081687"/>
                <a:gd name="connsiteY4" fmla="*/ 917471 h 2356439"/>
                <a:gd name="connsiteX5" fmla="*/ 2336353 w 5081687"/>
                <a:gd name="connsiteY5" fmla="*/ 9893 h 2356439"/>
                <a:gd name="connsiteX0" fmla="*/ 2336353 w 5081687"/>
                <a:gd name="connsiteY0" fmla="*/ 10756 h 2357302"/>
                <a:gd name="connsiteX1" fmla="*/ 3979436 w 5081687"/>
                <a:gd name="connsiteY1" fmla="*/ 306750 h 2357302"/>
                <a:gd name="connsiteX2" fmla="*/ 5081687 w 5081687"/>
                <a:gd name="connsiteY2" fmla="*/ 1201861 h 2357302"/>
                <a:gd name="connsiteX3" fmla="*/ 3569437 w 5081687"/>
                <a:gd name="connsiteY3" fmla="*/ 2357302 h 2357302"/>
                <a:gd name="connsiteX4" fmla="*/ 0 w 5081687"/>
                <a:gd name="connsiteY4" fmla="*/ 918334 h 2357302"/>
                <a:gd name="connsiteX5" fmla="*/ 2336353 w 5081687"/>
                <a:gd name="connsiteY5" fmla="*/ 10756 h 2357302"/>
                <a:gd name="connsiteX0" fmla="*/ 2336353 w 5081687"/>
                <a:gd name="connsiteY0" fmla="*/ 10308 h 2356854"/>
                <a:gd name="connsiteX1" fmla="*/ 3979436 w 5081687"/>
                <a:gd name="connsiteY1" fmla="*/ 306302 h 2356854"/>
                <a:gd name="connsiteX2" fmla="*/ 5081687 w 5081687"/>
                <a:gd name="connsiteY2" fmla="*/ 1201413 h 2356854"/>
                <a:gd name="connsiteX3" fmla="*/ 3569437 w 5081687"/>
                <a:gd name="connsiteY3" fmla="*/ 2356854 h 2356854"/>
                <a:gd name="connsiteX4" fmla="*/ 0 w 5081687"/>
                <a:gd name="connsiteY4" fmla="*/ 917886 h 2356854"/>
                <a:gd name="connsiteX5" fmla="*/ 2336353 w 5081687"/>
                <a:gd name="connsiteY5" fmla="*/ 10308 h 2356854"/>
                <a:gd name="connsiteX0" fmla="*/ 2336353 w 5081687"/>
                <a:gd name="connsiteY0" fmla="*/ 10755 h 2357301"/>
                <a:gd name="connsiteX1" fmla="*/ 3979436 w 5081687"/>
                <a:gd name="connsiteY1" fmla="*/ 306749 h 2357301"/>
                <a:gd name="connsiteX2" fmla="*/ 5081687 w 5081687"/>
                <a:gd name="connsiteY2" fmla="*/ 1201860 h 2357301"/>
                <a:gd name="connsiteX3" fmla="*/ 3569437 w 5081687"/>
                <a:gd name="connsiteY3" fmla="*/ 2357301 h 2357301"/>
                <a:gd name="connsiteX4" fmla="*/ 0 w 5081687"/>
                <a:gd name="connsiteY4" fmla="*/ 918333 h 2357301"/>
                <a:gd name="connsiteX5" fmla="*/ 2336353 w 5081687"/>
                <a:gd name="connsiteY5" fmla="*/ 10755 h 235730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11535 h 2358081"/>
                <a:gd name="connsiteX1" fmla="*/ 3979436 w 5081687"/>
                <a:gd name="connsiteY1" fmla="*/ 281364 h 2358081"/>
                <a:gd name="connsiteX2" fmla="*/ 5081687 w 5081687"/>
                <a:gd name="connsiteY2" fmla="*/ 1202640 h 2358081"/>
                <a:gd name="connsiteX3" fmla="*/ 3569437 w 5081687"/>
                <a:gd name="connsiteY3" fmla="*/ 2358081 h 2358081"/>
                <a:gd name="connsiteX4" fmla="*/ 0 w 5081687"/>
                <a:gd name="connsiteY4" fmla="*/ 919113 h 2358081"/>
                <a:gd name="connsiteX5" fmla="*/ 2336353 w 5081687"/>
                <a:gd name="connsiteY5" fmla="*/ 11535 h 2358081"/>
                <a:gd name="connsiteX0" fmla="*/ 2336353 w 5081687"/>
                <a:gd name="connsiteY0" fmla="*/ 0 h 2346546"/>
                <a:gd name="connsiteX1" fmla="*/ 5081687 w 5081687"/>
                <a:gd name="connsiteY1" fmla="*/ 1191105 h 2346546"/>
                <a:gd name="connsiteX2" fmla="*/ 3569437 w 5081687"/>
                <a:gd name="connsiteY2" fmla="*/ 2346546 h 2346546"/>
                <a:gd name="connsiteX3" fmla="*/ 0 w 5081687"/>
                <a:gd name="connsiteY3" fmla="*/ 907578 h 2346546"/>
                <a:gd name="connsiteX4" fmla="*/ 2336353 w 5081687"/>
                <a:gd name="connsiteY4" fmla="*/ 0 h 2346546"/>
                <a:gd name="connsiteX0" fmla="*/ 2336353 w 5081687"/>
                <a:gd name="connsiteY0" fmla="*/ 23593 h 2370139"/>
                <a:gd name="connsiteX1" fmla="*/ 5081687 w 5081687"/>
                <a:gd name="connsiteY1" fmla="*/ 1214698 h 2370139"/>
                <a:gd name="connsiteX2" fmla="*/ 3569437 w 5081687"/>
                <a:gd name="connsiteY2" fmla="*/ 2370139 h 2370139"/>
                <a:gd name="connsiteX3" fmla="*/ 0 w 5081687"/>
                <a:gd name="connsiteY3" fmla="*/ 931171 h 2370139"/>
                <a:gd name="connsiteX4" fmla="*/ 2336353 w 5081687"/>
                <a:gd name="connsiteY4" fmla="*/ 23593 h 2370139"/>
                <a:gd name="connsiteX0" fmla="*/ 1554633 w 5081687"/>
                <a:gd name="connsiteY0" fmla="*/ 19445 h 2608650"/>
                <a:gd name="connsiteX1" fmla="*/ 5081687 w 5081687"/>
                <a:gd name="connsiteY1" fmla="*/ 1453209 h 2608650"/>
                <a:gd name="connsiteX2" fmla="*/ 3569437 w 5081687"/>
                <a:gd name="connsiteY2" fmla="*/ 2608650 h 2608650"/>
                <a:gd name="connsiteX3" fmla="*/ 0 w 5081687"/>
                <a:gd name="connsiteY3" fmla="*/ 1169682 h 2608650"/>
                <a:gd name="connsiteX4" fmla="*/ 1554633 w 5081687"/>
                <a:gd name="connsiteY4" fmla="*/ 19445 h 2608650"/>
                <a:gd name="connsiteX0" fmla="*/ 1514099 w 5081687"/>
                <a:gd name="connsiteY0" fmla="*/ 19342 h 2615900"/>
                <a:gd name="connsiteX1" fmla="*/ 5081687 w 5081687"/>
                <a:gd name="connsiteY1" fmla="*/ 1460459 h 2615900"/>
                <a:gd name="connsiteX2" fmla="*/ 3569437 w 5081687"/>
                <a:gd name="connsiteY2" fmla="*/ 2615900 h 2615900"/>
                <a:gd name="connsiteX3" fmla="*/ 0 w 5081687"/>
                <a:gd name="connsiteY3" fmla="*/ 1176932 h 2615900"/>
                <a:gd name="connsiteX4" fmla="*/ 1514099 w 5081687"/>
                <a:gd name="connsiteY4" fmla="*/ 19342 h 2615900"/>
                <a:gd name="connsiteX0" fmla="*/ 1514099 w 5081687"/>
                <a:gd name="connsiteY0" fmla="*/ 35912 h 2632470"/>
                <a:gd name="connsiteX1" fmla="*/ 5081687 w 5081687"/>
                <a:gd name="connsiteY1" fmla="*/ 1477029 h 2632470"/>
                <a:gd name="connsiteX2" fmla="*/ 3569437 w 5081687"/>
                <a:gd name="connsiteY2" fmla="*/ 2632470 h 2632470"/>
                <a:gd name="connsiteX3" fmla="*/ 0 w 5081687"/>
                <a:gd name="connsiteY3" fmla="*/ 1193502 h 2632470"/>
                <a:gd name="connsiteX4" fmla="*/ 1514099 w 5081687"/>
                <a:gd name="connsiteY4" fmla="*/ 35912 h 2632470"/>
                <a:gd name="connsiteX0" fmla="*/ 1514099 w 5081687"/>
                <a:gd name="connsiteY0" fmla="*/ 35582 h 2632140"/>
                <a:gd name="connsiteX1" fmla="*/ 5081687 w 5081687"/>
                <a:gd name="connsiteY1" fmla="*/ 1476699 h 2632140"/>
                <a:gd name="connsiteX2" fmla="*/ 3569437 w 5081687"/>
                <a:gd name="connsiteY2" fmla="*/ 2632140 h 2632140"/>
                <a:gd name="connsiteX3" fmla="*/ 0 w 5081687"/>
                <a:gd name="connsiteY3" fmla="*/ 1193172 h 2632140"/>
                <a:gd name="connsiteX4" fmla="*/ 1514099 w 5081687"/>
                <a:gd name="connsiteY4" fmla="*/ 35582 h 2632140"/>
                <a:gd name="connsiteX0" fmla="*/ 1514099 w 5081687"/>
                <a:gd name="connsiteY0" fmla="*/ 30851 h 2627409"/>
                <a:gd name="connsiteX1" fmla="*/ 5081687 w 5081687"/>
                <a:gd name="connsiteY1" fmla="*/ 1471968 h 2627409"/>
                <a:gd name="connsiteX2" fmla="*/ 3569437 w 5081687"/>
                <a:gd name="connsiteY2" fmla="*/ 2627409 h 2627409"/>
                <a:gd name="connsiteX3" fmla="*/ 0 w 5081687"/>
                <a:gd name="connsiteY3" fmla="*/ 1188441 h 2627409"/>
                <a:gd name="connsiteX4" fmla="*/ 1514099 w 5081687"/>
                <a:gd name="connsiteY4" fmla="*/ 30851 h 2627409"/>
                <a:gd name="connsiteX0" fmla="*/ 1514099 w 5081687"/>
                <a:gd name="connsiteY0" fmla="*/ 37481 h 2634039"/>
                <a:gd name="connsiteX1" fmla="*/ 5081687 w 5081687"/>
                <a:gd name="connsiteY1" fmla="*/ 1478598 h 2634039"/>
                <a:gd name="connsiteX2" fmla="*/ 3569437 w 5081687"/>
                <a:gd name="connsiteY2" fmla="*/ 2634039 h 2634039"/>
                <a:gd name="connsiteX3" fmla="*/ 0 w 5081687"/>
                <a:gd name="connsiteY3" fmla="*/ 1195071 h 2634039"/>
                <a:gd name="connsiteX4" fmla="*/ 1514099 w 5081687"/>
                <a:gd name="connsiteY4" fmla="*/ 37481 h 2634039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081687"/>
                <a:gd name="connsiteY0" fmla="*/ 37481 h 1854584"/>
                <a:gd name="connsiteX1" fmla="*/ 5081687 w 5081687"/>
                <a:gd name="connsiteY1" fmla="*/ 1478598 h 1854584"/>
                <a:gd name="connsiteX2" fmla="*/ 4079004 w 5081687"/>
                <a:gd name="connsiteY2" fmla="*/ 1854584 h 1854584"/>
                <a:gd name="connsiteX3" fmla="*/ 0 w 5081687"/>
                <a:gd name="connsiteY3" fmla="*/ 1195071 h 1854584"/>
                <a:gd name="connsiteX4" fmla="*/ 1514099 w 5081687"/>
                <a:gd name="connsiteY4" fmla="*/ 37481 h 1854584"/>
                <a:gd name="connsiteX0" fmla="*/ 1514099 w 5484281"/>
                <a:gd name="connsiteY0" fmla="*/ 37481 h 1567805"/>
                <a:gd name="connsiteX1" fmla="*/ 5081687 w 5484281"/>
                <a:gd name="connsiteY1" fmla="*/ 1478598 h 1567805"/>
                <a:gd name="connsiteX2" fmla="*/ 5005487 w 5484281"/>
                <a:gd name="connsiteY2" fmla="*/ 1567805 h 1567805"/>
                <a:gd name="connsiteX3" fmla="*/ 0 w 5484281"/>
                <a:gd name="connsiteY3" fmla="*/ 1195071 h 1567805"/>
                <a:gd name="connsiteX4" fmla="*/ 1514099 w 5484281"/>
                <a:gd name="connsiteY4" fmla="*/ 37481 h 1567805"/>
                <a:gd name="connsiteX0" fmla="*/ 225805 w 4195987"/>
                <a:gd name="connsiteY0" fmla="*/ 37481 h 1567805"/>
                <a:gd name="connsiteX1" fmla="*/ 3793393 w 4195987"/>
                <a:gd name="connsiteY1" fmla="*/ 1478598 h 1567805"/>
                <a:gd name="connsiteX2" fmla="*/ 3717193 w 4195987"/>
                <a:gd name="connsiteY2" fmla="*/ 1567805 h 1567805"/>
                <a:gd name="connsiteX3" fmla="*/ 217240 w 4195987"/>
                <a:gd name="connsiteY3" fmla="*/ 158248 h 1567805"/>
                <a:gd name="connsiteX4" fmla="*/ 225805 w 4195987"/>
                <a:gd name="connsiteY4" fmla="*/ 37481 h 1567805"/>
                <a:gd name="connsiteX0" fmla="*/ 8564 w 3978746"/>
                <a:gd name="connsiteY0" fmla="*/ 37481 h 1567805"/>
                <a:gd name="connsiteX1" fmla="*/ 3576152 w 3978746"/>
                <a:gd name="connsiteY1" fmla="*/ 1478598 h 1567805"/>
                <a:gd name="connsiteX2" fmla="*/ 3499952 w 3978746"/>
                <a:gd name="connsiteY2" fmla="*/ 1567805 h 1567805"/>
                <a:gd name="connsiteX3" fmla="*/ -1 w 3978746"/>
                <a:gd name="connsiteY3" fmla="*/ 158248 h 1567805"/>
                <a:gd name="connsiteX4" fmla="*/ 8564 w 3978746"/>
                <a:gd name="connsiteY4" fmla="*/ 37481 h 1567805"/>
                <a:gd name="connsiteX0" fmla="*/ 8565 w 3576153"/>
                <a:gd name="connsiteY0" fmla="*/ 37481 h 1567805"/>
                <a:gd name="connsiteX1" fmla="*/ 3576153 w 3576153"/>
                <a:gd name="connsiteY1" fmla="*/ 1478598 h 1567805"/>
                <a:gd name="connsiteX2" fmla="*/ 3499953 w 3576153"/>
                <a:gd name="connsiteY2" fmla="*/ 1567805 h 1567805"/>
                <a:gd name="connsiteX3" fmla="*/ 0 w 3576153"/>
                <a:gd name="connsiteY3" fmla="*/ 158248 h 1567805"/>
                <a:gd name="connsiteX4" fmla="*/ 8565 w 3576153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95666 w 3567588"/>
                <a:gd name="connsiteY3" fmla="*/ 114128 h 1567805"/>
                <a:gd name="connsiteX4" fmla="*/ 0 w 3567588"/>
                <a:gd name="connsiteY4" fmla="*/ 37481 h 1567805"/>
                <a:gd name="connsiteX0" fmla="*/ 0 w 3567588"/>
                <a:gd name="connsiteY0" fmla="*/ 37481 h 1567805"/>
                <a:gd name="connsiteX1" fmla="*/ 3567588 w 3567588"/>
                <a:gd name="connsiteY1" fmla="*/ 1478598 h 1567805"/>
                <a:gd name="connsiteX2" fmla="*/ 3491388 w 3567588"/>
                <a:gd name="connsiteY2" fmla="*/ 1567805 h 1567805"/>
                <a:gd name="connsiteX3" fmla="*/ 8808 w 3567588"/>
                <a:gd name="connsiteY3" fmla="*/ 172955 h 1567805"/>
                <a:gd name="connsiteX4" fmla="*/ 0 w 3567588"/>
                <a:gd name="connsiteY4" fmla="*/ 37481 h 1567805"/>
                <a:gd name="connsiteX0" fmla="*/ 31545 w 3599133"/>
                <a:gd name="connsiteY0" fmla="*/ 37481 h 1567805"/>
                <a:gd name="connsiteX1" fmla="*/ 3599133 w 3599133"/>
                <a:gd name="connsiteY1" fmla="*/ 1478598 h 1567805"/>
                <a:gd name="connsiteX2" fmla="*/ 3522933 w 3599133"/>
                <a:gd name="connsiteY2" fmla="*/ 1567805 h 1567805"/>
                <a:gd name="connsiteX3" fmla="*/ 0 w 3599133"/>
                <a:gd name="connsiteY3" fmla="*/ 518849 h 1567805"/>
                <a:gd name="connsiteX4" fmla="*/ 31545 w 3599133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21456 w 3589044"/>
                <a:gd name="connsiteY0" fmla="*/ 37481 h 1567805"/>
                <a:gd name="connsiteX1" fmla="*/ 3589044 w 3589044"/>
                <a:gd name="connsiteY1" fmla="*/ 1478598 h 1567805"/>
                <a:gd name="connsiteX2" fmla="*/ 3512844 w 3589044"/>
                <a:gd name="connsiteY2" fmla="*/ 1567805 h 1567805"/>
                <a:gd name="connsiteX3" fmla="*/ 0 w 3589044"/>
                <a:gd name="connsiteY3" fmla="*/ 523119 h 1567805"/>
                <a:gd name="connsiteX4" fmla="*/ 21456 w 3589044"/>
                <a:gd name="connsiteY4" fmla="*/ 37481 h 1567805"/>
                <a:gd name="connsiteX0" fmla="*/ 0 w 3634842"/>
                <a:gd name="connsiteY0" fmla="*/ 47711 h 1262033"/>
                <a:gd name="connsiteX1" fmla="*/ 3634842 w 3634842"/>
                <a:gd name="connsiteY1" fmla="*/ 1172826 h 1262033"/>
                <a:gd name="connsiteX2" fmla="*/ 3558642 w 3634842"/>
                <a:gd name="connsiteY2" fmla="*/ 1262033 h 1262033"/>
                <a:gd name="connsiteX3" fmla="*/ 45798 w 3634842"/>
                <a:gd name="connsiteY3" fmla="*/ 217347 h 1262033"/>
                <a:gd name="connsiteX4" fmla="*/ 0 w 3634842"/>
                <a:gd name="connsiteY4" fmla="*/ 47711 h 1262033"/>
                <a:gd name="connsiteX0" fmla="*/ 0 w 3634842"/>
                <a:gd name="connsiteY0" fmla="*/ 131073 h 1345395"/>
                <a:gd name="connsiteX1" fmla="*/ 3634842 w 3634842"/>
                <a:gd name="connsiteY1" fmla="*/ 1256188 h 1345395"/>
                <a:gd name="connsiteX2" fmla="*/ 3558642 w 3634842"/>
                <a:gd name="connsiteY2" fmla="*/ 1345395 h 1345395"/>
                <a:gd name="connsiteX3" fmla="*/ 45798 w 3634842"/>
                <a:gd name="connsiteY3" fmla="*/ 300709 h 1345395"/>
                <a:gd name="connsiteX4" fmla="*/ 0 w 3634842"/>
                <a:gd name="connsiteY4" fmla="*/ 131073 h 1345395"/>
                <a:gd name="connsiteX0" fmla="*/ 0 w 3634842"/>
                <a:gd name="connsiteY0" fmla="*/ 131073 h 1345395"/>
                <a:gd name="connsiteX1" fmla="*/ 3634842 w 3634842"/>
                <a:gd name="connsiteY1" fmla="*/ 1256188 h 1345395"/>
                <a:gd name="connsiteX2" fmla="*/ 3558642 w 3634842"/>
                <a:gd name="connsiteY2" fmla="*/ 1345395 h 1345395"/>
                <a:gd name="connsiteX3" fmla="*/ 42160 w 3634842"/>
                <a:gd name="connsiteY3" fmla="*/ 309947 h 1345395"/>
                <a:gd name="connsiteX4" fmla="*/ 0 w 3634842"/>
                <a:gd name="connsiteY4" fmla="*/ 131073 h 1345395"/>
                <a:gd name="connsiteX0" fmla="*/ 0 w 3634842"/>
                <a:gd name="connsiteY0" fmla="*/ 132118 h 1333629"/>
                <a:gd name="connsiteX1" fmla="*/ 3634842 w 3634842"/>
                <a:gd name="connsiteY1" fmla="*/ 1244422 h 1333629"/>
                <a:gd name="connsiteX2" fmla="*/ 3558642 w 3634842"/>
                <a:gd name="connsiteY2" fmla="*/ 1333629 h 1333629"/>
                <a:gd name="connsiteX3" fmla="*/ 42160 w 3634842"/>
                <a:gd name="connsiteY3" fmla="*/ 298181 h 1333629"/>
                <a:gd name="connsiteX4" fmla="*/ 0 w 3634842"/>
                <a:gd name="connsiteY4" fmla="*/ 132118 h 1333629"/>
                <a:gd name="connsiteX0" fmla="*/ 0 w 3628116"/>
                <a:gd name="connsiteY0" fmla="*/ 130386 h 1353250"/>
                <a:gd name="connsiteX1" fmla="*/ 3628116 w 3628116"/>
                <a:gd name="connsiteY1" fmla="*/ 1264043 h 1353250"/>
                <a:gd name="connsiteX2" fmla="*/ 3551916 w 3628116"/>
                <a:gd name="connsiteY2" fmla="*/ 1353250 h 1353250"/>
                <a:gd name="connsiteX3" fmla="*/ 35434 w 3628116"/>
                <a:gd name="connsiteY3" fmla="*/ 317802 h 1353250"/>
                <a:gd name="connsiteX4" fmla="*/ 0 w 3628116"/>
                <a:gd name="connsiteY4" fmla="*/ 130386 h 1353250"/>
                <a:gd name="connsiteX0" fmla="*/ 0 w 3621391"/>
                <a:gd name="connsiteY0" fmla="*/ 131420 h 1341473"/>
                <a:gd name="connsiteX1" fmla="*/ 3621391 w 3621391"/>
                <a:gd name="connsiteY1" fmla="*/ 1252266 h 1341473"/>
                <a:gd name="connsiteX2" fmla="*/ 3545191 w 3621391"/>
                <a:gd name="connsiteY2" fmla="*/ 1341473 h 1341473"/>
                <a:gd name="connsiteX3" fmla="*/ 28709 w 3621391"/>
                <a:gd name="connsiteY3" fmla="*/ 306025 h 1341473"/>
                <a:gd name="connsiteX4" fmla="*/ 0 w 3621391"/>
                <a:gd name="connsiteY4" fmla="*/ 131420 h 1341473"/>
                <a:gd name="connsiteX0" fmla="*/ 0 w 3621391"/>
                <a:gd name="connsiteY0" fmla="*/ 131420 h 1341473"/>
                <a:gd name="connsiteX1" fmla="*/ 3621391 w 3621391"/>
                <a:gd name="connsiteY1" fmla="*/ 1252266 h 1341473"/>
                <a:gd name="connsiteX2" fmla="*/ 3545191 w 3621391"/>
                <a:gd name="connsiteY2" fmla="*/ 1341473 h 1341473"/>
                <a:gd name="connsiteX3" fmla="*/ 35435 w 3621391"/>
                <a:gd name="connsiteY3" fmla="*/ 310295 h 1341473"/>
                <a:gd name="connsiteX4" fmla="*/ 0 w 3621391"/>
                <a:gd name="connsiteY4" fmla="*/ 131420 h 1341473"/>
                <a:gd name="connsiteX0" fmla="*/ 0 w 3628116"/>
                <a:gd name="connsiteY0" fmla="*/ 131420 h 1341473"/>
                <a:gd name="connsiteX1" fmla="*/ 3628116 w 3628116"/>
                <a:gd name="connsiteY1" fmla="*/ 1252266 h 1341473"/>
                <a:gd name="connsiteX2" fmla="*/ 3551916 w 3628116"/>
                <a:gd name="connsiteY2" fmla="*/ 1341473 h 1341473"/>
                <a:gd name="connsiteX3" fmla="*/ 42160 w 3628116"/>
                <a:gd name="connsiteY3" fmla="*/ 310295 h 1341473"/>
                <a:gd name="connsiteX4" fmla="*/ 0 w 3628116"/>
                <a:gd name="connsiteY4" fmla="*/ 131420 h 1341473"/>
                <a:gd name="connsiteX0" fmla="*/ 0 w 3628116"/>
                <a:gd name="connsiteY0" fmla="*/ 131420 h 1341473"/>
                <a:gd name="connsiteX1" fmla="*/ 3628116 w 3628116"/>
                <a:gd name="connsiteY1" fmla="*/ 1252266 h 1341473"/>
                <a:gd name="connsiteX2" fmla="*/ 3551916 w 3628116"/>
                <a:gd name="connsiteY2" fmla="*/ 1341473 h 1341473"/>
                <a:gd name="connsiteX3" fmla="*/ 52249 w 3628116"/>
                <a:gd name="connsiteY3" fmla="*/ 318837 h 1341473"/>
                <a:gd name="connsiteX4" fmla="*/ 0 w 3628116"/>
                <a:gd name="connsiteY4" fmla="*/ 131420 h 1341473"/>
                <a:gd name="connsiteX0" fmla="*/ 0 w 3628116"/>
                <a:gd name="connsiteY0" fmla="*/ 132118 h 1333629"/>
                <a:gd name="connsiteX1" fmla="*/ 3628116 w 3628116"/>
                <a:gd name="connsiteY1" fmla="*/ 1244422 h 1333629"/>
                <a:gd name="connsiteX2" fmla="*/ 3551916 w 3628116"/>
                <a:gd name="connsiteY2" fmla="*/ 1333629 h 1333629"/>
                <a:gd name="connsiteX3" fmla="*/ 52249 w 3628116"/>
                <a:gd name="connsiteY3" fmla="*/ 310993 h 1333629"/>
                <a:gd name="connsiteX4" fmla="*/ 0 w 3628116"/>
                <a:gd name="connsiteY4" fmla="*/ 132118 h 1333629"/>
                <a:gd name="connsiteX0" fmla="*/ 0 w 3628116"/>
                <a:gd name="connsiteY0" fmla="*/ 132118 h 1333629"/>
                <a:gd name="connsiteX1" fmla="*/ 3628116 w 3628116"/>
                <a:gd name="connsiteY1" fmla="*/ 1244422 h 1333629"/>
                <a:gd name="connsiteX2" fmla="*/ 3551916 w 3628116"/>
                <a:gd name="connsiteY2" fmla="*/ 1333629 h 1333629"/>
                <a:gd name="connsiteX3" fmla="*/ 52249 w 3628116"/>
                <a:gd name="connsiteY3" fmla="*/ 310993 h 1333629"/>
                <a:gd name="connsiteX4" fmla="*/ 0 w 3628116"/>
                <a:gd name="connsiteY4" fmla="*/ 132118 h 1333629"/>
                <a:gd name="connsiteX0" fmla="*/ 0 w 3628116"/>
                <a:gd name="connsiteY0" fmla="*/ 132118 h 1333629"/>
                <a:gd name="connsiteX1" fmla="*/ 3628116 w 3628116"/>
                <a:gd name="connsiteY1" fmla="*/ 1244422 h 1333629"/>
                <a:gd name="connsiteX2" fmla="*/ 3551916 w 3628116"/>
                <a:gd name="connsiteY2" fmla="*/ 1333629 h 1333629"/>
                <a:gd name="connsiteX3" fmla="*/ 48886 w 3628116"/>
                <a:gd name="connsiteY3" fmla="*/ 315263 h 1333629"/>
                <a:gd name="connsiteX4" fmla="*/ 0 w 3628116"/>
                <a:gd name="connsiteY4" fmla="*/ 132118 h 1333629"/>
                <a:gd name="connsiteX0" fmla="*/ 0 w 3624754"/>
                <a:gd name="connsiteY0" fmla="*/ 132823 h 1325794"/>
                <a:gd name="connsiteX1" fmla="*/ 3624754 w 3624754"/>
                <a:gd name="connsiteY1" fmla="*/ 1236587 h 1325794"/>
                <a:gd name="connsiteX2" fmla="*/ 3548554 w 3624754"/>
                <a:gd name="connsiteY2" fmla="*/ 1325794 h 1325794"/>
                <a:gd name="connsiteX3" fmla="*/ 45524 w 3624754"/>
                <a:gd name="connsiteY3" fmla="*/ 307428 h 1325794"/>
                <a:gd name="connsiteX4" fmla="*/ 0 w 3624754"/>
                <a:gd name="connsiteY4" fmla="*/ 132823 h 1325794"/>
                <a:gd name="connsiteX0" fmla="*/ 0 w 3631479"/>
                <a:gd name="connsiteY0" fmla="*/ 132823 h 1325794"/>
                <a:gd name="connsiteX1" fmla="*/ 3631479 w 3631479"/>
                <a:gd name="connsiteY1" fmla="*/ 1236587 h 1325794"/>
                <a:gd name="connsiteX2" fmla="*/ 3555279 w 3631479"/>
                <a:gd name="connsiteY2" fmla="*/ 1325794 h 1325794"/>
                <a:gd name="connsiteX3" fmla="*/ 52249 w 3631479"/>
                <a:gd name="connsiteY3" fmla="*/ 307428 h 1325794"/>
                <a:gd name="connsiteX4" fmla="*/ 0 w 3631479"/>
                <a:gd name="connsiteY4" fmla="*/ 132823 h 1325794"/>
                <a:gd name="connsiteX0" fmla="*/ 38545 w 3579230"/>
                <a:gd name="connsiteY0" fmla="*/ 124506 h 1424234"/>
                <a:gd name="connsiteX1" fmla="*/ 3579230 w 3579230"/>
                <a:gd name="connsiteY1" fmla="*/ 1335027 h 1424234"/>
                <a:gd name="connsiteX2" fmla="*/ 3503030 w 3579230"/>
                <a:gd name="connsiteY2" fmla="*/ 1424234 h 1424234"/>
                <a:gd name="connsiteX3" fmla="*/ 0 w 3579230"/>
                <a:gd name="connsiteY3" fmla="*/ 405868 h 1424234"/>
                <a:gd name="connsiteX4" fmla="*/ 38545 w 3579230"/>
                <a:gd name="connsiteY4" fmla="*/ 124506 h 1424234"/>
                <a:gd name="connsiteX0" fmla="*/ 0 w 3621390"/>
                <a:gd name="connsiteY0" fmla="*/ 132470 h 1329711"/>
                <a:gd name="connsiteX1" fmla="*/ 3621390 w 3621390"/>
                <a:gd name="connsiteY1" fmla="*/ 1240504 h 1329711"/>
                <a:gd name="connsiteX2" fmla="*/ 3545190 w 3621390"/>
                <a:gd name="connsiteY2" fmla="*/ 1329711 h 1329711"/>
                <a:gd name="connsiteX3" fmla="*/ 42160 w 3621390"/>
                <a:gd name="connsiteY3" fmla="*/ 311345 h 1329711"/>
                <a:gd name="connsiteX4" fmla="*/ 0 w 3621390"/>
                <a:gd name="connsiteY4" fmla="*/ 132470 h 1329711"/>
                <a:gd name="connsiteX0" fmla="*/ 0 w 3628115"/>
                <a:gd name="connsiteY0" fmla="*/ 132116 h 1333629"/>
                <a:gd name="connsiteX1" fmla="*/ 3628115 w 3628115"/>
                <a:gd name="connsiteY1" fmla="*/ 1244422 h 1333629"/>
                <a:gd name="connsiteX2" fmla="*/ 3551915 w 3628115"/>
                <a:gd name="connsiteY2" fmla="*/ 1333629 h 1333629"/>
                <a:gd name="connsiteX3" fmla="*/ 48885 w 3628115"/>
                <a:gd name="connsiteY3" fmla="*/ 315263 h 1333629"/>
                <a:gd name="connsiteX4" fmla="*/ 0 w 3628115"/>
                <a:gd name="connsiteY4" fmla="*/ 132116 h 1333629"/>
                <a:gd name="connsiteX0" fmla="*/ 0 w 3628115"/>
                <a:gd name="connsiteY0" fmla="*/ 132118 h 1342171"/>
                <a:gd name="connsiteX1" fmla="*/ 3628115 w 3628115"/>
                <a:gd name="connsiteY1" fmla="*/ 1244424 h 1342171"/>
                <a:gd name="connsiteX2" fmla="*/ 3548554 w 3628115"/>
                <a:gd name="connsiteY2" fmla="*/ 1342171 h 1342171"/>
                <a:gd name="connsiteX3" fmla="*/ 48885 w 3628115"/>
                <a:gd name="connsiteY3" fmla="*/ 315265 h 1342171"/>
                <a:gd name="connsiteX4" fmla="*/ 0 w 3628115"/>
                <a:gd name="connsiteY4" fmla="*/ 132118 h 134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8115" h="1342171">
                  <a:moveTo>
                    <a:pt x="0" y="132118"/>
                  </a:moveTo>
                  <a:cubicBezTo>
                    <a:pt x="2121376" y="-393236"/>
                    <a:pt x="3237305" y="787153"/>
                    <a:pt x="3628115" y="1244424"/>
                  </a:cubicBezTo>
                  <a:lnTo>
                    <a:pt x="3548554" y="1342171"/>
                  </a:lnTo>
                  <a:cubicBezTo>
                    <a:pt x="3118226" y="909345"/>
                    <a:pt x="1828720" y="-261962"/>
                    <a:pt x="48885" y="315265"/>
                  </a:cubicBezTo>
                  <a:lnTo>
                    <a:pt x="0" y="132118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出自【趣你的PPT】(微信:qunideppt)：最优质的PPT资源库"/>
            <p:cNvSpPr/>
            <p:nvPr/>
          </p:nvSpPr>
          <p:spPr>
            <a:xfrm rot="20263630">
              <a:off x="6525406" y="3930842"/>
              <a:ext cx="791170" cy="620300"/>
            </a:xfrm>
            <a:custGeom>
              <a:avLst/>
              <a:gdLst>
                <a:gd name="connsiteX0" fmla="*/ 0 w 648072"/>
                <a:gd name="connsiteY0" fmla="*/ 0 h 272033"/>
                <a:gd name="connsiteX1" fmla="*/ 648072 w 648072"/>
                <a:gd name="connsiteY1" fmla="*/ 0 h 272033"/>
                <a:gd name="connsiteX2" fmla="*/ 648072 w 648072"/>
                <a:gd name="connsiteY2" fmla="*/ 272033 h 272033"/>
                <a:gd name="connsiteX3" fmla="*/ 0 w 648072"/>
                <a:gd name="connsiteY3" fmla="*/ 272033 h 272033"/>
                <a:gd name="connsiteX4" fmla="*/ 0 w 648072"/>
                <a:gd name="connsiteY4" fmla="*/ 0 h 272033"/>
                <a:gd name="connsiteX0" fmla="*/ 0 w 1073188"/>
                <a:gd name="connsiteY0" fmla="*/ 641684 h 913717"/>
                <a:gd name="connsiteX1" fmla="*/ 1073188 w 1073188"/>
                <a:gd name="connsiteY1" fmla="*/ 0 h 913717"/>
                <a:gd name="connsiteX2" fmla="*/ 648072 w 1073188"/>
                <a:gd name="connsiteY2" fmla="*/ 913717 h 913717"/>
                <a:gd name="connsiteX3" fmla="*/ 0 w 1073188"/>
                <a:gd name="connsiteY3" fmla="*/ 913717 h 913717"/>
                <a:gd name="connsiteX4" fmla="*/ 0 w 1073188"/>
                <a:gd name="connsiteY4" fmla="*/ 641684 h 913717"/>
                <a:gd name="connsiteX0" fmla="*/ 64169 w 1137357"/>
                <a:gd name="connsiteY0" fmla="*/ 641684 h 913717"/>
                <a:gd name="connsiteX1" fmla="*/ 1137357 w 1137357"/>
                <a:gd name="connsiteY1" fmla="*/ 0 h 913717"/>
                <a:gd name="connsiteX2" fmla="*/ 712241 w 1137357"/>
                <a:gd name="connsiteY2" fmla="*/ 913717 h 913717"/>
                <a:gd name="connsiteX3" fmla="*/ 0 w 1137357"/>
                <a:gd name="connsiteY3" fmla="*/ 705170 h 913717"/>
                <a:gd name="connsiteX4" fmla="*/ 64169 w 1137357"/>
                <a:gd name="connsiteY4" fmla="*/ 641684 h 913717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53135 w 1137357"/>
                <a:gd name="connsiteY2" fmla="*/ 87548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7357"/>
                <a:gd name="connsiteY0" fmla="*/ 641684 h 705170"/>
                <a:gd name="connsiteX1" fmla="*/ 1137357 w 1137357"/>
                <a:gd name="connsiteY1" fmla="*/ 0 h 705170"/>
                <a:gd name="connsiteX2" fmla="*/ 1097251 w 1137357"/>
                <a:gd name="connsiteY2" fmla="*/ 55464 h 705170"/>
                <a:gd name="connsiteX3" fmla="*/ 0 w 1137357"/>
                <a:gd name="connsiteY3" fmla="*/ 705170 h 705170"/>
                <a:gd name="connsiteX4" fmla="*/ 64169 w 1137357"/>
                <a:gd name="connsiteY4" fmla="*/ 641684 h 705170"/>
                <a:gd name="connsiteX0" fmla="*/ 64169 w 1134976"/>
                <a:gd name="connsiteY0" fmla="*/ 641684 h 705170"/>
                <a:gd name="connsiteX1" fmla="*/ 1134976 w 1134976"/>
                <a:gd name="connsiteY1" fmla="*/ 0 h 705170"/>
                <a:gd name="connsiteX2" fmla="*/ 1097251 w 1134976"/>
                <a:gd name="connsiteY2" fmla="*/ 55464 h 705170"/>
                <a:gd name="connsiteX3" fmla="*/ 0 w 1134976"/>
                <a:gd name="connsiteY3" fmla="*/ 705170 h 705170"/>
                <a:gd name="connsiteX4" fmla="*/ 64169 w 1134976"/>
                <a:gd name="connsiteY4" fmla="*/ 641684 h 705170"/>
                <a:gd name="connsiteX0" fmla="*/ 64169 w 1142119"/>
                <a:gd name="connsiteY0" fmla="*/ 648828 h 712314"/>
                <a:gd name="connsiteX1" fmla="*/ 1142119 w 1142119"/>
                <a:gd name="connsiteY1" fmla="*/ 0 h 712314"/>
                <a:gd name="connsiteX2" fmla="*/ 1097251 w 1142119"/>
                <a:gd name="connsiteY2" fmla="*/ 62608 h 712314"/>
                <a:gd name="connsiteX3" fmla="*/ 0 w 1142119"/>
                <a:gd name="connsiteY3" fmla="*/ 712314 h 712314"/>
                <a:gd name="connsiteX4" fmla="*/ 64169 w 1142119"/>
                <a:gd name="connsiteY4" fmla="*/ 648828 h 712314"/>
                <a:gd name="connsiteX0" fmla="*/ 64169 w 1132594"/>
                <a:gd name="connsiteY0" fmla="*/ 644066 h 707552"/>
                <a:gd name="connsiteX1" fmla="*/ 1132594 w 1132594"/>
                <a:gd name="connsiteY1" fmla="*/ 0 h 707552"/>
                <a:gd name="connsiteX2" fmla="*/ 1097251 w 1132594"/>
                <a:gd name="connsiteY2" fmla="*/ 57846 h 707552"/>
                <a:gd name="connsiteX3" fmla="*/ 0 w 1132594"/>
                <a:gd name="connsiteY3" fmla="*/ 707552 h 707552"/>
                <a:gd name="connsiteX4" fmla="*/ 64169 w 1132594"/>
                <a:gd name="connsiteY4" fmla="*/ 644066 h 707552"/>
                <a:gd name="connsiteX0" fmla="*/ 54644 w 1123069"/>
                <a:gd name="connsiteY0" fmla="*/ 644066 h 700408"/>
                <a:gd name="connsiteX1" fmla="*/ 1123069 w 1123069"/>
                <a:gd name="connsiteY1" fmla="*/ 0 h 700408"/>
                <a:gd name="connsiteX2" fmla="*/ 1087726 w 1123069"/>
                <a:gd name="connsiteY2" fmla="*/ 57846 h 700408"/>
                <a:gd name="connsiteX3" fmla="*/ 0 w 1123069"/>
                <a:gd name="connsiteY3" fmla="*/ 700408 h 700408"/>
                <a:gd name="connsiteX4" fmla="*/ 54644 w 1123069"/>
                <a:gd name="connsiteY4" fmla="*/ 644066 h 700408"/>
                <a:gd name="connsiteX0" fmla="*/ 52262 w 1120687"/>
                <a:gd name="connsiteY0" fmla="*/ 644066 h 695645"/>
                <a:gd name="connsiteX1" fmla="*/ 1120687 w 1120687"/>
                <a:gd name="connsiteY1" fmla="*/ 0 h 695645"/>
                <a:gd name="connsiteX2" fmla="*/ 1085344 w 1120687"/>
                <a:gd name="connsiteY2" fmla="*/ 57846 h 695645"/>
                <a:gd name="connsiteX3" fmla="*/ 0 w 1120687"/>
                <a:gd name="connsiteY3" fmla="*/ 695645 h 695645"/>
                <a:gd name="connsiteX4" fmla="*/ 52262 w 1120687"/>
                <a:gd name="connsiteY4" fmla="*/ 644066 h 695645"/>
                <a:gd name="connsiteX0" fmla="*/ 52262 w 1120687"/>
                <a:gd name="connsiteY0" fmla="*/ 644066 h 695645"/>
                <a:gd name="connsiteX1" fmla="*/ 1120687 w 1120687"/>
                <a:gd name="connsiteY1" fmla="*/ 0 h 695645"/>
                <a:gd name="connsiteX2" fmla="*/ 1114300 w 1120687"/>
                <a:gd name="connsiteY2" fmla="*/ 69706 h 695645"/>
                <a:gd name="connsiteX3" fmla="*/ 0 w 1120687"/>
                <a:gd name="connsiteY3" fmla="*/ 695645 h 695645"/>
                <a:gd name="connsiteX4" fmla="*/ 52262 w 1120687"/>
                <a:gd name="connsiteY4" fmla="*/ 644066 h 695645"/>
                <a:gd name="connsiteX0" fmla="*/ 0 w 1068425"/>
                <a:gd name="connsiteY0" fmla="*/ 644066 h 644066"/>
                <a:gd name="connsiteX1" fmla="*/ 1068425 w 1068425"/>
                <a:gd name="connsiteY1" fmla="*/ 0 h 644066"/>
                <a:gd name="connsiteX2" fmla="*/ 1062038 w 1068425"/>
                <a:gd name="connsiteY2" fmla="*/ 69706 h 644066"/>
                <a:gd name="connsiteX3" fmla="*/ 273073 w 1068425"/>
                <a:gd name="connsiteY3" fmla="*/ 626009 h 644066"/>
                <a:gd name="connsiteX4" fmla="*/ 0 w 1068425"/>
                <a:gd name="connsiteY4" fmla="*/ 644066 h 644066"/>
                <a:gd name="connsiteX0" fmla="*/ 74972 w 795352"/>
                <a:gd name="connsiteY0" fmla="*/ 482288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74972 w 795352"/>
                <a:gd name="connsiteY4" fmla="*/ 482288 h 626009"/>
                <a:gd name="connsiteX0" fmla="*/ 5474 w 795352"/>
                <a:gd name="connsiteY0" fmla="*/ 532723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5474 w 795352"/>
                <a:gd name="connsiteY4" fmla="*/ 532723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8404 w 795352"/>
                <a:gd name="connsiteY0" fmla="*/ 525572 h 626009"/>
                <a:gd name="connsiteX1" fmla="*/ 795352 w 795352"/>
                <a:gd name="connsiteY1" fmla="*/ 0 h 626009"/>
                <a:gd name="connsiteX2" fmla="*/ 788965 w 795352"/>
                <a:gd name="connsiteY2" fmla="*/ 69706 h 626009"/>
                <a:gd name="connsiteX3" fmla="*/ 0 w 795352"/>
                <a:gd name="connsiteY3" fmla="*/ 626009 h 626009"/>
                <a:gd name="connsiteX4" fmla="*/ 8404 w 795352"/>
                <a:gd name="connsiteY4" fmla="*/ 525572 h 626009"/>
                <a:gd name="connsiteX0" fmla="*/ 0 w 786948"/>
                <a:gd name="connsiteY0" fmla="*/ 525572 h 710086"/>
                <a:gd name="connsiteX1" fmla="*/ 786948 w 786948"/>
                <a:gd name="connsiteY1" fmla="*/ 0 h 710086"/>
                <a:gd name="connsiteX2" fmla="*/ 780561 w 786948"/>
                <a:gd name="connsiteY2" fmla="*/ 69706 h 710086"/>
                <a:gd name="connsiteX3" fmla="*/ 52371 w 786948"/>
                <a:gd name="connsiteY3" fmla="*/ 710086 h 710086"/>
                <a:gd name="connsiteX4" fmla="*/ 0 w 786948"/>
                <a:gd name="connsiteY4" fmla="*/ 525572 h 710086"/>
                <a:gd name="connsiteX0" fmla="*/ 10209 w 797157"/>
                <a:gd name="connsiteY0" fmla="*/ 525572 h 630417"/>
                <a:gd name="connsiteX1" fmla="*/ 797157 w 797157"/>
                <a:gd name="connsiteY1" fmla="*/ 0 h 630417"/>
                <a:gd name="connsiteX2" fmla="*/ 790770 w 797157"/>
                <a:gd name="connsiteY2" fmla="*/ 69706 h 630417"/>
                <a:gd name="connsiteX3" fmla="*/ 0 w 797157"/>
                <a:gd name="connsiteY3" fmla="*/ 630417 h 630417"/>
                <a:gd name="connsiteX4" fmla="*/ 10209 w 797157"/>
                <a:gd name="connsiteY4" fmla="*/ 525572 h 630417"/>
                <a:gd name="connsiteX0" fmla="*/ 0 w 786948"/>
                <a:gd name="connsiteY0" fmla="*/ 525572 h 643052"/>
                <a:gd name="connsiteX1" fmla="*/ 786948 w 786948"/>
                <a:gd name="connsiteY1" fmla="*/ 0 h 643052"/>
                <a:gd name="connsiteX2" fmla="*/ 780561 w 786948"/>
                <a:gd name="connsiteY2" fmla="*/ 69706 h 643052"/>
                <a:gd name="connsiteX3" fmla="*/ 20641 w 786948"/>
                <a:gd name="connsiteY3" fmla="*/ 643052 h 643052"/>
                <a:gd name="connsiteX4" fmla="*/ 0 w 786948"/>
                <a:gd name="connsiteY4" fmla="*/ 525572 h 643052"/>
                <a:gd name="connsiteX0" fmla="*/ 8908 w 795856"/>
                <a:gd name="connsiteY0" fmla="*/ 525572 h 633522"/>
                <a:gd name="connsiteX1" fmla="*/ 795856 w 795856"/>
                <a:gd name="connsiteY1" fmla="*/ 0 h 633522"/>
                <a:gd name="connsiteX2" fmla="*/ 789469 w 795856"/>
                <a:gd name="connsiteY2" fmla="*/ 69706 h 633522"/>
                <a:gd name="connsiteX3" fmla="*/ 0 w 795856"/>
                <a:gd name="connsiteY3" fmla="*/ 633522 h 633522"/>
                <a:gd name="connsiteX4" fmla="*/ 8908 w 795856"/>
                <a:gd name="connsiteY4" fmla="*/ 525572 h 633522"/>
                <a:gd name="connsiteX0" fmla="*/ 12414 w 799362"/>
                <a:gd name="connsiteY0" fmla="*/ 525572 h 629513"/>
                <a:gd name="connsiteX1" fmla="*/ 799362 w 799362"/>
                <a:gd name="connsiteY1" fmla="*/ 0 h 629513"/>
                <a:gd name="connsiteX2" fmla="*/ 792975 w 799362"/>
                <a:gd name="connsiteY2" fmla="*/ 69706 h 629513"/>
                <a:gd name="connsiteX3" fmla="*/ 0 w 799362"/>
                <a:gd name="connsiteY3" fmla="*/ 629513 h 629513"/>
                <a:gd name="connsiteX4" fmla="*/ 12414 w 799362"/>
                <a:gd name="connsiteY4" fmla="*/ 525572 h 629513"/>
                <a:gd name="connsiteX0" fmla="*/ 12414 w 792975"/>
                <a:gd name="connsiteY0" fmla="*/ 520766 h 624707"/>
                <a:gd name="connsiteX1" fmla="*/ 792248 w 792975"/>
                <a:gd name="connsiteY1" fmla="*/ 0 h 624707"/>
                <a:gd name="connsiteX2" fmla="*/ 792975 w 792975"/>
                <a:gd name="connsiteY2" fmla="*/ 64900 h 624707"/>
                <a:gd name="connsiteX3" fmla="*/ 0 w 792975"/>
                <a:gd name="connsiteY3" fmla="*/ 624707 h 624707"/>
                <a:gd name="connsiteX4" fmla="*/ 12414 w 792975"/>
                <a:gd name="connsiteY4" fmla="*/ 520766 h 624707"/>
                <a:gd name="connsiteX0" fmla="*/ 15121 w 792975"/>
                <a:gd name="connsiteY0" fmla="*/ 514156 h 624707"/>
                <a:gd name="connsiteX1" fmla="*/ 792248 w 792975"/>
                <a:gd name="connsiteY1" fmla="*/ 0 h 624707"/>
                <a:gd name="connsiteX2" fmla="*/ 792975 w 792975"/>
                <a:gd name="connsiteY2" fmla="*/ 64900 h 624707"/>
                <a:gd name="connsiteX3" fmla="*/ 0 w 792975"/>
                <a:gd name="connsiteY3" fmla="*/ 624707 h 624707"/>
                <a:gd name="connsiteX4" fmla="*/ 15121 w 792975"/>
                <a:gd name="connsiteY4" fmla="*/ 514156 h 624707"/>
                <a:gd name="connsiteX0" fmla="*/ 0 w 777854"/>
                <a:gd name="connsiteY0" fmla="*/ 514156 h 637342"/>
                <a:gd name="connsiteX1" fmla="*/ 777127 w 777854"/>
                <a:gd name="connsiteY1" fmla="*/ 0 h 637342"/>
                <a:gd name="connsiteX2" fmla="*/ 777854 w 777854"/>
                <a:gd name="connsiteY2" fmla="*/ 64900 h 637342"/>
                <a:gd name="connsiteX3" fmla="*/ 15729 w 777854"/>
                <a:gd name="connsiteY3" fmla="*/ 637342 h 637342"/>
                <a:gd name="connsiteX4" fmla="*/ 0 w 777854"/>
                <a:gd name="connsiteY4" fmla="*/ 514156 h 637342"/>
                <a:gd name="connsiteX0" fmla="*/ 12917 w 790771"/>
                <a:gd name="connsiteY0" fmla="*/ 514156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12917 w 790771"/>
                <a:gd name="connsiteY4" fmla="*/ 514156 h 625609"/>
                <a:gd name="connsiteX0" fmla="*/ 117013 w 790771"/>
                <a:gd name="connsiteY0" fmla="*/ 492460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117013 w 790771"/>
                <a:gd name="connsiteY4" fmla="*/ 492460 h 625609"/>
                <a:gd name="connsiteX0" fmla="*/ 10608 w 790771"/>
                <a:gd name="connsiteY0" fmla="*/ 526077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10608 w 790771"/>
                <a:gd name="connsiteY4" fmla="*/ 526077 h 625609"/>
                <a:gd name="connsiteX0" fmla="*/ 5803 w 790771"/>
                <a:gd name="connsiteY0" fmla="*/ 518962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5803 w 790771"/>
                <a:gd name="connsiteY4" fmla="*/ 518962 h 625609"/>
                <a:gd name="connsiteX0" fmla="*/ 8511 w 790771"/>
                <a:gd name="connsiteY0" fmla="*/ 512351 h 625609"/>
                <a:gd name="connsiteX1" fmla="*/ 790044 w 790771"/>
                <a:gd name="connsiteY1" fmla="*/ 0 h 625609"/>
                <a:gd name="connsiteX2" fmla="*/ 790771 w 790771"/>
                <a:gd name="connsiteY2" fmla="*/ 64900 h 625609"/>
                <a:gd name="connsiteX3" fmla="*/ 0 w 790771"/>
                <a:gd name="connsiteY3" fmla="*/ 625609 h 625609"/>
                <a:gd name="connsiteX4" fmla="*/ 8511 w 790771"/>
                <a:gd name="connsiteY4" fmla="*/ 512351 h 625609"/>
                <a:gd name="connsiteX0" fmla="*/ 8910 w 791170"/>
                <a:gd name="connsiteY0" fmla="*/ 512351 h 620300"/>
                <a:gd name="connsiteX1" fmla="*/ 790443 w 791170"/>
                <a:gd name="connsiteY1" fmla="*/ 0 h 620300"/>
                <a:gd name="connsiteX2" fmla="*/ 791170 w 791170"/>
                <a:gd name="connsiteY2" fmla="*/ 64900 h 620300"/>
                <a:gd name="connsiteX3" fmla="*/ 0 w 791170"/>
                <a:gd name="connsiteY3" fmla="*/ 620300 h 620300"/>
                <a:gd name="connsiteX4" fmla="*/ 8910 w 791170"/>
                <a:gd name="connsiteY4" fmla="*/ 512351 h 6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170" h="620300">
                  <a:moveTo>
                    <a:pt x="8910" y="512351"/>
                  </a:moveTo>
                  <a:lnTo>
                    <a:pt x="790443" y="0"/>
                  </a:lnTo>
                  <a:cubicBezTo>
                    <a:pt x="790685" y="21633"/>
                    <a:pt x="790928" y="43267"/>
                    <a:pt x="791170" y="64900"/>
                  </a:cubicBezTo>
                  <a:lnTo>
                    <a:pt x="0" y="620300"/>
                  </a:lnTo>
                  <a:lnTo>
                    <a:pt x="8910" y="512351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87">
                <a:defRPr/>
              </a:pPr>
              <a:endParaRPr lang="zh-CN" alt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4" name="出自【趣你的PPT】(微信:qunideppt)：最优质的PPT资源库"/>
          <p:cNvSpPr/>
          <p:nvPr/>
        </p:nvSpPr>
        <p:spPr>
          <a:xfrm flipH="1">
            <a:off x="7506094" y="2224984"/>
            <a:ext cx="2456080" cy="416020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1534558 w 1534558"/>
              <a:gd name="connsiteY0" fmla="*/ 934786 h 934786"/>
              <a:gd name="connsiteX1" fmla="*/ 1322940 w 1534558"/>
              <a:gd name="connsiteY1" fmla="*/ 0 h 934786"/>
              <a:gd name="connsiteX2" fmla="*/ 0 w 1534558"/>
              <a:gd name="connsiteY2" fmla="*/ 3548 h 934786"/>
              <a:gd name="connsiteX0" fmla="*/ 1550250 w 1550250"/>
              <a:gd name="connsiteY0" fmla="*/ 934786 h 934786"/>
              <a:gd name="connsiteX1" fmla="*/ 1338632 w 1550250"/>
              <a:gd name="connsiteY1" fmla="*/ 0 h 934786"/>
              <a:gd name="connsiteX2" fmla="*/ 0 w 1550250"/>
              <a:gd name="connsiteY2" fmla="*/ 3548 h 934786"/>
              <a:gd name="connsiteX0" fmla="*/ 1536302 w 1536302"/>
              <a:gd name="connsiteY0" fmla="*/ 934786 h 934786"/>
              <a:gd name="connsiteX1" fmla="*/ 1324684 w 1536302"/>
              <a:gd name="connsiteY1" fmla="*/ 0 h 934786"/>
              <a:gd name="connsiteX2" fmla="*/ 0 w 1536302"/>
              <a:gd name="connsiteY2" fmla="*/ 3548 h 934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36302" h="934786">
                <a:moveTo>
                  <a:pt x="1536302" y="934786"/>
                </a:moveTo>
                <a:lnTo>
                  <a:pt x="1324684" y="0"/>
                </a:lnTo>
                <a:lnTo>
                  <a:pt x="0" y="3548"/>
                </a:lnTo>
              </a:path>
            </a:pathLst>
          </a:custGeom>
          <a:noFill/>
          <a:ln w="6350" cap="flat" cmpd="sng" algn="ctr">
            <a:solidFill>
              <a:srgbClr val="FFFFFF">
                <a:lumMod val="50000"/>
              </a:srgbClr>
            </a:solidFill>
            <a:prstDash val="sysDot"/>
            <a:headEnd type="oval"/>
            <a:tailEnd type="oval" w="med" len="med"/>
          </a:ln>
          <a:effectLst/>
        </p:spPr>
        <p:txBody>
          <a:bodyPr rtlCol="0" anchor="ctr"/>
          <a:lstStyle/>
          <a:p>
            <a:pPr algn="ctr" defTabSz="685487">
              <a:defRPr/>
            </a:pPr>
            <a:endParaRPr lang="zh-CN" altLang="en-US" sz="1400" ker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5" name="出自【趣你的PPT】(微信:qunideppt)：最优质的PPT资源库"/>
          <p:cNvSpPr/>
          <p:nvPr/>
        </p:nvSpPr>
        <p:spPr>
          <a:xfrm flipH="1" flipV="1">
            <a:off x="8690754" y="3317592"/>
            <a:ext cx="1293103" cy="416021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808848 w 808848"/>
              <a:gd name="connsiteY0" fmla="*/ 934786 h 934786"/>
              <a:gd name="connsiteX1" fmla="*/ 597230 w 808848"/>
              <a:gd name="connsiteY1" fmla="*/ 0 h 934786"/>
              <a:gd name="connsiteX2" fmla="*/ 0 w 808848"/>
              <a:gd name="connsiteY2" fmla="*/ 3810 h 934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8848" h="934786">
                <a:moveTo>
                  <a:pt x="808848" y="934786"/>
                </a:moveTo>
                <a:lnTo>
                  <a:pt x="597230" y="0"/>
                </a:lnTo>
                <a:lnTo>
                  <a:pt x="0" y="3810"/>
                </a:lnTo>
              </a:path>
            </a:pathLst>
          </a:custGeom>
          <a:noFill/>
          <a:ln w="6350" cap="flat" cmpd="sng" algn="ctr">
            <a:solidFill>
              <a:srgbClr val="C00000"/>
            </a:solidFill>
            <a:prstDash val="sysDot"/>
            <a:headEnd type="oval"/>
            <a:tailEnd type="oval" w="med" len="med"/>
          </a:ln>
          <a:effectLst/>
        </p:spPr>
        <p:txBody>
          <a:bodyPr rtlCol="0" anchor="ctr"/>
          <a:lstStyle/>
          <a:p>
            <a:pPr algn="ctr" defTabSz="685487">
              <a:defRPr/>
            </a:pPr>
            <a:endParaRPr lang="zh-CN" altLang="en-US" sz="1400" ker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6" name="出自【趣你的PPT】(微信:qunideppt)：最优质的PPT资源库"/>
          <p:cNvSpPr/>
          <p:nvPr/>
        </p:nvSpPr>
        <p:spPr>
          <a:xfrm>
            <a:off x="5349436" y="2666856"/>
            <a:ext cx="1057629" cy="422803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661557 w 661557"/>
              <a:gd name="connsiteY0" fmla="*/ 950026 h 950026"/>
              <a:gd name="connsiteX1" fmla="*/ 449939 w 661557"/>
              <a:gd name="connsiteY1" fmla="*/ 15240 h 950026"/>
              <a:gd name="connsiteX2" fmla="*/ 0 w 661557"/>
              <a:gd name="connsiteY2" fmla="*/ 0 h 950026"/>
              <a:gd name="connsiteX0" fmla="*/ 661557 w 661557"/>
              <a:gd name="connsiteY0" fmla="*/ 958598 h 958598"/>
              <a:gd name="connsiteX1" fmla="*/ 448614 w 661557"/>
              <a:gd name="connsiteY1" fmla="*/ 0 h 958598"/>
              <a:gd name="connsiteX2" fmla="*/ 0 w 661557"/>
              <a:gd name="connsiteY2" fmla="*/ 8572 h 958598"/>
              <a:gd name="connsiteX0" fmla="*/ 661557 w 661557"/>
              <a:gd name="connsiteY0" fmla="*/ 950026 h 950026"/>
              <a:gd name="connsiteX1" fmla="*/ 448614 w 661557"/>
              <a:gd name="connsiteY1" fmla="*/ 5716 h 950026"/>
              <a:gd name="connsiteX2" fmla="*/ 0 w 661557"/>
              <a:gd name="connsiteY2" fmla="*/ 0 h 950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1557" h="950026">
                <a:moveTo>
                  <a:pt x="661557" y="950026"/>
                </a:moveTo>
                <a:cubicBezTo>
                  <a:pt x="591018" y="638431"/>
                  <a:pt x="519153" y="317311"/>
                  <a:pt x="448614" y="5716"/>
                </a:cubicBezTo>
                <a:cubicBezTo>
                  <a:pt x="317985" y="5716"/>
                  <a:pt x="130629" y="0"/>
                  <a:pt x="0" y="0"/>
                </a:cubicBezTo>
              </a:path>
            </a:pathLst>
          </a:custGeom>
          <a:noFill/>
          <a:ln w="12700" cap="flat" cmpd="sng" algn="ctr">
            <a:solidFill>
              <a:srgbClr val="C00000"/>
            </a:solidFill>
            <a:prstDash val="sysDot"/>
            <a:headEnd type="oval"/>
            <a:tailEnd type="oval"/>
          </a:ln>
          <a:effectLst/>
        </p:spPr>
        <p:txBody>
          <a:bodyPr rtlCol="0" anchor="ctr"/>
          <a:lstStyle/>
          <a:p>
            <a:pPr algn="ctr" defTabSz="685487">
              <a:defRPr/>
            </a:pPr>
            <a:endParaRPr lang="zh-CN" altLang="en-US" sz="1400" ker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7" name="出自【趣你的PPT】(微信:qunideppt)：最优质的PPT资源库"/>
          <p:cNvSpPr/>
          <p:nvPr/>
        </p:nvSpPr>
        <p:spPr>
          <a:xfrm flipV="1">
            <a:off x="5304482" y="4012818"/>
            <a:ext cx="2496493" cy="416020"/>
          </a:xfrm>
          <a:custGeom>
            <a:avLst/>
            <a:gdLst>
              <a:gd name="connsiteX0" fmla="*/ 807522 w 807522"/>
              <a:gd name="connsiteY0" fmla="*/ 950026 h 950026"/>
              <a:gd name="connsiteX1" fmla="*/ 391886 w 807522"/>
              <a:gd name="connsiteY1" fmla="*/ 0 h 950026"/>
              <a:gd name="connsiteX2" fmla="*/ 0 w 807522"/>
              <a:gd name="connsiteY2" fmla="*/ 0 h 950026"/>
              <a:gd name="connsiteX0" fmla="*/ 807522 w 807522"/>
              <a:gd name="connsiteY0" fmla="*/ 950026 h 950026"/>
              <a:gd name="connsiteX1" fmla="*/ 595904 w 807522"/>
              <a:gd name="connsiteY1" fmla="*/ 15240 h 950026"/>
              <a:gd name="connsiteX2" fmla="*/ 0 w 807522"/>
              <a:gd name="connsiteY2" fmla="*/ 0 h 950026"/>
              <a:gd name="connsiteX0" fmla="*/ 1524033 w 1524033"/>
              <a:gd name="connsiteY0" fmla="*/ 995180 h 995180"/>
              <a:gd name="connsiteX1" fmla="*/ 1312415 w 1524033"/>
              <a:gd name="connsiteY1" fmla="*/ 60394 h 995180"/>
              <a:gd name="connsiteX2" fmla="*/ 0 w 1524033"/>
              <a:gd name="connsiteY2" fmla="*/ 0 h 995180"/>
              <a:gd name="connsiteX0" fmla="*/ 1530318 w 1530318"/>
              <a:gd name="connsiteY0" fmla="*/ 950026 h 950026"/>
              <a:gd name="connsiteX1" fmla="*/ 1318700 w 1530318"/>
              <a:gd name="connsiteY1" fmla="*/ 15240 h 950026"/>
              <a:gd name="connsiteX2" fmla="*/ 0 w 1530318"/>
              <a:gd name="connsiteY2" fmla="*/ 0 h 950026"/>
              <a:gd name="connsiteX0" fmla="*/ 1583908 w 1583908"/>
              <a:gd name="connsiteY0" fmla="*/ 950026 h 950026"/>
              <a:gd name="connsiteX1" fmla="*/ 1372290 w 1583908"/>
              <a:gd name="connsiteY1" fmla="*/ 15240 h 950026"/>
              <a:gd name="connsiteX2" fmla="*/ 0 w 1583908"/>
              <a:gd name="connsiteY2" fmla="*/ 0 h 950026"/>
              <a:gd name="connsiteX0" fmla="*/ 1572744 w 1572744"/>
              <a:gd name="connsiteY0" fmla="*/ 950026 h 950026"/>
              <a:gd name="connsiteX1" fmla="*/ 1361126 w 1572744"/>
              <a:gd name="connsiteY1" fmla="*/ 15240 h 950026"/>
              <a:gd name="connsiteX2" fmla="*/ 0 w 1572744"/>
              <a:gd name="connsiteY2" fmla="*/ 0 h 950026"/>
              <a:gd name="connsiteX0" fmla="*/ 1561580 w 1561580"/>
              <a:gd name="connsiteY0" fmla="*/ 950026 h 950026"/>
              <a:gd name="connsiteX1" fmla="*/ 1349962 w 1561580"/>
              <a:gd name="connsiteY1" fmla="*/ 15240 h 950026"/>
              <a:gd name="connsiteX2" fmla="*/ 0 w 1561580"/>
              <a:gd name="connsiteY2" fmla="*/ 0 h 950026"/>
              <a:gd name="connsiteX0" fmla="*/ 1561580 w 1561580"/>
              <a:gd name="connsiteY0" fmla="*/ 934786 h 934786"/>
              <a:gd name="connsiteX1" fmla="*/ 1349962 w 1561580"/>
              <a:gd name="connsiteY1" fmla="*/ 0 h 934786"/>
              <a:gd name="connsiteX2" fmla="*/ 0 w 1561580"/>
              <a:gd name="connsiteY2" fmla="*/ 3810 h 934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61580" h="934786">
                <a:moveTo>
                  <a:pt x="1561580" y="934786"/>
                </a:moveTo>
                <a:lnTo>
                  <a:pt x="1349962" y="0"/>
                </a:lnTo>
                <a:lnTo>
                  <a:pt x="0" y="3810"/>
                </a:lnTo>
              </a:path>
            </a:pathLst>
          </a:custGeom>
          <a:noFill/>
          <a:ln w="6350" cap="flat" cmpd="sng" algn="ctr">
            <a:solidFill>
              <a:srgbClr val="FFFFFF">
                <a:lumMod val="50000"/>
              </a:srgbClr>
            </a:solidFill>
            <a:prstDash val="sysDot"/>
            <a:headEnd type="oval"/>
            <a:tailEnd type="oval" w="med" len="med"/>
          </a:ln>
          <a:effectLst/>
        </p:spPr>
        <p:txBody>
          <a:bodyPr rtlCol="0" anchor="ctr"/>
          <a:lstStyle/>
          <a:p>
            <a:pPr algn="ctr" defTabSz="685487">
              <a:defRPr/>
            </a:pPr>
            <a:endParaRPr lang="zh-CN" altLang="en-US" sz="1400" ker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8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3511405" y="2423380"/>
            <a:ext cx="1411353" cy="738664"/>
          </a:xfrm>
          <a:prstGeom prst="rect">
            <a:avLst/>
          </a:prstGeom>
          <a:noFill/>
          <a:ln w="12700" cap="flat" cmpd="sng" algn="ctr">
            <a:noFill/>
            <a:prstDash val="sysDot"/>
            <a:headEnd type="oval"/>
            <a:tailEnd type="triangle"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defTabSz="685487" eaLnBrk="1" hangingPunct="1">
              <a:defRPr/>
            </a:pPr>
            <a:r>
              <a:rPr lang="zh-CN" altLang="en-US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kern="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3503712" y="4189049"/>
            <a:ext cx="1280249" cy="738664"/>
          </a:xfrm>
          <a:prstGeom prst="rect">
            <a:avLst/>
          </a:prstGeom>
          <a:noFill/>
          <a:ln w="12700" cap="flat" cmpd="sng" algn="ctr">
            <a:noFill/>
            <a:prstDash val="sysDot"/>
            <a:headEnd type="oval"/>
            <a:tailEnd type="triangle"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defTabSz="685487" eaLnBrk="1" hangingPunct="1">
              <a:defRPr/>
            </a:pPr>
            <a:r>
              <a:rPr lang="zh-CN" altLang="en-US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kern="0" dirty="0">
              <a:solidFill>
                <a:srgbClr val="5959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9994409" y="3493824"/>
            <a:ext cx="1307430" cy="738664"/>
          </a:xfrm>
          <a:prstGeom prst="rect">
            <a:avLst/>
          </a:prstGeom>
          <a:noFill/>
          <a:ln w="12700" cap="flat" cmpd="sng" algn="ctr">
            <a:noFill/>
            <a:prstDash val="sysDot"/>
            <a:headEnd type="oval"/>
            <a:tailEnd type="triangle"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defTabSz="685487" eaLnBrk="1" hangingPunct="1">
              <a:defRPr/>
            </a:pPr>
            <a:r>
              <a:rPr lang="zh-CN" altLang="en-US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kern="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出自【趣你的PPT】(微信:qunideppt)：最优质的PPT资源库"/>
          <p:cNvSpPr txBox="1">
            <a:spLocks noChangeArrowheads="1"/>
          </p:cNvSpPr>
          <p:nvPr/>
        </p:nvSpPr>
        <p:spPr bwMode="auto">
          <a:xfrm>
            <a:off x="9964967" y="1971630"/>
            <a:ext cx="1315609" cy="738664"/>
          </a:xfrm>
          <a:prstGeom prst="rect">
            <a:avLst/>
          </a:prstGeom>
          <a:noFill/>
          <a:ln w="12700" cap="flat" cmpd="sng" algn="ctr">
            <a:noFill/>
            <a:prstDash val="sysDot"/>
            <a:headEnd type="oval"/>
            <a:tailEnd type="triangle"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defTabSz="685487" eaLnBrk="1" hangingPunct="1">
              <a:defRPr/>
            </a:pPr>
            <a:r>
              <a:rPr lang="zh-CN" altLang="en-US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kern="0" dirty="0">
              <a:solidFill>
                <a:srgbClr val="5959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出自【趣你的PPT】(微信:qunideppt)：最优质的PPT资源库"/>
          <p:cNvSpPr txBox="1"/>
          <p:nvPr/>
        </p:nvSpPr>
        <p:spPr>
          <a:xfrm rot="454061">
            <a:off x="7896514" y="2848849"/>
            <a:ext cx="975573" cy="493107"/>
          </a:xfrm>
          <a:prstGeom prst="rect">
            <a:avLst/>
          </a:prstGeom>
          <a:noFill/>
          <a:effectLst>
            <a:outerShdw blurRad="50800" dist="63500" dir="2400000" algn="tl" rotWithShape="0">
              <a:prstClr val="black">
                <a:alpha val="30000"/>
              </a:prstClr>
            </a:outerShdw>
          </a:effectLst>
        </p:spPr>
        <p:txBody>
          <a:bodyPr wrap="square" rtlCol="0">
            <a:prstTxWarp prst="textArchUp">
              <a:avLst/>
            </a:prstTxWarp>
            <a:spAutoFit/>
            <a:scene3d>
              <a:camera prst="orthographicFront"/>
              <a:lightRig rig="threePt" dir="t"/>
            </a:scene3d>
            <a:sp3d extrusionH="133350" prstMaterial="plastic">
              <a:bevelB w="508000" h="508000"/>
            </a:sp3d>
          </a:bodyPr>
          <a:lstStyle/>
          <a:p>
            <a:pPr defTabSz="685487">
              <a:defRPr/>
            </a:pPr>
            <a:r>
              <a:rPr lang="en-US" altLang="zh-CN" sz="30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/>
              </a:rPr>
              <a:t>S</a:t>
            </a:r>
            <a:endParaRPr lang="zh-CN" altLang="en-US" sz="30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/>
            </a:endParaRPr>
          </a:p>
        </p:txBody>
      </p:sp>
      <p:sp>
        <p:nvSpPr>
          <p:cNvPr id="33" name="出自【趣你的PPT】(微信:qunideppt)：最优质的PPT资源库"/>
          <p:cNvSpPr txBox="1"/>
          <p:nvPr/>
        </p:nvSpPr>
        <p:spPr>
          <a:xfrm rot="408599" flipH="1" flipV="1">
            <a:off x="6691038" y="2773414"/>
            <a:ext cx="599555" cy="580331"/>
          </a:xfrm>
          <a:prstGeom prst="rect">
            <a:avLst/>
          </a:prstGeom>
          <a:noFill/>
          <a:effectLst>
            <a:outerShdw blurRad="50800" dist="63500" dir="2400000" algn="tl" rotWithShape="0">
              <a:prstClr val="black">
                <a:alpha val="30000"/>
              </a:prstClr>
            </a:outerShdw>
          </a:effectLst>
        </p:spPr>
        <p:txBody>
          <a:bodyPr wrap="square" rtlCol="0">
            <a:prstTxWarp prst="textArchUp">
              <a:avLst/>
            </a:prstTxWarp>
            <a:spAutoFit/>
          </a:bodyPr>
          <a:lstStyle>
            <a:defPPr>
              <a:defRPr lang="zh-CN"/>
            </a:defPPr>
            <a:lvl1pPr>
              <a:defRPr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defTabSz="685487">
              <a:defRPr/>
            </a:pPr>
            <a:r>
              <a:rPr lang="en-US" altLang="zh-CN" kern="0" dirty="0">
                <a:solidFill>
                  <a:srgbClr val="FFFFFF"/>
                </a:solidFill>
                <a:latin typeface="Segoe UI"/>
              </a:rPr>
              <a:t>O</a:t>
            </a:r>
            <a:endParaRPr lang="zh-CN" altLang="en-US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4" name="出自【趣你的PPT】(微信:qunideppt)：最优质的PPT资源库"/>
          <p:cNvSpPr txBox="1"/>
          <p:nvPr/>
        </p:nvSpPr>
        <p:spPr>
          <a:xfrm rot="21302594">
            <a:off x="8507975" y="3347919"/>
            <a:ext cx="975573" cy="493107"/>
          </a:xfrm>
          <a:prstGeom prst="rect">
            <a:avLst/>
          </a:prstGeom>
          <a:noFill/>
          <a:effectLst>
            <a:outerShdw blurRad="50800" dist="63500" dir="2400000" algn="tl" rotWithShape="0">
              <a:prstClr val="black">
                <a:alpha val="30000"/>
              </a:prstClr>
            </a:outerShdw>
          </a:effectLst>
        </p:spPr>
        <p:txBody>
          <a:bodyPr spcFirstLastPara="1" wrap="square" numCol="1" rtlCol="0">
            <a:prstTxWarp prst="textArchUp">
              <a:avLst/>
            </a:prstTxWarp>
            <a:spAutoFit/>
          </a:bodyPr>
          <a:lstStyle>
            <a:defPPr>
              <a:defRPr lang="zh-CN"/>
            </a:defPPr>
            <a:lvl1pPr>
              <a:defRPr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defTabSz="685487">
              <a:defRPr/>
            </a:pPr>
            <a:r>
              <a:rPr lang="en-US" altLang="zh-CN" kern="0" dirty="0">
                <a:solidFill>
                  <a:srgbClr val="FFFFFF"/>
                </a:solidFill>
                <a:latin typeface="Segoe UI"/>
              </a:rPr>
              <a:t>W</a:t>
            </a:r>
            <a:endParaRPr lang="zh-CN" altLang="en-US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5" name="出自【趣你的PPT】(微信:qunideppt)：最优质的PPT资源库"/>
          <p:cNvSpPr txBox="1"/>
          <p:nvPr/>
        </p:nvSpPr>
        <p:spPr>
          <a:xfrm rot="198785">
            <a:off x="7977397" y="3828568"/>
            <a:ext cx="975573" cy="493107"/>
          </a:xfrm>
          <a:prstGeom prst="rect">
            <a:avLst/>
          </a:prstGeom>
          <a:noFill/>
          <a:effectLst>
            <a:outerShdw blurRad="50800" dist="63500" dir="2400000" algn="tl" rotWithShape="0">
              <a:prstClr val="black">
                <a:alpha val="30000"/>
              </a:prstClr>
            </a:outerShdw>
          </a:effectLst>
        </p:spPr>
        <p:txBody>
          <a:bodyPr spcFirstLastPara="1" wrap="square" numCol="1" rtlCol="0">
            <a:prstTxWarp prst="textArchUp">
              <a:avLst/>
            </a:prstTxWarp>
            <a:spAutoFit/>
          </a:bodyPr>
          <a:lstStyle>
            <a:defPPr>
              <a:defRPr lang="zh-CN"/>
            </a:defPPr>
            <a:lvl1pPr>
              <a:defRPr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defTabSz="685487">
              <a:defRPr/>
            </a:pPr>
            <a:r>
              <a:rPr lang="en-US" altLang="zh-CN" kern="0" dirty="0">
                <a:solidFill>
                  <a:srgbClr val="FFFFFF"/>
                </a:solidFill>
                <a:latin typeface="Segoe UI"/>
              </a:rPr>
              <a:t>T</a:t>
            </a:r>
            <a:endParaRPr lang="zh-CN" altLang="en-US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6" name="出自【趣你的PPT】(微信:qunideppt)：最优质的PPT资源库"/>
          <p:cNvSpPr txBox="1"/>
          <p:nvPr/>
        </p:nvSpPr>
        <p:spPr>
          <a:xfrm>
            <a:off x="811148" y="2966680"/>
            <a:ext cx="26450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该原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模板来自公众号：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。我们制作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教程视频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趣你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播放量已超过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次。</a:t>
            </a:r>
          </a:p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一不小心，就学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，快来加入我们。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7" name="Group 36出自【趣你的PPT】(微信:qunideppt)：最优质的PPT资源库"/>
          <p:cNvGrpSpPr/>
          <p:nvPr/>
        </p:nvGrpSpPr>
        <p:grpSpPr>
          <a:xfrm>
            <a:off x="903264" y="2267461"/>
            <a:ext cx="2495367" cy="541500"/>
            <a:chOff x="-1" y="223204"/>
            <a:chExt cx="2495367" cy="541500"/>
          </a:xfrm>
          <a:solidFill>
            <a:srgbClr val="C00000"/>
          </a:solidFill>
        </p:grpSpPr>
        <p:sp>
          <p:nvSpPr>
            <p:cNvPr id="38" name="出自【趣你的PPT】(微信:qunideppt)：最优质的PPT资源库"/>
            <p:cNvSpPr/>
            <p:nvPr/>
          </p:nvSpPr>
          <p:spPr>
            <a:xfrm>
              <a:off x="-1" y="223204"/>
              <a:ext cx="2495367" cy="541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39" name="出自【趣你的PPT】(微信:qunideppt)：最优质的PPT资源库"/>
            <p:cNvSpPr txBox="1"/>
            <p:nvPr/>
          </p:nvSpPr>
          <p:spPr>
            <a:xfrm>
              <a:off x="105081" y="329115"/>
              <a:ext cx="237155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输入您需要的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1287285"/>
      </p:ext>
    </p:extLst>
  </p:cSld>
  <p:clrMapOvr>
    <a:masterClrMapping/>
  </p:clrMapOvr>
  <p:transition spd="slow" advClick="0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000"/>
                            </p:stCondLst>
                            <p:childTnLst>
                              <p:par>
                                <p:cTn id="6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500"/>
                            </p:stCondLst>
                            <p:childTnLst>
                              <p:par>
                                <p:cTn id="6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BT.B8WO0qxVDFp4.CW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5nK8I1BUmTH5Wq3vKe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2AtS4n7US9rc067E70H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7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0</TotalTime>
  <Words>4034</Words>
  <Application>Microsoft Office PowerPoint</Application>
  <PresentationFormat>宽屏</PresentationFormat>
  <Paragraphs>378</Paragraphs>
  <Slides>36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36</vt:i4>
      </vt:variant>
    </vt:vector>
  </HeadingPairs>
  <TitlesOfParts>
    <vt:vector size="52" baseType="lpstr">
      <vt:lpstr>Broadway</vt:lpstr>
      <vt:lpstr>方正正大黑简体</vt:lpstr>
      <vt:lpstr>方正正准黑简体</vt:lpstr>
      <vt:lpstr>隶书</vt:lpstr>
      <vt:lpstr>宋体</vt:lpstr>
      <vt:lpstr>微软雅黑</vt:lpstr>
      <vt:lpstr>造字工房悦黑体验版常规体</vt:lpstr>
      <vt:lpstr>Arial</vt:lpstr>
      <vt:lpstr>Calibri</vt:lpstr>
      <vt:lpstr>Calibri Light</vt:lpstr>
      <vt:lpstr>Impact</vt:lpstr>
      <vt:lpstr>Segoe UI</vt:lpstr>
      <vt:lpstr>Office 主题</vt:lpstr>
      <vt:lpstr>1_Office 主题</vt:lpstr>
      <vt:lpstr>20_Office 主题</vt:lpstr>
      <vt:lpstr>7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ttp://www.deepbbs.o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deeplm</dc:creator>
  <cp:lastModifiedBy>chentianping</cp:lastModifiedBy>
  <cp:revision>49</cp:revision>
  <dcterms:created xsi:type="dcterms:W3CDTF">2014-05-17T09:41:28Z</dcterms:created>
  <dcterms:modified xsi:type="dcterms:W3CDTF">2017-03-13T02:45:31Z</dcterms:modified>
</cp:coreProperties>
</file>